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61.xml" ContentType="application/vnd.openxmlformats-officedocument.drawingml.chart+xml"/>
  <Override PartName="/ppt/charts/chart662.xml" ContentType="application/vnd.openxmlformats-officedocument.drawingml.chart+xml"/>
  <Override PartName="/ppt/charts/chart663.xml" ContentType="application/vnd.openxmlformats-officedocument.drawingml.chart+xml"/>
  <Override PartName="/ppt/charts/chart664.xml" ContentType="application/vnd.openxmlformats-officedocument.drawingml.chart+xml"/>
  <Override PartName="/ppt/charts/chart665.xml" ContentType="application/vnd.openxmlformats-officedocument.drawingml.chart+xml"/>
  <Override PartName="/ppt/charts/chart666.xml" ContentType="application/vnd.openxmlformats-officedocument.drawingml.chart+xml"/>
  <Override PartName="/ppt/charts/chart667.xml" ContentType="application/vnd.openxmlformats-officedocument.drawingml.chart+xml"/>
  <Override PartName="/ppt/charts/chart668.xml" ContentType="application/vnd.openxmlformats-officedocument.drawingml.chart+xml"/>
  <Override PartName="/ppt/charts/chart669.xml" ContentType="application/vnd.openxmlformats-officedocument.drawingml.chart+xml"/>
  <Override PartName="/ppt/charts/chart67.xml" ContentType="application/vnd.openxmlformats-officedocument.drawingml.chart+xml"/>
  <Override PartName="/ppt/charts/chart670.xml" ContentType="application/vnd.openxmlformats-officedocument.drawingml.chart+xml"/>
  <Override PartName="/ppt/charts/chart671.xml" ContentType="application/vnd.openxmlformats-officedocument.drawingml.chart+xml"/>
  <Override PartName="/ppt/charts/chart672.xml" ContentType="application/vnd.openxmlformats-officedocument.drawingml.chart+xml"/>
  <Override PartName="/ppt/charts/chart673.xml" ContentType="application/vnd.openxmlformats-officedocument.drawingml.chart+xml"/>
  <Override PartName="/ppt/charts/chart674.xml" ContentType="application/vnd.openxmlformats-officedocument.drawingml.chart+xml"/>
  <Override PartName="/ppt/charts/chart675.xml" ContentType="application/vnd.openxmlformats-officedocument.drawingml.chart+xml"/>
  <Override PartName="/ppt/charts/chart676.xml" ContentType="application/vnd.openxmlformats-officedocument.drawingml.chart+xml"/>
  <Override PartName="/ppt/charts/chart677.xml" ContentType="application/vnd.openxmlformats-officedocument.drawingml.chart+xml"/>
  <Override PartName="/ppt/charts/chart678.xml" ContentType="application/vnd.openxmlformats-officedocument.drawingml.chart+xml"/>
  <Override PartName="/ppt/charts/chart679.xml" ContentType="application/vnd.openxmlformats-officedocument.drawingml.chart+xml"/>
  <Override PartName="/ppt/charts/chart68.xml" ContentType="application/vnd.openxmlformats-officedocument.drawingml.chart+xml"/>
  <Override PartName="/ppt/charts/chart680.xml" ContentType="application/vnd.openxmlformats-officedocument.drawingml.chart+xml"/>
  <Override PartName="/ppt/charts/chart681.xml" ContentType="application/vnd.openxmlformats-officedocument.drawingml.chart+xml"/>
  <Override PartName="/ppt/charts/chart682.xml" ContentType="application/vnd.openxmlformats-officedocument.drawingml.chart+xml"/>
  <Override PartName="/ppt/charts/chart683.xml" ContentType="application/vnd.openxmlformats-officedocument.drawingml.chart+xml"/>
  <Override PartName="/ppt/charts/chart684.xml" ContentType="application/vnd.openxmlformats-officedocument.drawingml.chart+xml"/>
  <Override PartName="/ppt/charts/chart685.xml" ContentType="application/vnd.openxmlformats-officedocument.drawingml.chart+xml"/>
  <Override PartName="/ppt/charts/chart686.xml" ContentType="application/vnd.openxmlformats-officedocument.drawingml.chart+xml"/>
  <Override PartName="/ppt/charts/chart687.xml" ContentType="application/vnd.openxmlformats-officedocument.drawingml.chart+xml"/>
  <Override PartName="/ppt/charts/chart688.xml" ContentType="application/vnd.openxmlformats-officedocument.drawingml.chart+xml"/>
  <Override PartName="/ppt/charts/chart689.xml" ContentType="application/vnd.openxmlformats-officedocument.drawingml.chart+xml"/>
  <Override PartName="/ppt/charts/chart69.xml" ContentType="application/vnd.openxmlformats-officedocument.drawingml.chart+xml"/>
  <Override PartName="/ppt/charts/chart690.xml" ContentType="application/vnd.openxmlformats-officedocument.drawingml.chart+xml"/>
  <Override PartName="/ppt/charts/chart691.xml" ContentType="application/vnd.openxmlformats-officedocument.drawingml.chart+xml"/>
  <Override PartName="/ppt/charts/chart692.xml" ContentType="application/vnd.openxmlformats-officedocument.drawingml.chart+xml"/>
  <Override PartName="/ppt/charts/chart693.xml" ContentType="application/vnd.openxmlformats-officedocument.drawingml.chart+xml"/>
  <Override PartName="/ppt/charts/chart694.xml" ContentType="application/vnd.openxmlformats-officedocument.drawingml.chart+xml"/>
  <Override PartName="/ppt/charts/chart695.xml" ContentType="application/vnd.openxmlformats-officedocument.drawingml.chart+xml"/>
  <Override PartName="/ppt/charts/chart696.xml" ContentType="application/vnd.openxmlformats-officedocument.drawingml.chart+xml"/>
  <Override PartName="/ppt/charts/chart697.xml" ContentType="application/vnd.openxmlformats-officedocument.drawingml.chart+xml"/>
  <Override PartName="/ppt/charts/chart698.xml" ContentType="application/vnd.openxmlformats-officedocument.drawingml.chart+xml"/>
  <Override PartName="/ppt/charts/chart69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00.xml" ContentType="application/vnd.openxmlformats-officedocument.drawingml.chart+xml"/>
  <Override PartName="/ppt/charts/chart701.xml" ContentType="application/vnd.openxmlformats-officedocument.drawingml.chart+xml"/>
  <Override PartName="/ppt/charts/chart702.xml" ContentType="application/vnd.openxmlformats-officedocument.drawingml.chart+xml"/>
  <Override PartName="/ppt/charts/chart703.xml" ContentType="application/vnd.openxmlformats-officedocument.drawingml.chart+xml"/>
  <Override PartName="/ppt/charts/chart704.xml" ContentType="application/vnd.openxmlformats-officedocument.drawingml.chart+xml"/>
  <Override PartName="/ppt/charts/chart705.xml" ContentType="application/vnd.openxmlformats-officedocument.drawingml.chart+xml"/>
  <Override PartName="/ppt/charts/chart706.xml" ContentType="application/vnd.openxmlformats-officedocument.drawingml.chart+xml"/>
  <Override PartName="/ppt/charts/chart707.xml" ContentType="application/vnd.openxmlformats-officedocument.drawingml.chart+xml"/>
  <Override PartName="/ppt/charts/chart708.xml" ContentType="application/vnd.openxmlformats-officedocument.drawingml.chart+xml"/>
  <Override PartName="/ppt/charts/chart709.xml" ContentType="application/vnd.openxmlformats-officedocument.drawingml.chart+xml"/>
  <Override PartName="/ppt/charts/chart71.xml" ContentType="application/vnd.openxmlformats-officedocument.drawingml.chart+xml"/>
  <Override PartName="/ppt/charts/chart710.xml" ContentType="application/vnd.openxmlformats-officedocument.drawingml.chart+xml"/>
  <Override PartName="/ppt/charts/chart711.xml" ContentType="application/vnd.openxmlformats-officedocument.drawingml.chart+xml"/>
  <Override PartName="/ppt/charts/chart712.xml" ContentType="application/vnd.openxmlformats-officedocument.drawingml.chart+xml"/>
  <Override PartName="/ppt/charts/chart713.xml" ContentType="application/vnd.openxmlformats-officedocument.drawingml.chart+xml"/>
  <Override PartName="/ppt/charts/chart714.xml" ContentType="application/vnd.openxmlformats-officedocument.drawingml.chart+xml"/>
  <Override PartName="/ppt/charts/chart715.xml" ContentType="application/vnd.openxmlformats-officedocument.drawingml.chart+xml"/>
  <Override PartName="/ppt/charts/chart716.xml" ContentType="application/vnd.openxmlformats-officedocument.drawingml.chart+xml"/>
  <Override PartName="/ppt/charts/chart717.xml" ContentType="application/vnd.openxmlformats-officedocument.drawingml.chart+xml"/>
  <Override PartName="/ppt/charts/chart718.xml" ContentType="application/vnd.openxmlformats-officedocument.drawingml.chart+xml"/>
  <Override PartName="/ppt/charts/chart719.xml" ContentType="application/vnd.openxmlformats-officedocument.drawingml.chart+xml"/>
  <Override PartName="/ppt/charts/chart72.xml" ContentType="application/vnd.openxmlformats-officedocument.drawingml.chart+xml"/>
  <Override PartName="/ppt/charts/chart720.xml" ContentType="application/vnd.openxmlformats-officedocument.drawingml.chart+xml"/>
  <Override PartName="/ppt/charts/chart721.xml" ContentType="application/vnd.openxmlformats-officedocument.drawingml.chart+xml"/>
  <Override PartName="/ppt/charts/chart722.xml" ContentType="application/vnd.openxmlformats-officedocument.drawingml.chart+xml"/>
  <Override PartName="/ppt/charts/chart723.xml" ContentType="application/vnd.openxmlformats-officedocument.drawingml.chart+xml"/>
  <Override PartName="/ppt/charts/chart724.xml" ContentType="application/vnd.openxmlformats-officedocument.drawingml.chart+xml"/>
  <Override PartName="/ppt/charts/chart725.xml" ContentType="application/vnd.openxmlformats-officedocument.drawingml.chart+xml"/>
  <Override PartName="/ppt/charts/chart726.xml" ContentType="application/vnd.openxmlformats-officedocument.drawingml.chart+xml"/>
  <Override PartName="/ppt/charts/chart727.xml" ContentType="application/vnd.openxmlformats-officedocument.drawingml.chart+xml"/>
  <Override PartName="/ppt/charts/chart728.xml" ContentType="application/vnd.openxmlformats-officedocument.drawingml.chart+xml"/>
  <Override PartName="/ppt/charts/chart729.xml" ContentType="application/vnd.openxmlformats-officedocument.drawingml.chart+xml"/>
  <Override PartName="/ppt/charts/chart73.xml" ContentType="application/vnd.openxmlformats-officedocument.drawingml.chart+xml"/>
  <Override PartName="/ppt/charts/chart730.xml" ContentType="application/vnd.openxmlformats-officedocument.drawingml.chart+xml"/>
  <Override PartName="/ppt/charts/chart731.xml" ContentType="application/vnd.openxmlformats-officedocument.drawingml.chart+xml"/>
  <Override PartName="/ppt/charts/chart732.xml" ContentType="application/vnd.openxmlformats-officedocument.drawingml.chart+xml"/>
  <Override PartName="/ppt/charts/chart733.xml" ContentType="application/vnd.openxmlformats-officedocument.drawingml.chart+xml"/>
  <Override PartName="/ppt/charts/chart734.xml" ContentType="application/vnd.openxmlformats-officedocument.drawingml.chart+xml"/>
  <Override PartName="/ppt/charts/chart735.xml" ContentType="application/vnd.openxmlformats-officedocument.drawingml.chart+xml"/>
  <Override PartName="/ppt/charts/chart736.xml" ContentType="application/vnd.openxmlformats-officedocument.drawingml.chart+xml"/>
  <Override PartName="/ppt/charts/chart737.xml" ContentType="application/vnd.openxmlformats-officedocument.drawingml.chart+xml"/>
  <Override PartName="/ppt/charts/chart738.xml" ContentType="application/vnd.openxmlformats-officedocument.drawingml.chart+xml"/>
  <Override PartName="/ppt/charts/chart739.xml" ContentType="application/vnd.openxmlformats-officedocument.drawingml.chart+xml"/>
  <Override PartName="/ppt/charts/chart74.xml" ContentType="application/vnd.openxmlformats-officedocument.drawingml.chart+xml"/>
  <Override PartName="/ppt/charts/chart740.xml" ContentType="application/vnd.openxmlformats-officedocument.drawingml.chart+xml"/>
  <Override PartName="/ppt/charts/chart741.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45.xml" ContentType="application/vnd.ms-office.chartcolorstyle+xml"/>
  <Override PartName="/ppt/charts/colors346.xml" ContentType="application/vnd.ms-office.chartcolorstyle+xml"/>
  <Override PartName="/ppt/charts/colors347.xml" ContentType="application/vnd.ms-office.chartcolorstyle+xml"/>
  <Override PartName="/ppt/charts/colors348.xml" ContentType="application/vnd.ms-office.chartcolorstyle+xml"/>
  <Override PartName="/ppt/charts/colors349.xml" ContentType="application/vnd.ms-office.chartcolorstyle+xml"/>
  <Override PartName="/ppt/charts/colors35.xml" ContentType="application/vnd.ms-office.chartcolorstyle+xml"/>
  <Override PartName="/ppt/charts/colors350.xml" ContentType="application/vnd.ms-office.chartcolorstyle+xml"/>
  <Override PartName="/ppt/charts/colors351.xml" ContentType="application/vnd.ms-office.chartcolorstyle+xml"/>
  <Override PartName="/ppt/charts/colors352.xml" ContentType="application/vnd.ms-office.chartcolorstyle+xml"/>
  <Override PartName="/ppt/charts/colors353.xml" ContentType="application/vnd.ms-office.chartcolorstyle+xml"/>
  <Override PartName="/ppt/charts/colors354.xml" ContentType="application/vnd.ms-office.chartcolorstyle+xml"/>
  <Override PartName="/ppt/charts/colors355.xml" ContentType="application/vnd.ms-office.chartcolorstyle+xml"/>
  <Override PartName="/ppt/charts/colors356.xml" ContentType="application/vnd.ms-office.chartcolorstyle+xml"/>
  <Override PartName="/ppt/charts/colors357.xml" ContentType="application/vnd.ms-office.chartcolorstyle+xml"/>
  <Override PartName="/ppt/charts/colors358.xml" ContentType="application/vnd.ms-office.chartcolorstyle+xml"/>
  <Override PartName="/ppt/charts/colors359.xml" ContentType="application/vnd.ms-office.chartcolorstyle+xml"/>
  <Override PartName="/ppt/charts/colors36.xml" ContentType="application/vnd.ms-office.chartcolorstyle+xml"/>
  <Override PartName="/ppt/charts/colors360.xml" ContentType="application/vnd.ms-office.chartcolorstyle+xml"/>
  <Override PartName="/ppt/charts/colors361.xml" ContentType="application/vnd.ms-office.chartcolorstyle+xml"/>
  <Override PartName="/ppt/charts/colors362.xml" ContentType="application/vnd.ms-office.chartcolorstyle+xml"/>
  <Override PartName="/ppt/charts/colors363.xml" ContentType="application/vnd.ms-office.chartcolorstyle+xml"/>
  <Override PartName="/ppt/charts/colors364.xml" ContentType="application/vnd.ms-office.chartcolorstyle+xml"/>
  <Override PartName="/ppt/charts/colors365.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45.xml" ContentType="application/vnd.ms-office.chartstyle+xml"/>
  <Override PartName="/ppt/charts/style346.xml" ContentType="application/vnd.ms-office.chartstyle+xml"/>
  <Override PartName="/ppt/charts/style347.xml" ContentType="application/vnd.ms-office.chartstyle+xml"/>
  <Override PartName="/ppt/charts/style348.xml" ContentType="application/vnd.ms-office.chartstyle+xml"/>
  <Override PartName="/ppt/charts/style349.xml" ContentType="application/vnd.ms-office.chartstyle+xml"/>
  <Override PartName="/ppt/charts/style35.xml" ContentType="application/vnd.ms-office.chartstyle+xml"/>
  <Override PartName="/ppt/charts/style350.xml" ContentType="application/vnd.ms-office.chartstyle+xml"/>
  <Override PartName="/ppt/charts/style351.xml" ContentType="application/vnd.ms-office.chartstyle+xml"/>
  <Override PartName="/ppt/charts/style352.xml" ContentType="application/vnd.ms-office.chartstyle+xml"/>
  <Override PartName="/ppt/charts/style353.xml" ContentType="application/vnd.ms-office.chartstyle+xml"/>
  <Override PartName="/ppt/charts/style354.xml" ContentType="application/vnd.ms-office.chartstyle+xml"/>
  <Override PartName="/ppt/charts/style355.xml" ContentType="application/vnd.ms-office.chartstyle+xml"/>
  <Override PartName="/ppt/charts/style356.xml" ContentType="application/vnd.ms-office.chartstyle+xml"/>
  <Override PartName="/ppt/charts/style357.xml" ContentType="application/vnd.ms-office.chartstyle+xml"/>
  <Override PartName="/ppt/charts/style358.xml" ContentType="application/vnd.ms-office.chartstyle+xml"/>
  <Override PartName="/ppt/charts/style359.xml" ContentType="application/vnd.ms-office.chartstyle+xml"/>
  <Override PartName="/ppt/charts/style36.xml" ContentType="application/vnd.ms-office.chartstyle+xml"/>
  <Override PartName="/ppt/charts/style360.xml" ContentType="application/vnd.ms-office.chartstyle+xml"/>
  <Override PartName="/ppt/charts/style361.xml" ContentType="application/vnd.ms-office.chartstyle+xml"/>
  <Override PartName="/ppt/charts/style362.xml" ContentType="application/vnd.ms-office.chartstyle+xml"/>
  <Override PartName="/ppt/charts/style363.xml" ContentType="application/vnd.ms-office.chartstyle+xml"/>
  <Override PartName="/ppt/charts/style364.xml" ContentType="application/vnd.ms-office.chartstyle+xml"/>
  <Override PartName="/ppt/charts/style365.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notesSlides/notesSlide349.xml" ContentType="application/vnd.openxmlformats-officedocument.presentationml.notesSlide+xml"/>
  <Override PartName="/ppt/notesSlides/notesSlide35.xml" ContentType="application/vnd.openxmlformats-officedocument.presentationml.notesSlide+xml"/>
  <Override PartName="/ppt/notesSlides/notesSlide350.xml" ContentType="application/vnd.openxmlformats-officedocument.presentationml.notesSlide+xml"/>
  <Override PartName="/ppt/notesSlides/notesSlide351.xml" ContentType="application/vnd.openxmlformats-officedocument.presentationml.notesSlide+xml"/>
  <Override PartName="/ppt/notesSlides/notesSlide352.xml" ContentType="application/vnd.openxmlformats-officedocument.presentationml.notesSlide+xml"/>
  <Override PartName="/ppt/notesSlides/notesSlide353.xml" ContentType="application/vnd.openxmlformats-officedocument.presentationml.notesSlide+xml"/>
  <Override PartName="/ppt/notesSlides/notesSlide354.xml" ContentType="application/vnd.openxmlformats-officedocument.presentationml.notesSlide+xml"/>
  <Override PartName="/ppt/notesSlides/notesSlide355.xml" ContentType="application/vnd.openxmlformats-officedocument.presentationml.notesSlide+xml"/>
  <Override PartName="/ppt/notesSlides/notesSlide356.xml" ContentType="application/vnd.openxmlformats-officedocument.presentationml.notesSlide+xml"/>
  <Override PartName="/ppt/notesSlides/notesSlide357.xml" ContentType="application/vnd.openxmlformats-officedocument.presentationml.notesSlide+xml"/>
  <Override PartName="/ppt/notesSlides/notesSlide358.xml" ContentType="application/vnd.openxmlformats-officedocument.presentationml.notesSlide+xml"/>
  <Override PartName="/ppt/notesSlides/notesSlide359.xml" ContentType="application/vnd.openxmlformats-officedocument.presentationml.notesSlide+xml"/>
  <Override PartName="/ppt/notesSlides/notesSlide36.xml" ContentType="application/vnd.openxmlformats-officedocument.presentationml.notesSlide+xml"/>
  <Override PartName="/ppt/notesSlides/notesSlide360.xml" ContentType="application/vnd.openxmlformats-officedocument.presentationml.notesSlide+xml"/>
  <Override PartName="/ppt/notesSlides/notesSlide361.xml" ContentType="application/vnd.openxmlformats-officedocument.presentationml.notesSlide+xml"/>
  <Override PartName="/ppt/notesSlides/notesSlide362.xml" ContentType="application/vnd.openxmlformats-officedocument.presentationml.notesSlide+xml"/>
  <Override PartName="/ppt/notesSlides/notesSlide363.xml" ContentType="application/vnd.openxmlformats-officedocument.presentationml.notesSlide+xml"/>
  <Override PartName="/ppt/notesSlides/notesSlide364.xml" ContentType="application/vnd.openxmlformats-officedocument.presentationml.notesSlide+xml"/>
  <Override PartName="/ppt/notesSlides/notesSlide365.xml" ContentType="application/vnd.openxmlformats-officedocument.presentationml.notesSlide+xml"/>
  <Override PartName="/ppt/notesSlides/notesSlide366.xml" ContentType="application/vnd.openxmlformats-officedocument.presentationml.notesSlide+xml"/>
  <Override PartName="/ppt/notesSlides/notesSlide367.xml" ContentType="application/vnd.openxmlformats-officedocument.presentationml.notesSlide+xml"/>
  <Override PartName="/ppt/notesSlides/notesSlide368.xml" ContentType="application/vnd.openxmlformats-officedocument.presentationml.notesSlide+xml"/>
  <Override PartName="/ppt/notesSlides/notesSlide369.xml" ContentType="application/vnd.openxmlformats-officedocument.presentationml.notesSlide+xml"/>
  <Override PartName="/ppt/notesSlides/notesSlide37.xml" ContentType="application/vnd.openxmlformats-officedocument.presentationml.notesSlide+xml"/>
  <Override PartName="/ppt/notesSlides/notesSlide370.xml" ContentType="application/vnd.openxmlformats-officedocument.presentationml.notesSlide+xml"/>
  <Override PartName="/ppt/notesSlides/notesSlide371.xml" ContentType="application/vnd.openxmlformats-officedocument.presentationml.notesSlide+xml"/>
  <Override PartName="/ppt/notesSlides/notesSlide372.xml" ContentType="application/vnd.openxmlformats-officedocument.presentationml.notesSlide+xml"/>
  <Override PartName="/ppt/notesSlides/notesSlide373.xml" ContentType="application/vnd.openxmlformats-officedocument.presentationml.notesSlide+xml"/>
  <Override PartName="/ppt/notesSlides/notesSlide374.xml" ContentType="application/vnd.openxmlformats-officedocument.presentationml.notesSlide+xml"/>
  <Override PartName="/ppt/notesSlides/notesSlide375.xml" ContentType="application/vnd.openxmlformats-officedocument.presentationml.notesSlide+xml"/>
  <Override PartName="/ppt/notesSlides/notesSlide376.xml" ContentType="application/vnd.openxmlformats-officedocument.presentationml.notesSlide+xml"/>
  <Override PartName="/ppt/notesSlides/notesSlide377.xml" ContentType="application/vnd.openxmlformats-officedocument.presentationml.notesSlide+xml"/>
  <Override PartName="/ppt/notesSlides/notesSlide378.xml" ContentType="application/vnd.openxmlformats-officedocument.presentationml.notesSlide+xml"/>
  <Override PartName="/ppt/notesSlides/notesSlide379.xml" ContentType="application/vnd.openxmlformats-officedocument.presentationml.notesSlide+xml"/>
  <Override PartName="/ppt/notesSlides/notesSlide38.xml" ContentType="application/vnd.openxmlformats-officedocument.presentationml.notesSlide+xml"/>
  <Override PartName="/ppt/notesSlides/notesSlide380.xml" ContentType="application/vnd.openxmlformats-officedocument.presentationml.notesSlide+xml"/>
  <Override PartName="/ppt/notesSlides/notesSlide381.xml" ContentType="application/vnd.openxmlformats-officedocument.presentationml.notesSlide+xml"/>
  <Override PartName="/ppt/notesSlides/notesSlide382.xml" ContentType="application/vnd.openxmlformats-officedocument.presentationml.notesSlide+xml"/>
  <Override PartName="/ppt/notesSlides/notesSlide383.xml" ContentType="application/vnd.openxmlformats-officedocument.presentationml.notesSlide+xml"/>
  <Override PartName="/ppt/notesSlides/notesSlide384.xml" ContentType="application/vnd.openxmlformats-officedocument.presentationml.notesSlide+xml"/>
  <Override PartName="/ppt/notesSlides/notesSlide385.xml" ContentType="application/vnd.openxmlformats-officedocument.presentationml.notesSlide+xml"/>
  <Override PartName="/ppt/notesSlides/notesSlide386.xml" ContentType="application/vnd.openxmlformats-officedocument.presentationml.notesSlide+xml"/>
  <Override PartName="/ppt/notesSlides/notesSlide387.xml" ContentType="application/vnd.openxmlformats-officedocument.presentationml.notesSlide+xml"/>
  <Override PartName="/ppt/notesSlides/notesSlide388.xml" ContentType="application/vnd.openxmlformats-officedocument.presentationml.notesSlide+xml"/>
  <Override PartName="/ppt/notesSlides/notesSlide389.xml" ContentType="application/vnd.openxmlformats-officedocument.presentationml.notesSlide+xml"/>
  <Override PartName="/ppt/notesSlides/notesSlide39.xml" ContentType="application/vnd.openxmlformats-officedocument.presentationml.notesSlide+xml"/>
  <Override PartName="/ppt/notesSlides/notesSlide390.xml" ContentType="application/vnd.openxmlformats-officedocument.presentationml.notesSlide+xml"/>
  <Override PartName="/ppt/notesSlides/notesSlide391.xml" ContentType="application/vnd.openxmlformats-officedocument.presentationml.notesSlide+xml"/>
  <Override PartName="/ppt/notesSlides/notesSlide392.xml" ContentType="application/vnd.openxmlformats-officedocument.presentationml.notesSlide+xml"/>
  <Override PartName="/ppt/notesSlides/notesSlide393.xml" ContentType="application/vnd.openxmlformats-officedocument.presentationml.notesSlide+xml"/>
  <Override PartName="/ppt/notesSlides/notesSlide394.xml" ContentType="application/vnd.openxmlformats-officedocument.presentationml.notesSlide+xml"/>
  <Override PartName="/ppt/notesSlides/notesSlide395.xml" ContentType="application/vnd.openxmlformats-officedocument.presentationml.notesSlide+xml"/>
  <Override PartName="/ppt/notesSlides/notesSlide396.xml" ContentType="application/vnd.openxmlformats-officedocument.presentationml.notesSlide+xml"/>
  <Override PartName="/ppt/notesSlides/notesSlide397.xml" ContentType="application/vnd.openxmlformats-officedocument.presentationml.notesSlide+xml"/>
  <Override PartName="/ppt/notesSlides/notesSlide398.xml" ContentType="application/vnd.openxmlformats-officedocument.presentationml.notesSlide+xml"/>
  <Override PartName="/ppt/notesSlides/notesSlide39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00.xml" ContentType="application/vnd.openxmlformats-officedocument.presentationml.notesSlide+xml"/>
  <Override PartName="/ppt/notesSlides/notesSlide401.xml" ContentType="application/vnd.openxmlformats-officedocument.presentationml.notesSlide+xml"/>
  <Override PartName="/ppt/notesSlides/notesSlide402.xml" ContentType="application/vnd.openxmlformats-officedocument.presentationml.notesSlide+xml"/>
  <Override PartName="/ppt/notesSlides/notesSlide403.xml" ContentType="application/vnd.openxmlformats-officedocument.presentationml.notesSlide+xml"/>
  <Override PartName="/ppt/notesSlides/notesSlide404.xml" ContentType="application/vnd.openxmlformats-officedocument.presentationml.notesSlide+xml"/>
  <Override PartName="/ppt/notesSlides/notesSlide405.xml" ContentType="application/vnd.openxmlformats-officedocument.presentationml.notesSlide+xml"/>
  <Override PartName="/ppt/notesSlides/notesSlide406.xml" ContentType="application/vnd.openxmlformats-officedocument.presentationml.notesSlide+xml"/>
  <Override PartName="/ppt/notesSlides/notesSlide407.xml" ContentType="application/vnd.openxmlformats-officedocument.presentationml.notesSlide+xml"/>
  <Override PartName="/ppt/notesSlides/notesSlide408.xml" ContentType="application/vnd.openxmlformats-officedocument.presentationml.notesSlide+xml"/>
  <Override PartName="/ppt/notesSlides/notesSlide409.xml" ContentType="application/vnd.openxmlformats-officedocument.presentationml.notesSlide+xml"/>
  <Override PartName="/ppt/notesSlides/notesSlide41.xml" ContentType="application/vnd.openxmlformats-officedocument.presentationml.notesSlide+xml"/>
  <Override PartName="/ppt/notesSlides/notesSlide410.xml" ContentType="application/vnd.openxmlformats-officedocument.presentationml.notesSlide+xml"/>
  <Override PartName="/ppt/notesSlides/notesSlide411.xml" ContentType="application/vnd.openxmlformats-officedocument.presentationml.notesSlide+xml"/>
  <Override PartName="/ppt/notesSlides/notesSlide412.xml" ContentType="application/vnd.openxmlformats-officedocument.presentationml.notesSlide+xml"/>
  <Override PartName="/ppt/notesSlides/notesSlide413.xml" ContentType="application/vnd.openxmlformats-officedocument.presentationml.notesSlide+xml"/>
  <Override PartName="/ppt/notesSlides/notesSlide414.xml" ContentType="application/vnd.openxmlformats-officedocument.presentationml.notesSlide+xml"/>
  <Override PartName="/ppt/notesSlides/notesSlide415.xml" ContentType="application/vnd.openxmlformats-officedocument.presentationml.notesSlide+xml"/>
  <Override PartName="/ppt/notesSlides/notesSlide416.xml" ContentType="application/vnd.openxmlformats-officedocument.presentationml.notesSlide+xml"/>
  <Override PartName="/ppt/notesSlides/notesSlide417.xml" ContentType="application/vnd.openxmlformats-officedocument.presentationml.notesSlide+xml"/>
  <Override PartName="/ppt/notesSlides/notesSlide418.xml" ContentType="application/vnd.openxmlformats-officedocument.presentationml.notesSlide+xml"/>
  <Override PartName="/ppt/notesSlides/notesSlide419.xml" ContentType="application/vnd.openxmlformats-officedocument.presentationml.notesSlide+xml"/>
  <Override PartName="/ppt/notesSlides/notesSlide42.xml" ContentType="application/vnd.openxmlformats-officedocument.presentationml.notesSlide+xml"/>
  <Override PartName="/ppt/notesSlides/notesSlide420.xml" ContentType="application/vnd.openxmlformats-officedocument.presentationml.notesSlide+xml"/>
  <Override PartName="/ppt/notesSlides/notesSlide421.xml" ContentType="application/vnd.openxmlformats-officedocument.presentationml.notesSlide+xml"/>
  <Override PartName="/ppt/notesSlides/notesSlide422.xml" ContentType="application/vnd.openxmlformats-officedocument.presentationml.notesSlide+xml"/>
  <Override PartName="/ppt/notesSlides/notesSlide423.xml" ContentType="application/vnd.openxmlformats-officedocument.presentationml.notesSlide+xml"/>
  <Override PartName="/ppt/notesSlides/notesSlide424.xml" ContentType="application/vnd.openxmlformats-officedocument.presentationml.notesSlide+xml"/>
  <Override PartName="/ppt/notesSlides/notesSlide425.xml" ContentType="application/vnd.openxmlformats-officedocument.presentationml.notesSlide+xml"/>
  <Override PartName="/ppt/notesSlides/notesSlide426.xml" ContentType="application/vnd.openxmlformats-officedocument.presentationml.notesSlide+xml"/>
  <Override PartName="/ppt/notesSlides/notesSlide427.xml" ContentType="application/vnd.openxmlformats-officedocument.presentationml.notesSlide+xml"/>
  <Override PartName="/ppt/notesSlides/notesSlide428.xml" ContentType="application/vnd.openxmlformats-officedocument.presentationml.notesSlide+xml"/>
  <Override PartName="/ppt/notesSlides/notesSlide429.xml" ContentType="application/vnd.openxmlformats-officedocument.presentationml.notesSlide+xml"/>
  <Override PartName="/ppt/notesSlides/notesSlide43.xml" ContentType="application/vnd.openxmlformats-officedocument.presentationml.notesSlide+xml"/>
  <Override PartName="/ppt/notesSlides/notesSlide430.xml" ContentType="application/vnd.openxmlformats-officedocument.presentationml.notesSlide+xml"/>
  <Override PartName="/ppt/notesSlides/notesSlide431.xml" ContentType="application/vnd.openxmlformats-officedocument.presentationml.notesSlide+xml"/>
  <Override PartName="/ppt/notesSlides/notesSlide432.xml" ContentType="application/vnd.openxmlformats-officedocument.presentationml.notesSlide+xml"/>
  <Override PartName="/ppt/notesSlides/notesSlide433.xml" ContentType="application/vnd.openxmlformats-officedocument.presentationml.notesSlide+xml"/>
  <Override PartName="/ppt/notesSlides/notesSlide434.xml" ContentType="application/vnd.openxmlformats-officedocument.presentationml.notesSlide+xml"/>
  <Override PartName="/ppt/notesSlides/notesSlide435.xml" ContentType="application/vnd.openxmlformats-officedocument.presentationml.notesSlide+xml"/>
  <Override PartName="/ppt/notesSlides/notesSlide436.xml" ContentType="application/vnd.openxmlformats-officedocument.presentationml.notesSlide+xml"/>
  <Override PartName="/ppt/notesSlides/notesSlide437.xml" ContentType="application/vnd.openxmlformats-officedocument.presentationml.notesSlide+xml"/>
  <Override PartName="/ppt/notesSlides/notesSlide438.xml" ContentType="application/vnd.openxmlformats-officedocument.presentationml.notesSlide+xml"/>
  <Override PartName="/ppt/notesSlides/notesSlide439.xml" ContentType="application/vnd.openxmlformats-officedocument.presentationml.notesSlide+xml"/>
  <Override PartName="/ppt/notesSlides/notesSlide44.xml" ContentType="application/vnd.openxmlformats-officedocument.presentationml.notesSlide+xml"/>
  <Override PartName="/ppt/notesSlides/notesSlide440.xml" ContentType="application/vnd.openxmlformats-officedocument.presentationml.notesSlide+xml"/>
  <Override PartName="/ppt/notesSlides/notesSlide441.xml" ContentType="application/vnd.openxmlformats-officedocument.presentationml.notesSlide+xml"/>
  <Override PartName="/ppt/notesSlides/notesSlide442.xml" ContentType="application/vnd.openxmlformats-officedocument.presentationml.notesSlide+xml"/>
  <Override PartName="/ppt/notesSlides/notesSlide443.xml" ContentType="application/vnd.openxmlformats-officedocument.presentationml.notesSlide+xml"/>
  <Override PartName="/ppt/notesSlides/notesSlide444.xml" ContentType="application/vnd.openxmlformats-officedocument.presentationml.notesSlide+xml"/>
  <Override PartName="/ppt/notesSlides/notesSlide445.xml" ContentType="application/vnd.openxmlformats-officedocument.presentationml.notesSlide+xml"/>
  <Override PartName="/ppt/notesSlides/notesSlide446.xml" ContentType="application/vnd.openxmlformats-officedocument.presentationml.notesSlide+xml"/>
  <Override PartName="/ppt/notesSlides/notesSlide447.xml" ContentType="application/vnd.openxmlformats-officedocument.presentationml.notesSlide+xml"/>
  <Override PartName="/ppt/notesSlides/notesSlide448.xml" ContentType="application/vnd.openxmlformats-officedocument.presentationml.notesSlide+xml"/>
  <Override PartName="/ppt/notesSlides/notesSlide449.xml" ContentType="application/vnd.openxmlformats-officedocument.presentationml.notesSlide+xml"/>
  <Override PartName="/ppt/notesSlides/notesSlide45.xml" ContentType="application/vnd.openxmlformats-officedocument.presentationml.notesSlide+xml"/>
  <Override PartName="/ppt/notesSlides/notesSlide450.xml" ContentType="application/vnd.openxmlformats-officedocument.presentationml.notesSlide+xml"/>
  <Override PartName="/ppt/notesSlides/notesSlide451.xml" ContentType="application/vnd.openxmlformats-officedocument.presentationml.notesSlide+xml"/>
  <Override PartName="/ppt/notesSlides/notesSlide452.xml" ContentType="application/vnd.openxmlformats-officedocument.presentationml.notesSlide+xml"/>
  <Override PartName="/ppt/notesSlides/notesSlide453.xml" ContentType="application/vnd.openxmlformats-officedocument.presentationml.notesSlide+xml"/>
  <Override PartName="/ppt/notesSlides/notesSlide454.xml" ContentType="application/vnd.openxmlformats-officedocument.presentationml.notesSlide+xml"/>
  <Override PartName="/ppt/notesSlides/notesSlide455.xml" ContentType="application/vnd.openxmlformats-officedocument.presentationml.notesSlide+xml"/>
  <Override PartName="/ppt/notesSlides/notesSlide456.xml" ContentType="application/vnd.openxmlformats-officedocument.presentationml.notesSlide+xml"/>
  <Override PartName="/ppt/notesSlides/notesSlide457.xml" ContentType="application/vnd.openxmlformats-officedocument.presentationml.notesSlide+xml"/>
  <Override PartName="/ppt/notesSlides/notesSlide458.xml" ContentType="application/vnd.openxmlformats-officedocument.presentationml.notesSlide+xml"/>
  <Override PartName="/ppt/notesSlides/notesSlide459.xml" ContentType="application/vnd.openxmlformats-officedocument.presentationml.notesSlide+xml"/>
  <Override PartName="/ppt/notesSlides/notesSlide46.xml" ContentType="application/vnd.openxmlformats-officedocument.presentationml.notesSlide+xml"/>
  <Override PartName="/ppt/notesSlides/notesSlide460.xml" ContentType="application/vnd.openxmlformats-officedocument.presentationml.notesSlide+xml"/>
  <Override PartName="/ppt/notesSlides/notesSlide461.xml" ContentType="application/vnd.openxmlformats-officedocument.presentationml.notesSlide+xml"/>
  <Override PartName="/ppt/notesSlides/notesSlide462.xml" ContentType="application/vnd.openxmlformats-officedocument.presentationml.notesSlide+xml"/>
  <Override PartName="/ppt/notesSlides/notesSlide463.xml" ContentType="application/vnd.openxmlformats-officedocument.presentationml.notesSlide+xml"/>
  <Override PartName="/ppt/notesSlides/notesSlide464.xml" ContentType="application/vnd.openxmlformats-officedocument.presentationml.notesSlide+xml"/>
  <Override PartName="/ppt/notesSlides/notesSlide465.xml" ContentType="application/vnd.openxmlformats-officedocument.presentationml.notesSlide+xml"/>
  <Override PartName="/ppt/notesSlides/notesSlide466.xml" ContentType="application/vnd.openxmlformats-officedocument.presentationml.notesSlide+xml"/>
  <Override PartName="/ppt/notesSlides/notesSlide467.xml" ContentType="application/vnd.openxmlformats-officedocument.presentationml.notesSlide+xml"/>
  <Override PartName="/ppt/notesSlides/notesSlide468.xml" ContentType="application/vnd.openxmlformats-officedocument.presentationml.notesSlide+xml"/>
  <Override PartName="/ppt/notesSlides/notesSlide469.xml" ContentType="application/vnd.openxmlformats-officedocument.presentationml.notesSlide+xml"/>
  <Override PartName="/ppt/notesSlides/notesSlide47.xml" ContentType="application/vnd.openxmlformats-officedocument.presentationml.notesSlide+xml"/>
  <Override PartName="/ppt/notesSlides/notesSlide470.xml" ContentType="application/vnd.openxmlformats-officedocument.presentationml.notesSlide+xml"/>
  <Override PartName="/ppt/notesSlides/notesSlide471.xml" ContentType="application/vnd.openxmlformats-officedocument.presentationml.notesSlide+xml"/>
  <Override PartName="/ppt/notesSlides/notesSlide472.xml" ContentType="application/vnd.openxmlformats-officedocument.presentationml.notesSlide+xml"/>
  <Override PartName="/ppt/notesSlides/notesSlide473.xml" ContentType="application/vnd.openxmlformats-officedocument.presentationml.notesSlide+xml"/>
  <Override PartName="/ppt/notesSlides/notesSlide474.xml" ContentType="application/vnd.openxmlformats-officedocument.presentationml.notesSlide+xml"/>
  <Override PartName="/ppt/notesSlides/notesSlide475.xml" ContentType="application/vnd.openxmlformats-officedocument.presentationml.notesSlide+xml"/>
  <Override PartName="/ppt/notesSlides/notesSlide476.xml" ContentType="application/vnd.openxmlformats-officedocument.presentationml.notesSlide+xml"/>
  <Override PartName="/ppt/notesSlides/notesSlide477.xml" ContentType="application/vnd.openxmlformats-officedocument.presentationml.notesSlide+xml"/>
  <Override PartName="/ppt/notesSlides/notesSlide478.xml" ContentType="application/vnd.openxmlformats-officedocument.presentationml.notesSlide+xml"/>
  <Override PartName="/ppt/notesSlides/notesSlide479.xml" ContentType="application/vnd.openxmlformats-officedocument.presentationml.notesSlide+xml"/>
  <Override PartName="/ppt/notesSlides/notesSlide48.xml" ContentType="application/vnd.openxmlformats-officedocument.presentationml.notesSlide+xml"/>
  <Override PartName="/ppt/notesSlides/notesSlide480.xml" ContentType="application/vnd.openxmlformats-officedocument.presentationml.notesSlide+xml"/>
  <Override PartName="/ppt/notesSlides/notesSlide481.xml" ContentType="application/vnd.openxmlformats-officedocument.presentationml.notesSlide+xml"/>
  <Override PartName="/ppt/notesSlides/notesSlide482.xml" ContentType="application/vnd.openxmlformats-officedocument.presentationml.notesSlide+xml"/>
  <Override PartName="/ppt/notesSlides/notesSlide483.xml" ContentType="application/vnd.openxmlformats-officedocument.presentationml.notesSlide+xml"/>
  <Override PartName="/ppt/notesSlides/notesSlide484.xml" ContentType="application/vnd.openxmlformats-officedocument.presentationml.notesSlide+xml"/>
  <Override PartName="/ppt/notesSlides/notesSlide485.xml" ContentType="application/vnd.openxmlformats-officedocument.presentationml.notesSlide+xml"/>
  <Override PartName="/ppt/notesSlides/notesSlide486.xml" ContentType="application/vnd.openxmlformats-officedocument.presentationml.notesSlide+xml"/>
  <Override PartName="/ppt/notesSlides/notesSlide487.xml" ContentType="application/vnd.openxmlformats-officedocument.presentationml.notesSlide+xml"/>
  <Override PartName="/ppt/notesSlides/notesSlide488.xml" ContentType="application/vnd.openxmlformats-officedocument.presentationml.notesSlide+xml"/>
  <Override PartName="/ppt/notesSlides/notesSlide489.xml" ContentType="application/vnd.openxmlformats-officedocument.presentationml.notesSlide+xml"/>
  <Override PartName="/ppt/notesSlides/notesSlide49.xml" ContentType="application/vnd.openxmlformats-officedocument.presentationml.notesSlide+xml"/>
  <Override PartName="/ppt/notesSlides/notesSlide490.xml" ContentType="application/vnd.openxmlformats-officedocument.presentationml.notesSlide+xml"/>
  <Override PartName="/ppt/notesSlides/notesSlide491.xml" ContentType="application/vnd.openxmlformats-officedocument.presentationml.notesSlide+xml"/>
  <Override PartName="/ppt/notesSlides/notesSlide492.xml" ContentType="application/vnd.openxmlformats-officedocument.presentationml.notesSlide+xml"/>
  <Override PartName="/ppt/notesSlides/notesSlide493.xml" ContentType="application/vnd.openxmlformats-officedocument.presentationml.notesSlide+xml"/>
  <Override PartName="/ppt/notesSlides/notesSlide494.xml" ContentType="application/vnd.openxmlformats-officedocument.presentationml.notesSlide+xml"/>
  <Override PartName="/ppt/notesSlides/notesSlide495.xml" ContentType="application/vnd.openxmlformats-officedocument.presentationml.notesSlide+xml"/>
  <Override PartName="/ppt/notesSlides/notesSlide496.xml" ContentType="application/vnd.openxmlformats-officedocument.presentationml.notesSlide+xml"/>
  <Override PartName="/ppt/notesSlides/notesSlide497.xml" ContentType="application/vnd.openxmlformats-officedocument.presentationml.notesSlide+xml"/>
  <Override PartName="/ppt/notesSlides/notesSlide498.xml" ContentType="application/vnd.openxmlformats-officedocument.presentationml.notesSlide+xml"/>
  <Override PartName="/ppt/notesSlides/notesSlide49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0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xml" ContentType="application/vnd.openxmlformats-officedocument.themeOverride+xml"/>
  <Override PartName="/ppt/theme/themeOverride20.xml" ContentType="application/vnd.openxmlformats-officedocument.themeOverride+xml"/>
  <Override PartName="/ppt/theme/themeOverride21.xml" ContentType="application/vnd.openxmlformats-officedocument.themeOverride+xml"/>
  <Override PartName="/ppt/theme/themeOverride22.xml" ContentType="application/vnd.openxmlformats-officedocument.themeOverride+xml"/>
  <Override PartName="/ppt/theme/themeOverride23.xml" ContentType="application/vnd.openxmlformats-officedocument.themeOverride+xml"/>
  <Override PartName="/ppt/theme/themeOverride24.xml" ContentType="application/vnd.openxmlformats-officedocument.themeOverride+xml"/>
  <Override PartName="/ppt/theme/themeOverride25.xml" ContentType="application/vnd.openxmlformats-officedocument.themeOverride+xml"/>
  <Override PartName="/ppt/theme/themeOverride26.xml" ContentType="application/vnd.openxmlformats-officedocument.themeOverride+xml"/>
  <Override PartName="/ppt/theme/themeOverride27.xml" ContentType="application/vnd.openxmlformats-officedocument.themeOverride+xml"/>
  <Override PartName="/ppt/theme/themeOverride28.xml" ContentType="application/vnd.openxmlformats-officedocument.themeOverride+xml"/>
  <Override PartName="/ppt/theme/themeOverride29.xml" ContentType="application/vnd.openxmlformats-officedocument.themeOverride+xml"/>
  <Override PartName="/ppt/theme/themeOverride3.xml" ContentType="application/vnd.openxmlformats-officedocument.themeOverride+xml"/>
  <Override PartName="/ppt/theme/themeOverride30.xml" ContentType="application/vnd.openxmlformats-officedocument.themeOverride+xml"/>
  <Override PartName="/ppt/theme/themeOverride31.xml" ContentType="application/vnd.openxmlformats-officedocument.themeOverride+xml"/>
  <Override PartName="/ppt/theme/themeOverride32.xml" ContentType="application/vnd.openxmlformats-officedocument.themeOverride+xml"/>
  <Override PartName="/ppt/theme/themeOverride33.xml" ContentType="application/vnd.openxmlformats-officedocument.themeOverride+xml"/>
  <Override PartName="/ppt/theme/themeOverride34.xml" ContentType="application/vnd.openxmlformats-officedocument.themeOverride+xml"/>
  <Override PartName="/ppt/theme/themeOverride35.xml" ContentType="application/vnd.openxmlformats-officedocument.themeOverride+xml"/>
  <Override PartName="/ppt/theme/themeOverride36.xml" ContentType="application/vnd.openxmlformats-officedocument.themeOverride+xml"/>
  <Override PartName="/ppt/theme/themeOverride37.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4.xml" ContentType="application/vnd.openxmlformats-officedocument.themeOverride+xml"/>
  <Override PartName="/ppt/theme/themeOverride40.xml" ContentType="application/vnd.openxmlformats-officedocument.themeOverride+xml"/>
  <Override PartName="/ppt/theme/themeOverride41.xml" ContentType="application/vnd.openxmlformats-officedocument.themeOverride+xml"/>
  <Override PartName="/ppt/theme/themeOverride42.xml" ContentType="application/vnd.openxmlformats-officedocument.themeOverride+xml"/>
  <Override PartName="/ppt/theme/themeOverride43.xml" ContentType="application/vnd.openxmlformats-officedocument.themeOverride+xml"/>
  <Override PartName="/ppt/theme/themeOverride44.xml" ContentType="application/vnd.openxmlformats-officedocument.themeOverride+xml"/>
  <Override PartName="/ppt/theme/themeOverride45.xml" ContentType="application/vnd.openxmlformats-officedocument.themeOverride+xml"/>
  <Override PartName="/ppt/theme/themeOverride46.xml" ContentType="application/vnd.openxmlformats-officedocument.themeOverride+xml"/>
  <Override PartName="/ppt/theme/themeOverride47.xml" ContentType="application/vnd.openxmlformats-officedocument.themeOverride+xml"/>
  <Override PartName="/ppt/theme/themeOverride48.xml" ContentType="application/vnd.openxmlformats-officedocument.themeOverride+xml"/>
  <Override PartName="/ppt/theme/themeOverride49.xml" ContentType="application/vnd.openxmlformats-officedocument.themeOverride+xml"/>
  <Override PartName="/ppt/theme/themeOverride5.xml" ContentType="application/vnd.openxmlformats-officedocument.themeOverride+xml"/>
  <Override PartName="/ppt/theme/themeOverride50.xml" ContentType="application/vnd.openxmlformats-officedocument.themeOverride+xml"/>
  <Override PartName="/ppt/theme/themeOverride51.xml" ContentType="application/vnd.openxmlformats-officedocument.themeOverride+xml"/>
  <Override PartName="/ppt/theme/themeOverride52.xml" ContentType="application/vnd.openxmlformats-officedocument.themeOverride+xml"/>
  <Override PartName="/ppt/theme/themeOverride53.xml" ContentType="application/vnd.openxmlformats-officedocument.themeOverride+xml"/>
  <Override PartName="/ppt/theme/themeOverride54.xml" ContentType="application/vnd.openxmlformats-officedocument.themeOverride+xml"/>
  <Override PartName="/ppt/theme/themeOverride55.xml" ContentType="application/vnd.openxmlformats-officedocument.themeOverride+xml"/>
  <Override PartName="/ppt/theme/themeOverride56.xml" ContentType="application/vnd.openxmlformats-officedocument.themeOverride+xml"/>
  <Override PartName="/ppt/theme/themeOverride57.xml" ContentType="application/vnd.openxmlformats-officedocument.themeOverride+xml"/>
  <Override PartName="/ppt/theme/themeOverride58.xml" ContentType="application/vnd.openxmlformats-officedocument.themeOverride+xml"/>
  <Override PartName="/ppt/theme/themeOverride59.xml" ContentType="application/vnd.openxmlformats-officedocument.themeOverride+xml"/>
  <Override PartName="/ppt/theme/themeOverride6.xml" ContentType="application/vnd.openxmlformats-officedocument.themeOverride+xml"/>
  <Override PartName="/ppt/theme/themeOverride60.xml" ContentType="application/vnd.openxmlformats-officedocument.themeOverride+xml"/>
  <Override PartName="/ppt/theme/themeOverride61.xml" ContentType="application/vnd.openxmlformats-officedocument.themeOverride+xml"/>
  <Override PartName="/ppt/theme/themeOverride62.xml" ContentType="application/vnd.openxmlformats-officedocument.themeOverride+xml"/>
  <Override PartName="/ppt/theme/themeOverride63.xml" ContentType="application/vnd.openxmlformats-officedocument.themeOverride+xml"/>
  <Override PartName="/ppt/theme/themeOverride64.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942"/>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 id="2147475565" r:id="rId401"/>
    <p:sldId id="2147475566" r:id="rId402"/>
    <p:sldId id="2147475567" r:id="rId403"/>
    <p:sldId id="2147475568" r:id="rId404"/>
    <p:sldId id="2147475569" r:id="rId405"/>
    <p:sldId id="2147475570" r:id="rId406"/>
    <p:sldId id="2147475571" r:id="rId407"/>
    <p:sldId id="2147475572" r:id="rId408"/>
    <p:sldId id="2147475573" r:id="rId409"/>
    <p:sldId id="2147475574" r:id="rId410"/>
    <p:sldId id="2147475575" r:id="rId411"/>
    <p:sldId id="2147475576" r:id="rId412"/>
    <p:sldId id="2147475577" r:id="rId413"/>
    <p:sldId id="2147475578" r:id="rId414"/>
    <p:sldId id="2147475579" r:id="rId415"/>
    <p:sldId id="2147475580" r:id="rId416"/>
    <p:sldId id="2147475581" r:id="rId417"/>
    <p:sldId id="2147475582" r:id="rId418"/>
    <p:sldId id="2147475583" r:id="rId419"/>
    <p:sldId id="2147475584" r:id="rId420"/>
    <p:sldId id="2147475585" r:id="rId421"/>
    <p:sldId id="2147475586" r:id="rId422"/>
    <p:sldId id="2147475587" r:id="rId423"/>
    <p:sldId id="2147475588" r:id="rId424"/>
    <p:sldId id="2147475589" r:id="rId425"/>
    <p:sldId id="2147475590" r:id="rId426"/>
    <p:sldId id="2147475591" r:id="rId427"/>
    <p:sldId id="2147475592" r:id="rId428"/>
    <p:sldId id="2147475593" r:id="rId429"/>
    <p:sldId id="2147475594" r:id="rId430"/>
    <p:sldId id="2147475595" r:id="rId431"/>
    <p:sldId id="2147475596" r:id="rId432"/>
    <p:sldId id="2147475597" r:id="rId433"/>
    <p:sldId id="2147475598" r:id="rId434"/>
    <p:sldId id="2147475599" r:id="rId435"/>
    <p:sldId id="2147475600" r:id="rId436"/>
    <p:sldId id="2147475601" r:id="rId437"/>
    <p:sldId id="2147475602" r:id="rId438"/>
    <p:sldId id="2147475603" r:id="rId439"/>
    <p:sldId id="2147475604" r:id="rId440"/>
    <p:sldId id="2147475605" r:id="rId441"/>
    <p:sldId id="2147475606" r:id="rId442"/>
    <p:sldId id="2147475607" r:id="rId443"/>
    <p:sldId id="2147475608" r:id="rId444"/>
    <p:sldId id="2147475609" r:id="rId445"/>
    <p:sldId id="2147475610" r:id="rId446"/>
    <p:sldId id="2147475611" r:id="rId447"/>
    <p:sldId id="2147475612" r:id="rId448"/>
    <p:sldId id="2147475613" r:id="rId449"/>
    <p:sldId id="2147475614" r:id="rId450"/>
    <p:sldId id="2147475615" r:id="rId451"/>
    <p:sldId id="2147475616" r:id="rId452"/>
    <p:sldId id="2147475617" r:id="rId453"/>
    <p:sldId id="2147475618" r:id="rId454"/>
    <p:sldId id="2147475619" r:id="rId455"/>
    <p:sldId id="2147475620" r:id="rId456"/>
    <p:sldId id="2147475621" r:id="rId457"/>
    <p:sldId id="2147475622" r:id="rId458"/>
    <p:sldId id="2147475623" r:id="rId459"/>
    <p:sldId id="2147475624" r:id="rId460"/>
    <p:sldId id="2147475625" r:id="rId461"/>
    <p:sldId id="2147475626" r:id="rId462"/>
    <p:sldId id="2147475627" r:id="rId463"/>
    <p:sldId id="2147475628" r:id="rId464"/>
    <p:sldId id="2147475629" r:id="rId465"/>
    <p:sldId id="2147475630" r:id="rId466"/>
    <p:sldId id="2147475631" r:id="rId467"/>
    <p:sldId id="2147475632" r:id="rId468"/>
    <p:sldId id="2147475633" r:id="rId469"/>
    <p:sldId id="2147475634" r:id="rId470"/>
    <p:sldId id="2147475635" r:id="rId471"/>
    <p:sldId id="2147475636" r:id="rId472"/>
    <p:sldId id="2147475637" r:id="rId473"/>
    <p:sldId id="2147475638" r:id="rId474"/>
    <p:sldId id="2147475639" r:id="rId475"/>
    <p:sldId id="2147475640" r:id="rId476"/>
    <p:sldId id="2147475641" r:id="rId477"/>
    <p:sldId id="2147475642" r:id="rId478"/>
    <p:sldId id="2147475643" r:id="rId479"/>
    <p:sldId id="2147475644" r:id="rId480"/>
    <p:sldId id="2147475645" r:id="rId481"/>
    <p:sldId id="2147475646" r:id="rId482"/>
    <p:sldId id="2147475647" r:id="rId483"/>
    <p:sldId id="2147475648" r:id="rId484"/>
    <p:sldId id="2147475649" r:id="rId485"/>
    <p:sldId id="2147475650" r:id="rId486"/>
    <p:sldId id="2147475651" r:id="rId487"/>
    <p:sldId id="2147475652" r:id="rId488"/>
    <p:sldId id="2147475653" r:id="rId489"/>
    <p:sldId id="2147475654" r:id="rId490"/>
    <p:sldId id="2147475655" r:id="rId491"/>
    <p:sldId id="2147475656" r:id="rId492"/>
    <p:sldId id="2147475657" r:id="rId493"/>
    <p:sldId id="2147475658" r:id="rId494"/>
    <p:sldId id="2147475659" r:id="rId495"/>
    <p:sldId id="2147475660" r:id="rId496"/>
    <p:sldId id="2147475661" r:id="rId497"/>
    <p:sldId id="2147475662" r:id="rId498"/>
    <p:sldId id="2147475663" r:id="rId499"/>
    <p:sldId id="2147475664" r:id="rId500"/>
    <p:sldId id="2147475665" r:id="rId501"/>
    <p:sldId id="2147475666" r:id="rId502"/>
    <p:sldId id="2147475667" r:id="rId503"/>
    <p:sldId id="2147475668" r:id="rId504"/>
    <p:sldId id="2147475669" r:id="rId505"/>
    <p:sldId id="2147475670" r:id="rId506"/>
    <p:sldId id="2147475671" r:id="rId507"/>
    <p:sldId id="2147475672" r:id="rId508"/>
    <p:sldId id="2147475673" r:id="rId509"/>
    <p:sldId id="2147475674" r:id="rId510"/>
    <p:sldId id="2147475675" r:id="rId511"/>
    <p:sldId id="2147475676" r:id="rId512"/>
    <p:sldId id="2147475677" r:id="rId513"/>
    <p:sldId id="2147475678" r:id="rId514"/>
    <p:sldId id="2147475679" r:id="rId515"/>
    <p:sldId id="2147475680" r:id="rId516"/>
    <p:sldId id="2147475681" r:id="rId517"/>
    <p:sldId id="2147475682" r:id="rId518"/>
    <p:sldId id="2147475683" r:id="rId519"/>
    <p:sldId id="2147475684" r:id="rId520"/>
    <p:sldId id="2147475685" r:id="rId521"/>
    <p:sldId id="2147475686" r:id="rId522"/>
    <p:sldId id="2147475687" r:id="rId523"/>
    <p:sldId id="2147475688" r:id="rId524"/>
    <p:sldId id="2147475689" r:id="rId525"/>
    <p:sldId id="2147475690" r:id="rId526"/>
    <p:sldId id="2147475691" r:id="rId527"/>
    <p:sldId id="2147475692" r:id="rId528"/>
    <p:sldId id="2147475693" r:id="rId529"/>
    <p:sldId id="2147475694" r:id="rId530"/>
    <p:sldId id="2147475695" r:id="rId531"/>
    <p:sldId id="2147475696" r:id="rId532"/>
    <p:sldId id="2147475697" r:id="rId533"/>
    <p:sldId id="2147475698" r:id="rId534"/>
    <p:sldId id="2147475699" r:id="rId535"/>
    <p:sldId id="2147475700" r:id="rId536"/>
    <p:sldId id="2147475701" r:id="rId537"/>
    <p:sldId id="2147475702" r:id="rId538"/>
    <p:sldId id="2147475703" r:id="rId539"/>
    <p:sldId id="2147475704" r:id="rId540"/>
    <p:sldId id="2147475705" r:id="rId541"/>
    <p:sldId id="2147475706" r:id="rId542"/>
    <p:sldId id="2147475707" r:id="rId543"/>
    <p:sldId id="2147475708" r:id="rId544"/>
    <p:sldId id="2147475709" r:id="rId545"/>
    <p:sldId id="2147475710" r:id="rId546"/>
    <p:sldId id="2147475711" r:id="rId547"/>
    <p:sldId id="2147475712" r:id="rId548"/>
    <p:sldId id="2147475713" r:id="rId549"/>
    <p:sldId id="2147475714" r:id="rId550"/>
    <p:sldId id="2147475715" r:id="rId551"/>
    <p:sldId id="2147475716" r:id="rId552"/>
    <p:sldId id="2147475717" r:id="rId553"/>
    <p:sldId id="2147475718" r:id="rId554"/>
    <p:sldId id="2147475719" r:id="rId555"/>
    <p:sldId id="2147475720" r:id="rId556"/>
    <p:sldId id="2147475721" r:id="rId557"/>
    <p:sldId id="2147475722" r:id="rId558"/>
    <p:sldId id="2147475723" r:id="rId559"/>
    <p:sldId id="2147475724" r:id="rId560"/>
    <p:sldId id="2147475725" r:id="rId561"/>
    <p:sldId id="2147475726" r:id="rId562"/>
    <p:sldId id="2147475727" r:id="rId563"/>
    <p:sldId id="2147475728" r:id="rId564"/>
    <p:sldId id="2147475729" r:id="rId565"/>
    <p:sldId id="2147475730" r:id="rId566"/>
    <p:sldId id="2147475731" r:id="rId567"/>
    <p:sldId id="2147475732" r:id="rId568"/>
    <p:sldId id="2147475733" r:id="rId569"/>
    <p:sldId id="2147475734" r:id="rId570"/>
    <p:sldId id="2147475735" r:id="rId571"/>
    <p:sldId id="2147475736" r:id="rId572"/>
    <p:sldId id="2147475737" r:id="rId573"/>
    <p:sldId id="2147475738" r:id="rId574"/>
    <p:sldId id="2147475739" r:id="rId575"/>
    <p:sldId id="2147475740" r:id="rId576"/>
    <p:sldId id="2147475741" r:id="rId577"/>
    <p:sldId id="2147475742" r:id="rId578"/>
    <p:sldId id="2147475743" r:id="rId579"/>
    <p:sldId id="2147475744" r:id="rId580"/>
    <p:sldId id="2147475745" r:id="rId581"/>
    <p:sldId id="2147475746" r:id="rId582"/>
    <p:sldId id="2147475747" r:id="rId583"/>
    <p:sldId id="2147475748" r:id="rId584"/>
    <p:sldId id="2147475749" r:id="rId585"/>
    <p:sldId id="2147475750" r:id="rId586"/>
    <p:sldId id="2147475751" r:id="rId587"/>
    <p:sldId id="2147475752" r:id="rId588"/>
    <p:sldId id="2147475753" r:id="rId589"/>
    <p:sldId id="2147475754" r:id="rId590"/>
    <p:sldId id="2147475755" r:id="rId591"/>
    <p:sldId id="2147475756" r:id="rId592"/>
    <p:sldId id="2147475757" r:id="rId593"/>
    <p:sldId id="2147475758" r:id="rId594"/>
    <p:sldId id="2147475759" r:id="rId595"/>
    <p:sldId id="2147475760" r:id="rId596"/>
    <p:sldId id="2147475761" r:id="rId597"/>
    <p:sldId id="2147475762" r:id="rId598"/>
    <p:sldId id="2147475763" r:id="rId599"/>
    <p:sldId id="2147475764" r:id="rId600"/>
    <p:sldId id="2147475765" r:id="rId601"/>
    <p:sldId id="2147475766" r:id="rId602"/>
    <p:sldId id="2147475767" r:id="rId603"/>
    <p:sldId id="2147475768" r:id="rId604"/>
    <p:sldId id="2147475769" r:id="rId605"/>
    <p:sldId id="2147475770" r:id="rId606"/>
    <p:sldId id="2147475771" r:id="rId607"/>
    <p:sldId id="2147475772" r:id="rId608"/>
    <p:sldId id="2147475773" r:id="rId609"/>
    <p:sldId id="2147475774" r:id="rId610"/>
    <p:sldId id="2147475775" r:id="rId611"/>
    <p:sldId id="2147475776" r:id="rId612"/>
    <p:sldId id="2147475777" r:id="rId613"/>
    <p:sldId id="2147475778" r:id="rId614"/>
    <p:sldId id="2147475779" r:id="rId615"/>
    <p:sldId id="2147475780" r:id="rId616"/>
    <p:sldId id="2147475781" r:id="rId617"/>
    <p:sldId id="2147475782" r:id="rId618"/>
    <p:sldId id="2147475783" r:id="rId619"/>
    <p:sldId id="2147475784" r:id="rId620"/>
    <p:sldId id="2147475785" r:id="rId621"/>
    <p:sldId id="2147475786" r:id="rId622"/>
    <p:sldId id="2147475787" r:id="rId623"/>
    <p:sldId id="2147475788" r:id="rId624"/>
    <p:sldId id="2147475789" r:id="rId625"/>
    <p:sldId id="2147475790" r:id="rId626"/>
    <p:sldId id="2147475791" r:id="rId627"/>
    <p:sldId id="2147475792" r:id="rId628"/>
    <p:sldId id="2147475793" r:id="rId629"/>
    <p:sldId id="2147475794" r:id="rId630"/>
    <p:sldId id="2147475795" r:id="rId631"/>
    <p:sldId id="2147475796" r:id="rId632"/>
    <p:sldId id="2147475797" r:id="rId633"/>
    <p:sldId id="2147475798" r:id="rId634"/>
    <p:sldId id="2147475799" r:id="rId635"/>
    <p:sldId id="2147475800" r:id="rId636"/>
    <p:sldId id="2147475801" r:id="rId637"/>
    <p:sldId id="2147475802" r:id="rId638"/>
    <p:sldId id="2147475803" r:id="rId639"/>
    <p:sldId id="2147475804" r:id="rId640"/>
    <p:sldId id="2147475805" r:id="rId641"/>
    <p:sldId id="2147475806" r:id="rId642"/>
    <p:sldId id="2147475807" r:id="rId643"/>
    <p:sldId id="2147475808" r:id="rId644"/>
    <p:sldId id="2147475809" r:id="rId645"/>
    <p:sldId id="2147475810" r:id="rId646"/>
    <p:sldId id="2147475811" r:id="rId647"/>
    <p:sldId id="2147475812" r:id="rId648"/>
    <p:sldId id="2147475813" r:id="rId649"/>
    <p:sldId id="2147475814" r:id="rId650"/>
    <p:sldId id="2147475815" r:id="rId651"/>
    <p:sldId id="2147475816" r:id="rId652"/>
    <p:sldId id="2147475817" r:id="rId653"/>
    <p:sldId id="2147475818" r:id="rId654"/>
    <p:sldId id="2147475819" r:id="rId655"/>
    <p:sldId id="2147475820" r:id="rId656"/>
    <p:sldId id="2147475821" r:id="rId657"/>
    <p:sldId id="2147475822" r:id="rId658"/>
    <p:sldId id="2147475823" r:id="rId659"/>
    <p:sldId id="2147475824" r:id="rId660"/>
    <p:sldId id="2147475825" r:id="rId661"/>
    <p:sldId id="2147475826" r:id="rId662"/>
    <p:sldId id="2147475827" r:id="rId663"/>
    <p:sldId id="2147475828" r:id="rId664"/>
    <p:sldId id="2147475829" r:id="rId665"/>
    <p:sldId id="2147475830" r:id="rId666"/>
    <p:sldId id="2147475831" r:id="rId667"/>
    <p:sldId id="2147475832" r:id="rId668"/>
    <p:sldId id="2147475833" r:id="rId669"/>
    <p:sldId id="2147475834" r:id="rId670"/>
    <p:sldId id="2147475835" r:id="rId671"/>
    <p:sldId id="2147475836" r:id="rId672"/>
    <p:sldId id="2147475837" r:id="rId673"/>
    <p:sldId id="2147475838" r:id="rId674"/>
    <p:sldId id="2147475839" r:id="rId675"/>
    <p:sldId id="2147475840" r:id="rId676"/>
    <p:sldId id="2147475841" r:id="rId677"/>
    <p:sldId id="2147475842" r:id="rId678"/>
    <p:sldId id="2147475843" r:id="rId679"/>
    <p:sldId id="2147475844" r:id="rId680"/>
    <p:sldId id="2147475845" r:id="rId681"/>
    <p:sldId id="2147475846" r:id="rId682"/>
    <p:sldId id="2147475847" r:id="rId683"/>
    <p:sldId id="2147475848" r:id="rId684"/>
    <p:sldId id="2147475849" r:id="rId685"/>
    <p:sldId id="2147475850" r:id="rId686"/>
    <p:sldId id="2147475851" r:id="rId687"/>
    <p:sldId id="2147475852" r:id="rId688"/>
    <p:sldId id="2147475853" r:id="rId689"/>
    <p:sldId id="2147475854" r:id="rId690"/>
    <p:sldId id="2147475855" r:id="rId691"/>
    <p:sldId id="2147475856" r:id="rId692"/>
    <p:sldId id="2147475857" r:id="rId693"/>
    <p:sldId id="2147475858" r:id="rId694"/>
    <p:sldId id="2147475859" r:id="rId695"/>
    <p:sldId id="2147475860" r:id="rId696"/>
    <p:sldId id="2147475861" r:id="rId697"/>
    <p:sldId id="2147475862" r:id="rId698"/>
    <p:sldId id="2147475863" r:id="rId699"/>
    <p:sldId id="2147475864" r:id="rId700"/>
    <p:sldId id="2147475865" r:id="rId701"/>
    <p:sldId id="2147475866" r:id="rId702"/>
    <p:sldId id="2147475867" r:id="rId703"/>
    <p:sldId id="2147475868" r:id="rId704"/>
    <p:sldId id="2147475869" r:id="rId705"/>
    <p:sldId id="2147475870" r:id="rId706"/>
    <p:sldId id="2147475871" r:id="rId707"/>
    <p:sldId id="2147475872" r:id="rId708"/>
    <p:sldId id="2147475873" r:id="rId709"/>
    <p:sldId id="2147475874" r:id="rId710"/>
    <p:sldId id="2147475875" r:id="rId711"/>
    <p:sldId id="2147475876" r:id="rId712"/>
    <p:sldId id="2147475877" r:id="rId713"/>
    <p:sldId id="2147475878" r:id="rId714"/>
    <p:sldId id="2147475879" r:id="rId715"/>
    <p:sldId id="2147475880" r:id="rId716"/>
    <p:sldId id="2147475881" r:id="rId717"/>
    <p:sldId id="2147475882" r:id="rId718"/>
    <p:sldId id="2147475883" r:id="rId719"/>
    <p:sldId id="2147475884" r:id="rId720"/>
    <p:sldId id="2147475885" r:id="rId721"/>
    <p:sldId id="2147475886" r:id="rId722"/>
    <p:sldId id="2147475887" r:id="rId723"/>
    <p:sldId id="2147475888" r:id="rId724"/>
    <p:sldId id="2147475889" r:id="rId725"/>
    <p:sldId id="2147475890" r:id="rId726"/>
    <p:sldId id="2147475891" r:id="rId727"/>
    <p:sldId id="2147475892" r:id="rId728"/>
    <p:sldId id="2147475893" r:id="rId729"/>
    <p:sldId id="2147475894" r:id="rId730"/>
    <p:sldId id="2147475895" r:id="rId731"/>
    <p:sldId id="2147475896" r:id="rId732"/>
    <p:sldId id="2147475897" r:id="rId733"/>
    <p:sldId id="2147475898" r:id="rId734"/>
    <p:sldId id="2147475899" r:id="rId735"/>
    <p:sldId id="2147475900" r:id="rId736"/>
    <p:sldId id="2147475901" r:id="rId737"/>
    <p:sldId id="2147475902" r:id="rId738"/>
    <p:sldId id="2147475903" r:id="rId739"/>
    <p:sldId id="2147475904" r:id="rId740"/>
    <p:sldId id="2147475905" r:id="rId741"/>
    <p:sldId id="2147475906" r:id="rId742"/>
    <p:sldId id="2147475907" r:id="rId743"/>
    <p:sldId id="2147475908" r:id="rId744"/>
    <p:sldId id="2147475909" r:id="rId745"/>
    <p:sldId id="2147475910" r:id="rId746"/>
    <p:sldId id="2147475911" r:id="rId747"/>
    <p:sldId id="2147475912" r:id="rId748"/>
    <p:sldId id="2147475913" r:id="rId749"/>
    <p:sldId id="2147475914" r:id="rId750"/>
    <p:sldId id="2147475915" r:id="rId751"/>
    <p:sldId id="2147475916" r:id="rId752"/>
    <p:sldId id="2147475917" r:id="rId753"/>
    <p:sldId id="2147475918" r:id="rId754"/>
    <p:sldId id="2147475919" r:id="rId755"/>
    <p:sldId id="2147475920" r:id="rId756"/>
    <p:sldId id="2147475921" r:id="rId757"/>
    <p:sldId id="2147475922" r:id="rId758"/>
    <p:sldId id="2147475923" r:id="rId759"/>
    <p:sldId id="2147475924" r:id="rId760"/>
    <p:sldId id="2147475925" r:id="rId761"/>
    <p:sldId id="2147475926" r:id="rId762"/>
    <p:sldId id="2147475927" r:id="rId763"/>
    <p:sldId id="2147475928" r:id="rId764"/>
    <p:sldId id="2147475929" r:id="rId765"/>
    <p:sldId id="2147475930" r:id="rId766"/>
    <p:sldId id="2147475931" r:id="rId767"/>
    <p:sldId id="2147475932" r:id="rId768"/>
    <p:sldId id="2147475933" r:id="rId769"/>
    <p:sldId id="2147475934" r:id="rId770"/>
    <p:sldId id="2147475935" r:id="rId771"/>
    <p:sldId id="2147475936" r:id="rId772"/>
    <p:sldId id="2147475937" r:id="rId773"/>
    <p:sldId id="2147475938" r:id="rId774"/>
    <p:sldId id="2147475939" r:id="rId775"/>
    <p:sldId id="2147475940" r:id="rId776"/>
    <p:sldId id="2147475941" r:id="rId777"/>
    <p:sldId id="2147475942" r:id="rId778"/>
    <p:sldId id="2147475943" r:id="rId779"/>
    <p:sldId id="2147475944" r:id="rId780"/>
    <p:sldId id="2147475945" r:id="rId781"/>
    <p:sldId id="2147475946" r:id="rId782"/>
    <p:sldId id="2147475947" r:id="rId783"/>
    <p:sldId id="2147475948" r:id="rId784"/>
    <p:sldId id="2147475949" r:id="rId785"/>
    <p:sldId id="2147475950" r:id="rId786"/>
    <p:sldId id="2147475951" r:id="rId787"/>
    <p:sldId id="2147475952" r:id="rId788"/>
    <p:sldId id="2147475953" r:id="rId789"/>
    <p:sldId id="2147475954" r:id="rId790"/>
    <p:sldId id="2147475955" r:id="rId791"/>
    <p:sldId id="2147475956" r:id="rId792"/>
    <p:sldId id="2147475957" r:id="rId793"/>
    <p:sldId id="2147475958" r:id="rId794"/>
    <p:sldId id="2147475959" r:id="rId795"/>
    <p:sldId id="2147475960" r:id="rId796"/>
    <p:sldId id="2147475961" r:id="rId797"/>
    <p:sldId id="2147475962" r:id="rId798"/>
    <p:sldId id="2147475963" r:id="rId799"/>
    <p:sldId id="2147475964" r:id="rId800"/>
    <p:sldId id="2147475965" r:id="rId801"/>
    <p:sldId id="2147475966" r:id="rId802"/>
    <p:sldId id="2147475967" r:id="rId803"/>
    <p:sldId id="2147475968" r:id="rId804"/>
    <p:sldId id="2147475969" r:id="rId805"/>
    <p:sldId id="2147475970" r:id="rId806"/>
    <p:sldId id="2147475971" r:id="rId807"/>
    <p:sldId id="2147475972" r:id="rId808"/>
    <p:sldId id="2147475973" r:id="rId809"/>
    <p:sldId id="2147475974" r:id="rId810"/>
    <p:sldId id="2147475975" r:id="rId811"/>
    <p:sldId id="2147475976" r:id="rId812"/>
    <p:sldId id="2147475977" r:id="rId813"/>
    <p:sldId id="2147475978" r:id="rId814"/>
    <p:sldId id="2147475979" r:id="rId815"/>
    <p:sldId id="2147475980" r:id="rId816"/>
    <p:sldId id="2147475981" r:id="rId817"/>
    <p:sldId id="2147475982" r:id="rId818"/>
    <p:sldId id="2147475983" r:id="rId819"/>
    <p:sldId id="2147475984" r:id="rId820"/>
    <p:sldId id="2147475985" r:id="rId821"/>
    <p:sldId id="2147475986" r:id="rId822"/>
    <p:sldId id="2147475987" r:id="rId823"/>
    <p:sldId id="2147475988" r:id="rId824"/>
    <p:sldId id="2147475989" r:id="rId825"/>
    <p:sldId id="2147475990" r:id="rId826"/>
    <p:sldId id="2147475991" r:id="rId827"/>
    <p:sldId id="2147475992" r:id="rId828"/>
    <p:sldId id="2147475993" r:id="rId829"/>
    <p:sldId id="2147475994" r:id="rId830"/>
    <p:sldId id="2147475995" r:id="rId831"/>
    <p:sldId id="2147475996" r:id="rId832"/>
    <p:sldId id="2147475997" r:id="rId833"/>
    <p:sldId id="2147475998" r:id="rId834"/>
    <p:sldId id="2147475999" r:id="rId835"/>
    <p:sldId id="2147476000" r:id="rId836"/>
    <p:sldId id="2147476001" r:id="rId837"/>
    <p:sldId id="2147476002" r:id="rId838"/>
    <p:sldId id="2147476003" r:id="rId839"/>
    <p:sldId id="2147476004" r:id="rId840"/>
    <p:sldId id="2147476005" r:id="rId841"/>
    <p:sldId id="2147476006" r:id="rId842"/>
    <p:sldId id="2147476007" r:id="rId843"/>
    <p:sldId id="2147476008" r:id="rId844"/>
    <p:sldId id="2147476009" r:id="rId845"/>
    <p:sldId id="2147476010" r:id="rId846"/>
    <p:sldId id="2147476011" r:id="rId847"/>
    <p:sldId id="2147476012" r:id="rId848"/>
    <p:sldId id="2147476013" r:id="rId849"/>
    <p:sldId id="2147476014" r:id="rId850"/>
    <p:sldId id="2147476015" r:id="rId851"/>
    <p:sldId id="2147476016" r:id="rId852"/>
    <p:sldId id="2147476017" r:id="rId853"/>
    <p:sldId id="2147476018" r:id="rId854"/>
    <p:sldId id="2147476019" r:id="rId855"/>
    <p:sldId id="2147476020" r:id="rId856"/>
    <p:sldId id="2147476021" r:id="rId857"/>
    <p:sldId id="2147476022" r:id="rId858"/>
    <p:sldId id="2147476023" r:id="rId859"/>
    <p:sldId id="2147476024" r:id="rId860"/>
    <p:sldId id="2147476025" r:id="rId861"/>
    <p:sldId id="2147476026" r:id="rId862"/>
    <p:sldId id="2147476027" r:id="rId863"/>
    <p:sldId id="2147476028" r:id="rId864"/>
    <p:sldId id="2147476029" r:id="rId865"/>
    <p:sldId id="2147476030" r:id="rId866"/>
    <p:sldId id="2147476031" r:id="rId867"/>
    <p:sldId id="2147476032" r:id="rId868"/>
    <p:sldId id="2147476033" r:id="rId869"/>
    <p:sldId id="2147476034" r:id="rId870"/>
    <p:sldId id="2147476035" r:id="rId871"/>
    <p:sldId id="2147476036" r:id="rId872"/>
    <p:sldId id="2147476037" r:id="rId873"/>
    <p:sldId id="2147476038" r:id="rId874"/>
    <p:sldId id="2147476039" r:id="rId875"/>
    <p:sldId id="2147476040" r:id="rId876"/>
    <p:sldId id="2147476041" r:id="rId877"/>
    <p:sldId id="2147476042" r:id="rId878"/>
    <p:sldId id="2147476043" r:id="rId879"/>
    <p:sldId id="2147476044" r:id="rId880"/>
    <p:sldId id="2147476045" r:id="rId881"/>
    <p:sldId id="2147476046" r:id="rId882"/>
    <p:sldId id="2147476047" r:id="rId883"/>
    <p:sldId id="2147476048" r:id="rId884"/>
    <p:sldId id="2147476049" r:id="rId885"/>
    <p:sldId id="2147476050" r:id="rId886"/>
    <p:sldId id="2147476051" r:id="rId887"/>
    <p:sldId id="2147476052" r:id="rId888"/>
    <p:sldId id="2147476053" r:id="rId889"/>
    <p:sldId id="2147476054" r:id="rId890"/>
    <p:sldId id="2147476055" r:id="rId891"/>
    <p:sldId id="2147476056" r:id="rId892"/>
    <p:sldId id="2147476057" r:id="rId893"/>
    <p:sldId id="2147476058" r:id="rId894"/>
    <p:sldId id="2147476059" r:id="rId895"/>
    <p:sldId id="2147476060" r:id="rId896"/>
    <p:sldId id="2147476061" r:id="rId897"/>
    <p:sldId id="2147476062" r:id="rId898"/>
    <p:sldId id="2147476063" r:id="rId899"/>
    <p:sldId id="2147476064" r:id="rId900"/>
    <p:sldId id="2147476065" r:id="rId901"/>
    <p:sldId id="2147476066" r:id="rId902"/>
    <p:sldId id="2147476067" r:id="rId903"/>
    <p:sldId id="2147476068" r:id="rId904"/>
    <p:sldId id="2147476069" r:id="rId905"/>
    <p:sldId id="2147476070" r:id="rId906"/>
    <p:sldId id="2147476071" r:id="rId907"/>
    <p:sldId id="2147476072" r:id="rId908"/>
    <p:sldId id="2147476073" r:id="rId909"/>
    <p:sldId id="2147476074" r:id="rId910"/>
    <p:sldId id="2147476075" r:id="rId911"/>
    <p:sldId id="2147476076" r:id="rId912"/>
    <p:sldId id="2147476077" r:id="rId913"/>
    <p:sldId id="2147476078" r:id="rId914"/>
    <p:sldId id="2147476079" r:id="rId915"/>
    <p:sldId id="2147476080" r:id="rId916"/>
    <p:sldId id="2147476081" r:id="rId917"/>
    <p:sldId id="2147476082" r:id="rId918"/>
    <p:sldId id="2147476083" r:id="rId919"/>
    <p:sldId id="2147476084" r:id="rId920"/>
    <p:sldId id="2147476085" r:id="rId921"/>
    <p:sldId id="2147476086" r:id="rId922"/>
    <p:sldId id="2147476087" r:id="rId923"/>
    <p:sldId id="2147476088" r:id="rId924"/>
    <p:sldId id="2147476089" r:id="rId925"/>
    <p:sldId id="2147476090" r:id="rId926"/>
    <p:sldId id="2147476091" r:id="rId927"/>
    <p:sldId id="2147476092" r:id="rId928"/>
    <p:sldId id="2147476093" r:id="rId929"/>
    <p:sldId id="2147476094" r:id="rId930"/>
    <p:sldId id="2147476095" r:id="rId931"/>
    <p:sldId id="2147476096" r:id="rId932"/>
    <p:sldId id="2147476097" r:id="rId933"/>
    <p:sldId id="2147476098" r:id="rId934"/>
    <p:sldId id="2147476099" r:id="rId935"/>
    <p:sldId id="2147476100" r:id="rId936"/>
    <p:sldId id="2147476101" r:id="rId937"/>
    <p:sldId id="2147476102" r:id="rId938"/>
    <p:sldId id="2147476103" r:id="rId939"/>
    <p:sldId id="2147476104" r:id="rId940"/>
    <p:sldId id="2147476105" r:id="rId94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Analysis by Channel for Region" id="{17D725F7-7A37-4B92-BE57-18A4037F2C6F}">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Lst>
        </p14:section>
        <p14:section name="Mix Analysis by Channel for Channel" id="{DD8F3206-F835-4D8A-99B6-D4E1BBE0ECCE}">
          <p14:sldIdLst>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Lst>
        </p14:section>
        <p14:section name="Mix Analysis by Region for Channel" id="{D761C6D0-FDFC-4A67-A7C6-8608F778BA54}">
          <p14:sldIdLst>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Lst>
        </p14:section>
        <p14:section name="Mix Analysis by REVENUE for Channel" id="{8CFE2B00-15B3-4F23-91FF-F4B52EF39B70}">
          <p14:sldIdLst>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Lst>
        </p14:section>
        <p14:section name="Mix Analysis by Sector" id="{E4D36BBB-168E-40EF-90F5-23DDF9F47D9B}">
          <p14:sldIdLst>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Lst>
        </p14:section>
        <p14:section name="Mix Analysis by Segment" id="{F2349B91-6777-4581-B514-8D277710A3EC}">
          <p14:sldIdLst>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Lst>
        </p14:section>
        <p14:section name="Trade Margin Analysis by Sector" id="{CF4831A1-8DE2-474E-8318-3CF0ABFC818A}">
          <p14:sldIdLst>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Lst>
        </p14:section>
        <p14:section name="Trade Margin Analysis by Segment" id="{A6BC3C8D-0D09-4A96-8D07-3D9AB7FE77DA}">
          <p14:sldIdLst>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Lst>
        </p14:section>
        <p14:section name="SKU KPIs Summary By Manufacturer" id="{EC2C8373-A3A3-4895-949E-1EC36B8B3DBC}">
          <p14:sldIdLst>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Lst>
        </p14:section>
        <p14:section name="SKU KPIs Summary By Brand" id="{E3C5A75A-F87C-4FC1-8D75-14E73FD25B08}">
          <p14:sldIdLst>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Lst>
        </p14:section>
        <p14:section name="Mix Matrix By Channel" id="{76E810D6-9E69-444B-BC0F-CD26A507C94C}">
          <p14:sldIdLst>
            <p14:sldId id="2147475481"/>
            <p14:sldId id="2147475482"/>
            <p14:sldId id="2147475483"/>
            <p14:sldId id="2147475484"/>
          </p14:sldIdLst>
        </p14:section>
        <p14:section name="Mix Matrix By Region" id="{7CE0C61F-EFDC-44C4-9D96-C1C9780627EA}">
          <p14:sldIdLst>
            <p14:sldId id="2147475485"/>
            <p14:sldId id="2147475486"/>
          </p14:sldIdLst>
        </p14:section>
        <p14:section name="Mix Matrix By Custom Region" id="{7B67C4FE-7331-4A91-AC47-C6AB3AD54CB3}">
          <p14:sldIdLst>
            <p14:sldId id="2147475487"/>
            <p14:sldId id="2147475488"/>
          </p14:sldIdLst>
        </p14:section>
        <p14:section name="Mix Matrix By Brands by Sector" id="{6FB0A865-1CC9-44FF-A3D0-156ED61133E4}">
          <p14:sldIdLst>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Lst>
        </p14:section>
        <p14:section name="Mix Matrix By Brands by Segment" id="{B0809AB7-ED89-4942-B062-38EC15F36100}">
          <p14:sldIdLst>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Lst>
        </p14:section>
        <p14:section name="Sector Spending Pool" id="{118BCEA9-220D-45A3-ACD4-BF44CC5FCD3B}">
          <p14:sldIdLst>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Lst>
        </p14:section>
        <p14:section name="Segment Spending Pool" id="{93E95571-582B-48D3-B2EE-426E641D4B9B}">
          <p14:sldIdLst>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Lst>
        </p14:section>
        <p14:section name="Product Spending Pool" id="{A3392090-4B1C-4713-95C1-0DAFE6CE66AC}">
          <p14:sldIdLst>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Lst>
        </p14:section>
        <p14:section name="SKU Profitability" id="{8FF717E3-47FE-4AA9-902A-7C38F3321288}">
          <p14:sldIdLst>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 id="2147476067"/>
            <p14:sldId id="2147476068"/>
            <p14:sldId id="2147476069"/>
            <p14:sldId id="2147476070"/>
            <p14:sldId id="2147476071"/>
            <p14:sldId id="2147476072"/>
            <p14:sldId id="2147476073"/>
          </p14:sldIdLst>
        </p14:section>
        <p14:section name="Trade Margin Table By Sector" id="{4C012E5A-10D4-4B61-88B9-59B5D958367D}">
          <p14:sldIdLst>
            <p14:sldId id="2147476074"/>
            <p14:sldId id="2147476075"/>
            <p14:sldId id="2147476076"/>
            <p14:sldId id="2147476077"/>
            <p14:sldId id="2147476078"/>
            <p14:sldId id="2147476079"/>
            <p14:sldId id="2147476080"/>
            <p14:sldId id="2147476081"/>
            <p14:sldId id="2147476082"/>
            <p14:sldId id="2147476083"/>
            <p14:sldId id="2147476084"/>
            <p14:sldId id="2147476085"/>
            <p14:sldId id="2147476086"/>
            <p14:sldId id="2147476087"/>
            <p14:sldId id="2147476088"/>
            <p14:sldId id="2147476089"/>
          </p14:sldIdLst>
        </p14:section>
        <p14:section name="Trade Margin Table By Segment" id="{EAF398C6-4C06-47B3-9C21-DEB9BDDFA8A4}">
          <p14:sldIdLst>
            <p14:sldId id="2147476090"/>
            <p14:sldId id="2147476091"/>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D"/>
    <a:srgbClr val="7ECAC4"/>
    <a:srgbClr val="FF8080"/>
    <a:srgbClr val="FFBFBF"/>
    <a:srgbClr val="00A097"/>
    <a:srgbClr val="7DC9C4"/>
    <a:srgbClr val="A6DAD6"/>
    <a:srgbClr val="FFFFFF"/>
    <a:srgbClr val="C00000"/>
    <a:srgbClr val="8DCF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slide" Target="slides/slide443.xml"/><Relationship Id="rId448" Type="http://schemas.openxmlformats.org/officeDocument/2006/relationships/slide" Target="slides/slide444.xml"/><Relationship Id="rId449" Type="http://schemas.openxmlformats.org/officeDocument/2006/relationships/slide" Target="slides/slide445.xml"/><Relationship Id="rId450" Type="http://schemas.openxmlformats.org/officeDocument/2006/relationships/slide" Target="slides/slide446.xml"/><Relationship Id="rId451" Type="http://schemas.openxmlformats.org/officeDocument/2006/relationships/slide" Target="slides/slide447.xml"/><Relationship Id="rId452" Type="http://schemas.openxmlformats.org/officeDocument/2006/relationships/slide" Target="slides/slide448.xml"/><Relationship Id="rId453" Type="http://schemas.openxmlformats.org/officeDocument/2006/relationships/slide" Target="slides/slide449.xml"/><Relationship Id="rId454" Type="http://schemas.openxmlformats.org/officeDocument/2006/relationships/slide" Target="slides/slide450.xml"/><Relationship Id="rId455" Type="http://schemas.openxmlformats.org/officeDocument/2006/relationships/slide" Target="slides/slide451.xml"/><Relationship Id="rId456" Type="http://schemas.openxmlformats.org/officeDocument/2006/relationships/slide" Target="slides/slide452.xml"/><Relationship Id="rId457" Type="http://schemas.openxmlformats.org/officeDocument/2006/relationships/slide" Target="slides/slide453.xml"/><Relationship Id="rId458" Type="http://schemas.openxmlformats.org/officeDocument/2006/relationships/slide" Target="slides/slide454.xml"/><Relationship Id="rId459" Type="http://schemas.openxmlformats.org/officeDocument/2006/relationships/slide" Target="slides/slide455.xml"/><Relationship Id="rId460" Type="http://schemas.openxmlformats.org/officeDocument/2006/relationships/slide" Target="slides/slide456.xml"/><Relationship Id="rId461" Type="http://schemas.openxmlformats.org/officeDocument/2006/relationships/slide" Target="slides/slide457.xml"/><Relationship Id="rId462" Type="http://schemas.openxmlformats.org/officeDocument/2006/relationships/slide" Target="slides/slide458.xml"/><Relationship Id="rId463" Type="http://schemas.openxmlformats.org/officeDocument/2006/relationships/slide" Target="slides/slide459.xml"/><Relationship Id="rId464" Type="http://schemas.openxmlformats.org/officeDocument/2006/relationships/slide" Target="slides/slide460.xml"/><Relationship Id="rId465" Type="http://schemas.openxmlformats.org/officeDocument/2006/relationships/slide" Target="slides/slide461.xml"/><Relationship Id="rId466" Type="http://schemas.openxmlformats.org/officeDocument/2006/relationships/slide" Target="slides/slide462.xml"/><Relationship Id="rId467" Type="http://schemas.openxmlformats.org/officeDocument/2006/relationships/slide" Target="slides/slide463.xml"/><Relationship Id="rId468" Type="http://schemas.openxmlformats.org/officeDocument/2006/relationships/slide" Target="slides/slide464.xml"/><Relationship Id="rId469" Type="http://schemas.openxmlformats.org/officeDocument/2006/relationships/slide" Target="slides/slide465.xml"/><Relationship Id="rId470" Type="http://schemas.openxmlformats.org/officeDocument/2006/relationships/slide" Target="slides/slide466.xml"/><Relationship Id="rId471" Type="http://schemas.openxmlformats.org/officeDocument/2006/relationships/slide" Target="slides/slide467.xml"/><Relationship Id="rId472" Type="http://schemas.openxmlformats.org/officeDocument/2006/relationships/slide" Target="slides/slide468.xml"/><Relationship Id="rId473" Type="http://schemas.openxmlformats.org/officeDocument/2006/relationships/slide" Target="slides/slide469.xml"/><Relationship Id="rId474" Type="http://schemas.openxmlformats.org/officeDocument/2006/relationships/slide" Target="slides/slide470.xml"/><Relationship Id="rId475" Type="http://schemas.openxmlformats.org/officeDocument/2006/relationships/slide" Target="slides/slide471.xml"/><Relationship Id="rId476" Type="http://schemas.openxmlformats.org/officeDocument/2006/relationships/slide" Target="slides/slide472.xml"/><Relationship Id="rId477" Type="http://schemas.openxmlformats.org/officeDocument/2006/relationships/slide" Target="slides/slide473.xml"/><Relationship Id="rId478" Type="http://schemas.openxmlformats.org/officeDocument/2006/relationships/slide" Target="slides/slide474.xml"/><Relationship Id="rId479" Type="http://schemas.openxmlformats.org/officeDocument/2006/relationships/slide" Target="slides/slide475.xml"/><Relationship Id="rId480" Type="http://schemas.openxmlformats.org/officeDocument/2006/relationships/slide" Target="slides/slide476.xml"/><Relationship Id="rId481" Type="http://schemas.openxmlformats.org/officeDocument/2006/relationships/slide" Target="slides/slide477.xml"/><Relationship Id="rId482" Type="http://schemas.openxmlformats.org/officeDocument/2006/relationships/slide" Target="slides/slide478.xml"/><Relationship Id="rId483" Type="http://schemas.openxmlformats.org/officeDocument/2006/relationships/slide" Target="slides/slide479.xml"/><Relationship Id="rId484" Type="http://schemas.openxmlformats.org/officeDocument/2006/relationships/slide" Target="slides/slide480.xml"/><Relationship Id="rId485" Type="http://schemas.openxmlformats.org/officeDocument/2006/relationships/slide" Target="slides/slide481.xml"/><Relationship Id="rId486" Type="http://schemas.openxmlformats.org/officeDocument/2006/relationships/slide" Target="slides/slide482.xml"/><Relationship Id="rId487" Type="http://schemas.openxmlformats.org/officeDocument/2006/relationships/slide" Target="slides/slide483.xml"/><Relationship Id="rId488" Type="http://schemas.openxmlformats.org/officeDocument/2006/relationships/slide" Target="slides/slide484.xml"/><Relationship Id="rId489" Type="http://schemas.openxmlformats.org/officeDocument/2006/relationships/slide" Target="slides/slide485.xml"/><Relationship Id="rId490" Type="http://schemas.openxmlformats.org/officeDocument/2006/relationships/slide" Target="slides/slide486.xml"/><Relationship Id="rId491" Type="http://schemas.openxmlformats.org/officeDocument/2006/relationships/slide" Target="slides/slide487.xml"/><Relationship Id="rId492" Type="http://schemas.openxmlformats.org/officeDocument/2006/relationships/slide" Target="slides/slide488.xml"/><Relationship Id="rId493" Type="http://schemas.openxmlformats.org/officeDocument/2006/relationships/slide" Target="slides/slide489.xml"/><Relationship Id="rId494" Type="http://schemas.openxmlformats.org/officeDocument/2006/relationships/slide" Target="slides/slide490.xml"/><Relationship Id="rId495" Type="http://schemas.openxmlformats.org/officeDocument/2006/relationships/slide" Target="slides/slide491.xml"/><Relationship Id="rId496" Type="http://schemas.openxmlformats.org/officeDocument/2006/relationships/slide" Target="slides/slide492.xml"/><Relationship Id="rId497" Type="http://schemas.openxmlformats.org/officeDocument/2006/relationships/slide" Target="slides/slide493.xml"/><Relationship Id="rId498" Type="http://schemas.openxmlformats.org/officeDocument/2006/relationships/slide" Target="slides/slide494.xml"/><Relationship Id="rId499" Type="http://schemas.openxmlformats.org/officeDocument/2006/relationships/slide" Target="slides/slide495.xml"/><Relationship Id="rId500" Type="http://schemas.openxmlformats.org/officeDocument/2006/relationships/slide" Target="slides/slide496.xml"/><Relationship Id="rId501" Type="http://schemas.openxmlformats.org/officeDocument/2006/relationships/slide" Target="slides/slide497.xml"/><Relationship Id="rId502" Type="http://schemas.openxmlformats.org/officeDocument/2006/relationships/slide" Target="slides/slide498.xml"/><Relationship Id="rId503" Type="http://schemas.openxmlformats.org/officeDocument/2006/relationships/slide" Target="slides/slide499.xml"/><Relationship Id="rId504" Type="http://schemas.openxmlformats.org/officeDocument/2006/relationships/slide" Target="slides/slide500.xml"/><Relationship Id="rId505" Type="http://schemas.openxmlformats.org/officeDocument/2006/relationships/slide" Target="slides/slide501.xml"/><Relationship Id="rId506" Type="http://schemas.openxmlformats.org/officeDocument/2006/relationships/slide" Target="slides/slide502.xml"/><Relationship Id="rId507" Type="http://schemas.openxmlformats.org/officeDocument/2006/relationships/slide" Target="slides/slide503.xml"/><Relationship Id="rId508" Type="http://schemas.openxmlformats.org/officeDocument/2006/relationships/slide" Target="slides/slide504.xml"/><Relationship Id="rId509" Type="http://schemas.openxmlformats.org/officeDocument/2006/relationships/slide" Target="slides/slide505.xml"/><Relationship Id="rId510" Type="http://schemas.openxmlformats.org/officeDocument/2006/relationships/slide" Target="slides/slide506.xml"/><Relationship Id="rId511" Type="http://schemas.openxmlformats.org/officeDocument/2006/relationships/slide" Target="slides/slide507.xml"/><Relationship Id="rId512" Type="http://schemas.openxmlformats.org/officeDocument/2006/relationships/slide" Target="slides/slide508.xml"/><Relationship Id="rId513" Type="http://schemas.openxmlformats.org/officeDocument/2006/relationships/slide" Target="slides/slide509.xml"/><Relationship Id="rId514" Type="http://schemas.openxmlformats.org/officeDocument/2006/relationships/slide" Target="slides/slide510.xml"/><Relationship Id="rId515" Type="http://schemas.openxmlformats.org/officeDocument/2006/relationships/slide" Target="slides/slide511.xml"/><Relationship Id="rId516" Type="http://schemas.openxmlformats.org/officeDocument/2006/relationships/slide" Target="slides/slide512.xml"/><Relationship Id="rId517" Type="http://schemas.openxmlformats.org/officeDocument/2006/relationships/slide" Target="slides/slide513.xml"/><Relationship Id="rId518" Type="http://schemas.openxmlformats.org/officeDocument/2006/relationships/slide" Target="slides/slide514.xml"/><Relationship Id="rId519" Type="http://schemas.openxmlformats.org/officeDocument/2006/relationships/slide" Target="slides/slide515.xml"/><Relationship Id="rId520" Type="http://schemas.openxmlformats.org/officeDocument/2006/relationships/slide" Target="slides/slide516.xml"/><Relationship Id="rId521" Type="http://schemas.openxmlformats.org/officeDocument/2006/relationships/slide" Target="slides/slide517.xml"/><Relationship Id="rId522" Type="http://schemas.openxmlformats.org/officeDocument/2006/relationships/slide" Target="slides/slide518.xml"/><Relationship Id="rId523" Type="http://schemas.openxmlformats.org/officeDocument/2006/relationships/slide" Target="slides/slide519.xml"/><Relationship Id="rId524" Type="http://schemas.openxmlformats.org/officeDocument/2006/relationships/slide" Target="slides/slide520.xml"/><Relationship Id="rId525" Type="http://schemas.openxmlformats.org/officeDocument/2006/relationships/slide" Target="slides/slide521.xml"/><Relationship Id="rId526" Type="http://schemas.openxmlformats.org/officeDocument/2006/relationships/slide" Target="slides/slide522.xml"/><Relationship Id="rId527" Type="http://schemas.openxmlformats.org/officeDocument/2006/relationships/slide" Target="slides/slide523.xml"/><Relationship Id="rId528" Type="http://schemas.openxmlformats.org/officeDocument/2006/relationships/slide" Target="slides/slide524.xml"/><Relationship Id="rId529" Type="http://schemas.openxmlformats.org/officeDocument/2006/relationships/slide" Target="slides/slide525.xml"/><Relationship Id="rId530" Type="http://schemas.openxmlformats.org/officeDocument/2006/relationships/slide" Target="slides/slide526.xml"/><Relationship Id="rId531" Type="http://schemas.openxmlformats.org/officeDocument/2006/relationships/slide" Target="slides/slide527.xml"/><Relationship Id="rId532" Type="http://schemas.openxmlformats.org/officeDocument/2006/relationships/slide" Target="slides/slide528.xml"/><Relationship Id="rId533" Type="http://schemas.openxmlformats.org/officeDocument/2006/relationships/slide" Target="slides/slide529.xml"/><Relationship Id="rId534" Type="http://schemas.openxmlformats.org/officeDocument/2006/relationships/slide" Target="slides/slide530.xml"/><Relationship Id="rId535" Type="http://schemas.openxmlformats.org/officeDocument/2006/relationships/slide" Target="slides/slide531.xml"/><Relationship Id="rId536" Type="http://schemas.openxmlformats.org/officeDocument/2006/relationships/slide" Target="slides/slide532.xml"/><Relationship Id="rId537" Type="http://schemas.openxmlformats.org/officeDocument/2006/relationships/slide" Target="slides/slide533.xml"/><Relationship Id="rId538" Type="http://schemas.openxmlformats.org/officeDocument/2006/relationships/slide" Target="slides/slide534.xml"/><Relationship Id="rId539" Type="http://schemas.openxmlformats.org/officeDocument/2006/relationships/slide" Target="slides/slide535.xml"/><Relationship Id="rId540" Type="http://schemas.openxmlformats.org/officeDocument/2006/relationships/slide" Target="slides/slide536.xml"/><Relationship Id="rId541" Type="http://schemas.openxmlformats.org/officeDocument/2006/relationships/slide" Target="slides/slide537.xml"/><Relationship Id="rId542" Type="http://schemas.openxmlformats.org/officeDocument/2006/relationships/slide" Target="slides/slide538.xml"/><Relationship Id="rId543" Type="http://schemas.openxmlformats.org/officeDocument/2006/relationships/slide" Target="slides/slide539.xml"/><Relationship Id="rId544" Type="http://schemas.openxmlformats.org/officeDocument/2006/relationships/slide" Target="slides/slide540.xml"/><Relationship Id="rId545" Type="http://schemas.openxmlformats.org/officeDocument/2006/relationships/slide" Target="slides/slide541.xml"/><Relationship Id="rId546" Type="http://schemas.openxmlformats.org/officeDocument/2006/relationships/slide" Target="slides/slide542.xml"/><Relationship Id="rId547" Type="http://schemas.openxmlformats.org/officeDocument/2006/relationships/slide" Target="slides/slide543.xml"/><Relationship Id="rId548" Type="http://schemas.openxmlformats.org/officeDocument/2006/relationships/slide" Target="slides/slide544.xml"/><Relationship Id="rId549" Type="http://schemas.openxmlformats.org/officeDocument/2006/relationships/slide" Target="slides/slide545.xml"/><Relationship Id="rId550" Type="http://schemas.openxmlformats.org/officeDocument/2006/relationships/slide" Target="slides/slide546.xml"/><Relationship Id="rId551" Type="http://schemas.openxmlformats.org/officeDocument/2006/relationships/slide" Target="slides/slide547.xml"/><Relationship Id="rId552" Type="http://schemas.openxmlformats.org/officeDocument/2006/relationships/slide" Target="slides/slide548.xml"/><Relationship Id="rId553" Type="http://schemas.openxmlformats.org/officeDocument/2006/relationships/slide" Target="slides/slide549.xml"/><Relationship Id="rId554" Type="http://schemas.openxmlformats.org/officeDocument/2006/relationships/slide" Target="slides/slide550.xml"/><Relationship Id="rId555" Type="http://schemas.openxmlformats.org/officeDocument/2006/relationships/slide" Target="slides/slide551.xml"/><Relationship Id="rId556" Type="http://schemas.openxmlformats.org/officeDocument/2006/relationships/slide" Target="slides/slide552.xml"/><Relationship Id="rId557" Type="http://schemas.openxmlformats.org/officeDocument/2006/relationships/slide" Target="slides/slide553.xml"/><Relationship Id="rId558" Type="http://schemas.openxmlformats.org/officeDocument/2006/relationships/slide" Target="slides/slide554.xml"/><Relationship Id="rId559" Type="http://schemas.openxmlformats.org/officeDocument/2006/relationships/slide" Target="slides/slide555.xml"/><Relationship Id="rId560" Type="http://schemas.openxmlformats.org/officeDocument/2006/relationships/slide" Target="slides/slide556.xml"/><Relationship Id="rId561" Type="http://schemas.openxmlformats.org/officeDocument/2006/relationships/slide" Target="slides/slide557.xml"/><Relationship Id="rId562" Type="http://schemas.openxmlformats.org/officeDocument/2006/relationships/slide" Target="slides/slide558.xml"/><Relationship Id="rId563" Type="http://schemas.openxmlformats.org/officeDocument/2006/relationships/slide" Target="slides/slide559.xml"/><Relationship Id="rId564" Type="http://schemas.openxmlformats.org/officeDocument/2006/relationships/slide" Target="slides/slide560.xml"/><Relationship Id="rId565" Type="http://schemas.openxmlformats.org/officeDocument/2006/relationships/slide" Target="slides/slide561.xml"/><Relationship Id="rId566" Type="http://schemas.openxmlformats.org/officeDocument/2006/relationships/slide" Target="slides/slide562.xml"/><Relationship Id="rId567" Type="http://schemas.openxmlformats.org/officeDocument/2006/relationships/slide" Target="slides/slide563.xml"/><Relationship Id="rId568" Type="http://schemas.openxmlformats.org/officeDocument/2006/relationships/slide" Target="slides/slide564.xml"/><Relationship Id="rId569" Type="http://schemas.openxmlformats.org/officeDocument/2006/relationships/slide" Target="slides/slide565.xml"/><Relationship Id="rId570" Type="http://schemas.openxmlformats.org/officeDocument/2006/relationships/slide" Target="slides/slide566.xml"/><Relationship Id="rId571" Type="http://schemas.openxmlformats.org/officeDocument/2006/relationships/slide" Target="slides/slide567.xml"/><Relationship Id="rId572" Type="http://schemas.openxmlformats.org/officeDocument/2006/relationships/slide" Target="slides/slide568.xml"/><Relationship Id="rId573" Type="http://schemas.openxmlformats.org/officeDocument/2006/relationships/slide" Target="slides/slide569.xml"/><Relationship Id="rId574" Type="http://schemas.openxmlformats.org/officeDocument/2006/relationships/slide" Target="slides/slide570.xml"/><Relationship Id="rId575" Type="http://schemas.openxmlformats.org/officeDocument/2006/relationships/slide" Target="slides/slide571.xml"/><Relationship Id="rId576" Type="http://schemas.openxmlformats.org/officeDocument/2006/relationships/slide" Target="slides/slide572.xml"/><Relationship Id="rId577" Type="http://schemas.openxmlformats.org/officeDocument/2006/relationships/slide" Target="slides/slide573.xml"/><Relationship Id="rId578" Type="http://schemas.openxmlformats.org/officeDocument/2006/relationships/slide" Target="slides/slide574.xml"/><Relationship Id="rId579" Type="http://schemas.openxmlformats.org/officeDocument/2006/relationships/slide" Target="slides/slide575.xml"/><Relationship Id="rId580" Type="http://schemas.openxmlformats.org/officeDocument/2006/relationships/slide" Target="slides/slide576.xml"/><Relationship Id="rId581" Type="http://schemas.openxmlformats.org/officeDocument/2006/relationships/slide" Target="slides/slide577.xml"/><Relationship Id="rId582" Type="http://schemas.openxmlformats.org/officeDocument/2006/relationships/slide" Target="slides/slide578.xml"/><Relationship Id="rId583" Type="http://schemas.openxmlformats.org/officeDocument/2006/relationships/slide" Target="slides/slide579.xml"/><Relationship Id="rId584" Type="http://schemas.openxmlformats.org/officeDocument/2006/relationships/slide" Target="slides/slide580.xml"/><Relationship Id="rId585" Type="http://schemas.openxmlformats.org/officeDocument/2006/relationships/slide" Target="slides/slide581.xml"/><Relationship Id="rId586" Type="http://schemas.openxmlformats.org/officeDocument/2006/relationships/slide" Target="slides/slide582.xml"/><Relationship Id="rId587" Type="http://schemas.openxmlformats.org/officeDocument/2006/relationships/slide" Target="slides/slide583.xml"/><Relationship Id="rId588" Type="http://schemas.openxmlformats.org/officeDocument/2006/relationships/slide" Target="slides/slide584.xml"/><Relationship Id="rId589" Type="http://schemas.openxmlformats.org/officeDocument/2006/relationships/slide" Target="slides/slide585.xml"/><Relationship Id="rId590" Type="http://schemas.openxmlformats.org/officeDocument/2006/relationships/slide" Target="slides/slide586.xml"/><Relationship Id="rId591" Type="http://schemas.openxmlformats.org/officeDocument/2006/relationships/slide" Target="slides/slide587.xml"/><Relationship Id="rId592" Type="http://schemas.openxmlformats.org/officeDocument/2006/relationships/slide" Target="slides/slide588.xml"/><Relationship Id="rId593" Type="http://schemas.openxmlformats.org/officeDocument/2006/relationships/slide" Target="slides/slide589.xml"/><Relationship Id="rId594" Type="http://schemas.openxmlformats.org/officeDocument/2006/relationships/slide" Target="slides/slide590.xml"/><Relationship Id="rId595" Type="http://schemas.openxmlformats.org/officeDocument/2006/relationships/slide" Target="slides/slide591.xml"/><Relationship Id="rId596" Type="http://schemas.openxmlformats.org/officeDocument/2006/relationships/slide" Target="slides/slide592.xml"/><Relationship Id="rId597" Type="http://schemas.openxmlformats.org/officeDocument/2006/relationships/slide" Target="slides/slide593.xml"/><Relationship Id="rId598" Type="http://schemas.openxmlformats.org/officeDocument/2006/relationships/slide" Target="slides/slide594.xml"/><Relationship Id="rId599" Type="http://schemas.openxmlformats.org/officeDocument/2006/relationships/slide" Target="slides/slide595.xml"/><Relationship Id="rId600" Type="http://schemas.openxmlformats.org/officeDocument/2006/relationships/slide" Target="slides/slide596.xml"/><Relationship Id="rId601" Type="http://schemas.openxmlformats.org/officeDocument/2006/relationships/slide" Target="slides/slide597.xml"/><Relationship Id="rId602" Type="http://schemas.openxmlformats.org/officeDocument/2006/relationships/slide" Target="slides/slide598.xml"/><Relationship Id="rId603" Type="http://schemas.openxmlformats.org/officeDocument/2006/relationships/slide" Target="slides/slide599.xml"/><Relationship Id="rId604" Type="http://schemas.openxmlformats.org/officeDocument/2006/relationships/slide" Target="slides/slide600.xml"/><Relationship Id="rId605" Type="http://schemas.openxmlformats.org/officeDocument/2006/relationships/slide" Target="slides/slide601.xml"/><Relationship Id="rId606" Type="http://schemas.openxmlformats.org/officeDocument/2006/relationships/slide" Target="slides/slide602.xml"/><Relationship Id="rId607" Type="http://schemas.openxmlformats.org/officeDocument/2006/relationships/slide" Target="slides/slide603.xml"/><Relationship Id="rId608" Type="http://schemas.openxmlformats.org/officeDocument/2006/relationships/slide" Target="slides/slide604.xml"/><Relationship Id="rId609" Type="http://schemas.openxmlformats.org/officeDocument/2006/relationships/slide" Target="slides/slide605.xml"/><Relationship Id="rId610" Type="http://schemas.openxmlformats.org/officeDocument/2006/relationships/slide" Target="slides/slide606.xml"/><Relationship Id="rId611" Type="http://schemas.openxmlformats.org/officeDocument/2006/relationships/slide" Target="slides/slide607.xml"/><Relationship Id="rId612" Type="http://schemas.openxmlformats.org/officeDocument/2006/relationships/slide" Target="slides/slide608.xml"/><Relationship Id="rId613" Type="http://schemas.openxmlformats.org/officeDocument/2006/relationships/slide" Target="slides/slide609.xml"/><Relationship Id="rId614" Type="http://schemas.openxmlformats.org/officeDocument/2006/relationships/slide" Target="slides/slide610.xml"/><Relationship Id="rId615" Type="http://schemas.openxmlformats.org/officeDocument/2006/relationships/slide" Target="slides/slide611.xml"/><Relationship Id="rId616" Type="http://schemas.openxmlformats.org/officeDocument/2006/relationships/slide" Target="slides/slide612.xml"/><Relationship Id="rId617" Type="http://schemas.openxmlformats.org/officeDocument/2006/relationships/slide" Target="slides/slide613.xml"/><Relationship Id="rId618" Type="http://schemas.openxmlformats.org/officeDocument/2006/relationships/slide" Target="slides/slide614.xml"/><Relationship Id="rId619" Type="http://schemas.openxmlformats.org/officeDocument/2006/relationships/slide" Target="slides/slide615.xml"/><Relationship Id="rId620" Type="http://schemas.openxmlformats.org/officeDocument/2006/relationships/slide" Target="slides/slide616.xml"/><Relationship Id="rId621" Type="http://schemas.openxmlformats.org/officeDocument/2006/relationships/slide" Target="slides/slide617.xml"/><Relationship Id="rId622" Type="http://schemas.openxmlformats.org/officeDocument/2006/relationships/slide" Target="slides/slide618.xml"/><Relationship Id="rId623" Type="http://schemas.openxmlformats.org/officeDocument/2006/relationships/slide" Target="slides/slide619.xml"/><Relationship Id="rId624" Type="http://schemas.openxmlformats.org/officeDocument/2006/relationships/slide" Target="slides/slide620.xml"/><Relationship Id="rId625" Type="http://schemas.openxmlformats.org/officeDocument/2006/relationships/slide" Target="slides/slide621.xml"/><Relationship Id="rId626" Type="http://schemas.openxmlformats.org/officeDocument/2006/relationships/slide" Target="slides/slide622.xml"/><Relationship Id="rId627" Type="http://schemas.openxmlformats.org/officeDocument/2006/relationships/slide" Target="slides/slide623.xml"/><Relationship Id="rId628" Type="http://schemas.openxmlformats.org/officeDocument/2006/relationships/slide" Target="slides/slide624.xml"/><Relationship Id="rId629" Type="http://schemas.openxmlformats.org/officeDocument/2006/relationships/slide" Target="slides/slide625.xml"/><Relationship Id="rId630" Type="http://schemas.openxmlformats.org/officeDocument/2006/relationships/slide" Target="slides/slide626.xml"/><Relationship Id="rId631" Type="http://schemas.openxmlformats.org/officeDocument/2006/relationships/slide" Target="slides/slide627.xml"/><Relationship Id="rId632" Type="http://schemas.openxmlformats.org/officeDocument/2006/relationships/slide" Target="slides/slide628.xml"/><Relationship Id="rId633" Type="http://schemas.openxmlformats.org/officeDocument/2006/relationships/slide" Target="slides/slide629.xml"/><Relationship Id="rId634" Type="http://schemas.openxmlformats.org/officeDocument/2006/relationships/slide" Target="slides/slide630.xml"/><Relationship Id="rId635" Type="http://schemas.openxmlformats.org/officeDocument/2006/relationships/slide" Target="slides/slide631.xml"/><Relationship Id="rId636" Type="http://schemas.openxmlformats.org/officeDocument/2006/relationships/slide" Target="slides/slide632.xml"/><Relationship Id="rId637" Type="http://schemas.openxmlformats.org/officeDocument/2006/relationships/slide" Target="slides/slide633.xml"/><Relationship Id="rId638" Type="http://schemas.openxmlformats.org/officeDocument/2006/relationships/slide" Target="slides/slide634.xml"/><Relationship Id="rId639" Type="http://schemas.openxmlformats.org/officeDocument/2006/relationships/slide" Target="slides/slide635.xml"/><Relationship Id="rId640" Type="http://schemas.openxmlformats.org/officeDocument/2006/relationships/slide" Target="slides/slide636.xml"/><Relationship Id="rId641" Type="http://schemas.openxmlformats.org/officeDocument/2006/relationships/slide" Target="slides/slide637.xml"/><Relationship Id="rId642" Type="http://schemas.openxmlformats.org/officeDocument/2006/relationships/slide" Target="slides/slide638.xml"/><Relationship Id="rId643" Type="http://schemas.openxmlformats.org/officeDocument/2006/relationships/slide" Target="slides/slide639.xml"/><Relationship Id="rId644" Type="http://schemas.openxmlformats.org/officeDocument/2006/relationships/slide" Target="slides/slide640.xml"/><Relationship Id="rId645" Type="http://schemas.openxmlformats.org/officeDocument/2006/relationships/slide" Target="slides/slide641.xml"/><Relationship Id="rId646" Type="http://schemas.openxmlformats.org/officeDocument/2006/relationships/slide" Target="slides/slide642.xml"/><Relationship Id="rId647" Type="http://schemas.openxmlformats.org/officeDocument/2006/relationships/slide" Target="slides/slide643.xml"/><Relationship Id="rId648" Type="http://schemas.openxmlformats.org/officeDocument/2006/relationships/slide" Target="slides/slide644.xml"/><Relationship Id="rId649" Type="http://schemas.openxmlformats.org/officeDocument/2006/relationships/slide" Target="slides/slide645.xml"/><Relationship Id="rId650" Type="http://schemas.openxmlformats.org/officeDocument/2006/relationships/slide" Target="slides/slide646.xml"/><Relationship Id="rId651" Type="http://schemas.openxmlformats.org/officeDocument/2006/relationships/slide" Target="slides/slide647.xml"/><Relationship Id="rId652" Type="http://schemas.openxmlformats.org/officeDocument/2006/relationships/slide" Target="slides/slide648.xml"/><Relationship Id="rId653" Type="http://schemas.openxmlformats.org/officeDocument/2006/relationships/slide" Target="slides/slide649.xml"/><Relationship Id="rId654" Type="http://schemas.openxmlformats.org/officeDocument/2006/relationships/slide" Target="slides/slide650.xml"/><Relationship Id="rId655" Type="http://schemas.openxmlformats.org/officeDocument/2006/relationships/slide" Target="slides/slide651.xml"/><Relationship Id="rId656" Type="http://schemas.openxmlformats.org/officeDocument/2006/relationships/slide" Target="slides/slide652.xml"/><Relationship Id="rId657" Type="http://schemas.openxmlformats.org/officeDocument/2006/relationships/slide" Target="slides/slide653.xml"/><Relationship Id="rId658" Type="http://schemas.openxmlformats.org/officeDocument/2006/relationships/slide" Target="slides/slide654.xml"/><Relationship Id="rId659" Type="http://schemas.openxmlformats.org/officeDocument/2006/relationships/slide" Target="slides/slide655.xml"/><Relationship Id="rId660" Type="http://schemas.openxmlformats.org/officeDocument/2006/relationships/slide" Target="slides/slide656.xml"/><Relationship Id="rId661" Type="http://schemas.openxmlformats.org/officeDocument/2006/relationships/slide" Target="slides/slide657.xml"/><Relationship Id="rId662" Type="http://schemas.openxmlformats.org/officeDocument/2006/relationships/slide" Target="slides/slide658.xml"/><Relationship Id="rId663" Type="http://schemas.openxmlformats.org/officeDocument/2006/relationships/slide" Target="slides/slide659.xml"/><Relationship Id="rId664" Type="http://schemas.openxmlformats.org/officeDocument/2006/relationships/slide" Target="slides/slide660.xml"/><Relationship Id="rId665" Type="http://schemas.openxmlformats.org/officeDocument/2006/relationships/slide" Target="slides/slide661.xml"/><Relationship Id="rId666" Type="http://schemas.openxmlformats.org/officeDocument/2006/relationships/slide" Target="slides/slide662.xml"/><Relationship Id="rId667" Type="http://schemas.openxmlformats.org/officeDocument/2006/relationships/slide" Target="slides/slide663.xml"/><Relationship Id="rId668" Type="http://schemas.openxmlformats.org/officeDocument/2006/relationships/slide" Target="slides/slide664.xml"/><Relationship Id="rId669" Type="http://schemas.openxmlformats.org/officeDocument/2006/relationships/slide" Target="slides/slide665.xml"/><Relationship Id="rId670" Type="http://schemas.openxmlformats.org/officeDocument/2006/relationships/slide" Target="slides/slide666.xml"/><Relationship Id="rId671" Type="http://schemas.openxmlformats.org/officeDocument/2006/relationships/slide" Target="slides/slide667.xml"/><Relationship Id="rId672" Type="http://schemas.openxmlformats.org/officeDocument/2006/relationships/slide" Target="slides/slide668.xml"/><Relationship Id="rId673" Type="http://schemas.openxmlformats.org/officeDocument/2006/relationships/slide" Target="slides/slide669.xml"/><Relationship Id="rId674" Type="http://schemas.openxmlformats.org/officeDocument/2006/relationships/slide" Target="slides/slide670.xml"/><Relationship Id="rId675" Type="http://schemas.openxmlformats.org/officeDocument/2006/relationships/slide" Target="slides/slide671.xml"/><Relationship Id="rId676" Type="http://schemas.openxmlformats.org/officeDocument/2006/relationships/slide" Target="slides/slide672.xml"/><Relationship Id="rId677" Type="http://schemas.openxmlformats.org/officeDocument/2006/relationships/slide" Target="slides/slide673.xml"/><Relationship Id="rId678" Type="http://schemas.openxmlformats.org/officeDocument/2006/relationships/slide" Target="slides/slide674.xml"/><Relationship Id="rId679" Type="http://schemas.openxmlformats.org/officeDocument/2006/relationships/slide" Target="slides/slide675.xml"/><Relationship Id="rId680" Type="http://schemas.openxmlformats.org/officeDocument/2006/relationships/slide" Target="slides/slide676.xml"/><Relationship Id="rId681" Type="http://schemas.openxmlformats.org/officeDocument/2006/relationships/slide" Target="slides/slide677.xml"/><Relationship Id="rId682" Type="http://schemas.openxmlformats.org/officeDocument/2006/relationships/slide" Target="slides/slide678.xml"/><Relationship Id="rId683" Type="http://schemas.openxmlformats.org/officeDocument/2006/relationships/slide" Target="slides/slide679.xml"/><Relationship Id="rId684" Type="http://schemas.openxmlformats.org/officeDocument/2006/relationships/slide" Target="slides/slide680.xml"/><Relationship Id="rId685" Type="http://schemas.openxmlformats.org/officeDocument/2006/relationships/slide" Target="slides/slide681.xml"/><Relationship Id="rId686" Type="http://schemas.openxmlformats.org/officeDocument/2006/relationships/slide" Target="slides/slide682.xml"/><Relationship Id="rId687" Type="http://schemas.openxmlformats.org/officeDocument/2006/relationships/slide" Target="slides/slide683.xml"/><Relationship Id="rId688" Type="http://schemas.openxmlformats.org/officeDocument/2006/relationships/slide" Target="slides/slide684.xml"/><Relationship Id="rId689" Type="http://schemas.openxmlformats.org/officeDocument/2006/relationships/slide" Target="slides/slide685.xml"/><Relationship Id="rId690" Type="http://schemas.openxmlformats.org/officeDocument/2006/relationships/slide" Target="slides/slide686.xml"/><Relationship Id="rId691" Type="http://schemas.openxmlformats.org/officeDocument/2006/relationships/slide" Target="slides/slide687.xml"/><Relationship Id="rId692" Type="http://schemas.openxmlformats.org/officeDocument/2006/relationships/slide" Target="slides/slide688.xml"/><Relationship Id="rId693" Type="http://schemas.openxmlformats.org/officeDocument/2006/relationships/slide" Target="slides/slide689.xml"/><Relationship Id="rId694" Type="http://schemas.openxmlformats.org/officeDocument/2006/relationships/slide" Target="slides/slide690.xml"/><Relationship Id="rId695" Type="http://schemas.openxmlformats.org/officeDocument/2006/relationships/slide" Target="slides/slide691.xml"/><Relationship Id="rId696" Type="http://schemas.openxmlformats.org/officeDocument/2006/relationships/slide" Target="slides/slide692.xml"/><Relationship Id="rId697" Type="http://schemas.openxmlformats.org/officeDocument/2006/relationships/slide" Target="slides/slide693.xml"/><Relationship Id="rId698" Type="http://schemas.openxmlformats.org/officeDocument/2006/relationships/slide" Target="slides/slide694.xml"/><Relationship Id="rId699" Type="http://schemas.openxmlformats.org/officeDocument/2006/relationships/slide" Target="slides/slide695.xml"/><Relationship Id="rId700" Type="http://schemas.openxmlformats.org/officeDocument/2006/relationships/slide" Target="slides/slide696.xml"/><Relationship Id="rId701" Type="http://schemas.openxmlformats.org/officeDocument/2006/relationships/slide" Target="slides/slide697.xml"/><Relationship Id="rId702" Type="http://schemas.openxmlformats.org/officeDocument/2006/relationships/slide" Target="slides/slide698.xml"/><Relationship Id="rId703" Type="http://schemas.openxmlformats.org/officeDocument/2006/relationships/slide" Target="slides/slide699.xml"/><Relationship Id="rId704" Type="http://schemas.openxmlformats.org/officeDocument/2006/relationships/slide" Target="slides/slide700.xml"/><Relationship Id="rId705" Type="http://schemas.openxmlformats.org/officeDocument/2006/relationships/slide" Target="slides/slide701.xml"/><Relationship Id="rId706" Type="http://schemas.openxmlformats.org/officeDocument/2006/relationships/slide" Target="slides/slide702.xml"/><Relationship Id="rId707" Type="http://schemas.openxmlformats.org/officeDocument/2006/relationships/slide" Target="slides/slide703.xml"/><Relationship Id="rId708" Type="http://schemas.openxmlformats.org/officeDocument/2006/relationships/slide" Target="slides/slide704.xml"/><Relationship Id="rId709" Type="http://schemas.openxmlformats.org/officeDocument/2006/relationships/slide" Target="slides/slide705.xml"/><Relationship Id="rId710" Type="http://schemas.openxmlformats.org/officeDocument/2006/relationships/slide" Target="slides/slide706.xml"/><Relationship Id="rId711" Type="http://schemas.openxmlformats.org/officeDocument/2006/relationships/slide" Target="slides/slide707.xml"/><Relationship Id="rId712" Type="http://schemas.openxmlformats.org/officeDocument/2006/relationships/slide" Target="slides/slide708.xml"/><Relationship Id="rId713" Type="http://schemas.openxmlformats.org/officeDocument/2006/relationships/slide" Target="slides/slide709.xml"/><Relationship Id="rId714" Type="http://schemas.openxmlformats.org/officeDocument/2006/relationships/slide" Target="slides/slide710.xml"/><Relationship Id="rId715" Type="http://schemas.openxmlformats.org/officeDocument/2006/relationships/slide" Target="slides/slide711.xml"/><Relationship Id="rId716" Type="http://schemas.openxmlformats.org/officeDocument/2006/relationships/slide" Target="slides/slide712.xml"/><Relationship Id="rId717" Type="http://schemas.openxmlformats.org/officeDocument/2006/relationships/slide" Target="slides/slide713.xml"/><Relationship Id="rId718" Type="http://schemas.openxmlformats.org/officeDocument/2006/relationships/slide" Target="slides/slide714.xml"/><Relationship Id="rId719" Type="http://schemas.openxmlformats.org/officeDocument/2006/relationships/slide" Target="slides/slide715.xml"/><Relationship Id="rId720" Type="http://schemas.openxmlformats.org/officeDocument/2006/relationships/slide" Target="slides/slide716.xml"/><Relationship Id="rId721" Type="http://schemas.openxmlformats.org/officeDocument/2006/relationships/slide" Target="slides/slide717.xml"/><Relationship Id="rId722" Type="http://schemas.openxmlformats.org/officeDocument/2006/relationships/slide" Target="slides/slide718.xml"/><Relationship Id="rId723" Type="http://schemas.openxmlformats.org/officeDocument/2006/relationships/slide" Target="slides/slide719.xml"/><Relationship Id="rId724" Type="http://schemas.openxmlformats.org/officeDocument/2006/relationships/slide" Target="slides/slide720.xml"/><Relationship Id="rId725" Type="http://schemas.openxmlformats.org/officeDocument/2006/relationships/slide" Target="slides/slide721.xml"/><Relationship Id="rId726" Type="http://schemas.openxmlformats.org/officeDocument/2006/relationships/slide" Target="slides/slide722.xml"/><Relationship Id="rId727" Type="http://schemas.openxmlformats.org/officeDocument/2006/relationships/slide" Target="slides/slide723.xml"/><Relationship Id="rId728" Type="http://schemas.openxmlformats.org/officeDocument/2006/relationships/slide" Target="slides/slide724.xml"/><Relationship Id="rId729" Type="http://schemas.openxmlformats.org/officeDocument/2006/relationships/slide" Target="slides/slide725.xml"/><Relationship Id="rId730" Type="http://schemas.openxmlformats.org/officeDocument/2006/relationships/slide" Target="slides/slide726.xml"/><Relationship Id="rId731" Type="http://schemas.openxmlformats.org/officeDocument/2006/relationships/slide" Target="slides/slide727.xml"/><Relationship Id="rId732" Type="http://schemas.openxmlformats.org/officeDocument/2006/relationships/slide" Target="slides/slide728.xml"/><Relationship Id="rId733" Type="http://schemas.openxmlformats.org/officeDocument/2006/relationships/slide" Target="slides/slide729.xml"/><Relationship Id="rId734" Type="http://schemas.openxmlformats.org/officeDocument/2006/relationships/slide" Target="slides/slide730.xml"/><Relationship Id="rId735" Type="http://schemas.openxmlformats.org/officeDocument/2006/relationships/slide" Target="slides/slide731.xml"/><Relationship Id="rId736" Type="http://schemas.openxmlformats.org/officeDocument/2006/relationships/slide" Target="slides/slide732.xml"/><Relationship Id="rId737" Type="http://schemas.openxmlformats.org/officeDocument/2006/relationships/slide" Target="slides/slide733.xml"/><Relationship Id="rId738" Type="http://schemas.openxmlformats.org/officeDocument/2006/relationships/slide" Target="slides/slide734.xml"/><Relationship Id="rId739" Type="http://schemas.openxmlformats.org/officeDocument/2006/relationships/slide" Target="slides/slide735.xml"/><Relationship Id="rId740" Type="http://schemas.openxmlformats.org/officeDocument/2006/relationships/slide" Target="slides/slide736.xml"/><Relationship Id="rId741" Type="http://schemas.openxmlformats.org/officeDocument/2006/relationships/slide" Target="slides/slide737.xml"/><Relationship Id="rId742" Type="http://schemas.openxmlformats.org/officeDocument/2006/relationships/slide" Target="slides/slide738.xml"/><Relationship Id="rId743" Type="http://schemas.openxmlformats.org/officeDocument/2006/relationships/slide" Target="slides/slide739.xml"/><Relationship Id="rId744" Type="http://schemas.openxmlformats.org/officeDocument/2006/relationships/slide" Target="slides/slide740.xml"/><Relationship Id="rId745" Type="http://schemas.openxmlformats.org/officeDocument/2006/relationships/slide" Target="slides/slide741.xml"/><Relationship Id="rId746" Type="http://schemas.openxmlformats.org/officeDocument/2006/relationships/slide" Target="slides/slide742.xml"/><Relationship Id="rId747" Type="http://schemas.openxmlformats.org/officeDocument/2006/relationships/slide" Target="slides/slide743.xml"/><Relationship Id="rId748" Type="http://schemas.openxmlformats.org/officeDocument/2006/relationships/slide" Target="slides/slide744.xml"/><Relationship Id="rId749" Type="http://schemas.openxmlformats.org/officeDocument/2006/relationships/slide" Target="slides/slide745.xml"/><Relationship Id="rId750" Type="http://schemas.openxmlformats.org/officeDocument/2006/relationships/slide" Target="slides/slide746.xml"/><Relationship Id="rId751" Type="http://schemas.openxmlformats.org/officeDocument/2006/relationships/slide" Target="slides/slide747.xml"/><Relationship Id="rId752" Type="http://schemas.openxmlformats.org/officeDocument/2006/relationships/slide" Target="slides/slide748.xml"/><Relationship Id="rId753" Type="http://schemas.openxmlformats.org/officeDocument/2006/relationships/slide" Target="slides/slide749.xml"/><Relationship Id="rId754" Type="http://schemas.openxmlformats.org/officeDocument/2006/relationships/slide" Target="slides/slide750.xml"/><Relationship Id="rId755" Type="http://schemas.openxmlformats.org/officeDocument/2006/relationships/slide" Target="slides/slide751.xml"/><Relationship Id="rId756" Type="http://schemas.openxmlformats.org/officeDocument/2006/relationships/slide" Target="slides/slide752.xml"/><Relationship Id="rId757" Type="http://schemas.openxmlformats.org/officeDocument/2006/relationships/slide" Target="slides/slide753.xml"/><Relationship Id="rId758" Type="http://schemas.openxmlformats.org/officeDocument/2006/relationships/slide" Target="slides/slide754.xml"/><Relationship Id="rId759" Type="http://schemas.openxmlformats.org/officeDocument/2006/relationships/slide" Target="slides/slide755.xml"/><Relationship Id="rId760" Type="http://schemas.openxmlformats.org/officeDocument/2006/relationships/slide" Target="slides/slide756.xml"/><Relationship Id="rId761" Type="http://schemas.openxmlformats.org/officeDocument/2006/relationships/slide" Target="slides/slide757.xml"/><Relationship Id="rId762" Type="http://schemas.openxmlformats.org/officeDocument/2006/relationships/slide" Target="slides/slide758.xml"/><Relationship Id="rId763" Type="http://schemas.openxmlformats.org/officeDocument/2006/relationships/slide" Target="slides/slide759.xml"/><Relationship Id="rId764" Type="http://schemas.openxmlformats.org/officeDocument/2006/relationships/slide" Target="slides/slide760.xml"/><Relationship Id="rId765" Type="http://schemas.openxmlformats.org/officeDocument/2006/relationships/slide" Target="slides/slide761.xml"/><Relationship Id="rId766" Type="http://schemas.openxmlformats.org/officeDocument/2006/relationships/slide" Target="slides/slide762.xml"/><Relationship Id="rId767" Type="http://schemas.openxmlformats.org/officeDocument/2006/relationships/slide" Target="slides/slide763.xml"/><Relationship Id="rId768" Type="http://schemas.openxmlformats.org/officeDocument/2006/relationships/slide" Target="slides/slide764.xml"/><Relationship Id="rId769" Type="http://schemas.openxmlformats.org/officeDocument/2006/relationships/slide" Target="slides/slide765.xml"/><Relationship Id="rId770" Type="http://schemas.openxmlformats.org/officeDocument/2006/relationships/slide" Target="slides/slide766.xml"/><Relationship Id="rId771" Type="http://schemas.openxmlformats.org/officeDocument/2006/relationships/slide" Target="slides/slide767.xml"/><Relationship Id="rId772" Type="http://schemas.openxmlformats.org/officeDocument/2006/relationships/slide" Target="slides/slide768.xml"/><Relationship Id="rId773" Type="http://schemas.openxmlformats.org/officeDocument/2006/relationships/slide" Target="slides/slide769.xml"/><Relationship Id="rId774" Type="http://schemas.openxmlformats.org/officeDocument/2006/relationships/slide" Target="slides/slide770.xml"/><Relationship Id="rId775" Type="http://schemas.openxmlformats.org/officeDocument/2006/relationships/slide" Target="slides/slide771.xml"/><Relationship Id="rId776" Type="http://schemas.openxmlformats.org/officeDocument/2006/relationships/slide" Target="slides/slide772.xml"/><Relationship Id="rId777" Type="http://schemas.openxmlformats.org/officeDocument/2006/relationships/slide" Target="slides/slide773.xml"/><Relationship Id="rId778" Type="http://schemas.openxmlformats.org/officeDocument/2006/relationships/slide" Target="slides/slide774.xml"/><Relationship Id="rId779" Type="http://schemas.openxmlformats.org/officeDocument/2006/relationships/slide" Target="slides/slide775.xml"/><Relationship Id="rId780" Type="http://schemas.openxmlformats.org/officeDocument/2006/relationships/slide" Target="slides/slide776.xml"/><Relationship Id="rId781" Type="http://schemas.openxmlformats.org/officeDocument/2006/relationships/slide" Target="slides/slide777.xml"/><Relationship Id="rId782" Type="http://schemas.openxmlformats.org/officeDocument/2006/relationships/slide" Target="slides/slide778.xml"/><Relationship Id="rId783" Type="http://schemas.openxmlformats.org/officeDocument/2006/relationships/slide" Target="slides/slide779.xml"/><Relationship Id="rId784" Type="http://schemas.openxmlformats.org/officeDocument/2006/relationships/slide" Target="slides/slide780.xml"/><Relationship Id="rId785" Type="http://schemas.openxmlformats.org/officeDocument/2006/relationships/slide" Target="slides/slide781.xml"/><Relationship Id="rId786" Type="http://schemas.openxmlformats.org/officeDocument/2006/relationships/slide" Target="slides/slide782.xml"/><Relationship Id="rId787" Type="http://schemas.openxmlformats.org/officeDocument/2006/relationships/slide" Target="slides/slide783.xml"/><Relationship Id="rId788" Type="http://schemas.openxmlformats.org/officeDocument/2006/relationships/slide" Target="slides/slide784.xml"/><Relationship Id="rId789" Type="http://schemas.openxmlformats.org/officeDocument/2006/relationships/slide" Target="slides/slide785.xml"/><Relationship Id="rId790" Type="http://schemas.openxmlformats.org/officeDocument/2006/relationships/slide" Target="slides/slide786.xml"/><Relationship Id="rId791" Type="http://schemas.openxmlformats.org/officeDocument/2006/relationships/slide" Target="slides/slide787.xml"/><Relationship Id="rId792" Type="http://schemas.openxmlformats.org/officeDocument/2006/relationships/slide" Target="slides/slide788.xml"/><Relationship Id="rId793" Type="http://schemas.openxmlformats.org/officeDocument/2006/relationships/slide" Target="slides/slide789.xml"/><Relationship Id="rId794" Type="http://schemas.openxmlformats.org/officeDocument/2006/relationships/slide" Target="slides/slide790.xml"/><Relationship Id="rId795" Type="http://schemas.openxmlformats.org/officeDocument/2006/relationships/slide" Target="slides/slide791.xml"/><Relationship Id="rId796" Type="http://schemas.openxmlformats.org/officeDocument/2006/relationships/slide" Target="slides/slide792.xml"/><Relationship Id="rId797" Type="http://schemas.openxmlformats.org/officeDocument/2006/relationships/slide" Target="slides/slide793.xml"/><Relationship Id="rId798" Type="http://schemas.openxmlformats.org/officeDocument/2006/relationships/slide" Target="slides/slide794.xml"/><Relationship Id="rId799" Type="http://schemas.openxmlformats.org/officeDocument/2006/relationships/slide" Target="slides/slide795.xml"/><Relationship Id="rId800" Type="http://schemas.openxmlformats.org/officeDocument/2006/relationships/slide" Target="slides/slide796.xml"/><Relationship Id="rId801" Type="http://schemas.openxmlformats.org/officeDocument/2006/relationships/slide" Target="slides/slide797.xml"/><Relationship Id="rId802" Type="http://schemas.openxmlformats.org/officeDocument/2006/relationships/slide" Target="slides/slide798.xml"/><Relationship Id="rId803" Type="http://schemas.openxmlformats.org/officeDocument/2006/relationships/slide" Target="slides/slide799.xml"/><Relationship Id="rId804" Type="http://schemas.openxmlformats.org/officeDocument/2006/relationships/slide" Target="slides/slide800.xml"/><Relationship Id="rId805" Type="http://schemas.openxmlformats.org/officeDocument/2006/relationships/slide" Target="slides/slide801.xml"/><Relationship Id="rId806" Type="http://schemas.openxmlformats.org/officeDocument/2006/relationships/slide" Target="slides/slide802.xml"/><Relationship Id="rId807" Type="http://schemas.openxmlformats.org/officeDocument/2006/relationships/slide" Target="slides/slide803.xml"/><Relationship Id="rId808" Type="http://schemas.openxmlformats.org/officeDocument/2006/relationships/slide" Target="slides/slide804.xml"/><Relationship Id="rId809" Type="http://schemas.openxmlformats.org/officeDocument/2006/relationships/slide" Target="slides/slide805.xml"/><Relationship Id="rId810" Type="http://schemas.openxmlformats.org/officeDocument/2006/relationships/slide" Target="slides/slide806.xml"/><Relationship Id="rId811" Type="http://schemas.openxmlformats.org/officeDocument/2006/relationships/slide" Target="slides/slide807.xml"/><Relationship Id="rId812" Type="http://schemas.openxmlformats.org/officeDocument/2006/relationships/slide" Target="slides/slide808.xml"/><Relationship Id="rId813" Type="http://schemas.openxmlformats.org/officeDocument/2006/relationships/slide" Target="slides/slide809.xml"/><Relationship Id="rId814" Type="http://schemas.openxmlformats.org/officeDocument/2006/relationships/slide" Target="slides/slide810.xml"/><Relationship Id="rId815" Type="http://schemas.openxmlformats.org/officeDocument/2006/relationships/slide" Target="slides/slide811.xml"/><Relationship Id="rId816" Type="http://schemas.openxmlformats.org/officeDocument/2006/relationships/slide" Target="slides/slide812.xml"/><Relationship Id="rId817" Type="http://schemas.openxmlformats.org/officeDocument/2006/relationships/slide" Target="slides/slide813.xml"/><Relationship Id="rId818" Type="http://schemas.openxmlformats.org/officeDocument/2006/relationships/slide" Target="slides/slide814.xml"/><Relationship Id="rId819" Type="http://schemas.openxmlformats.org/officeDocument/2006/relationships/slide" Target="slides/slide815.xml"/><Relationship Id="rId820" Type="http://schemas.openxmlformats.org/officeDocument/2006/relationships/slide" Target="slides/slide816.xml"/><Relationship Id="rId821" Type="http://schemas.openxmlformats.org/officeDocument/2006/relationships/slide" Target="slides/slide817.xml"/><Relationship Id="rId822" Type="http://schemas.openxmlformats.org/officeDocument/2006/relationships/slide" Target="slides/slide818.xml"/><Relationship Id="rId823" Type="http://schemas.openxmlformats.org/officeDocument/2006/relationships/slide" Target="slides/slide819.xml"/><Relationship Id="rId824" Type="http://schemas.openxmlformats.org/officeDocument/2006/relationships/slide" Target="slides/slide820.xml"/><Relationship Id="rId825" Type="http://schemas.openxmlformats.org/officeDocument/2006/relationships/slide" Target="slides/slide821.xml"/><Relationship Id="rId826" Type="http://schemas.openxmlformats.org/officeDocument/2006/relationships/slide" Target="slides/slide822.xml"/><Relationship Id="rId827" Type="http://schemas.openxmlformats.org/officeDocument/2006/relationships/slide" Target="slides/slide823.xml"/><Relationship Id="rId828" Type="http://schemas.openxmlformats.org/officeDocument/2006/relationships/slide" Target="slides/slide824.xml"/><Relationship Id="rId829" Type="http://schemas.openxmlformats.org/officeDocument/2006/relationships/slide" Target="slides/slide825.xml"/><Relationship Id="rId830" Type="http://schemas.openxmlformats.org/officeDocument/2006/relationships/slide" Target="slides/slide826.xml"/><Relationship Id="rId831" Type="http://schemas.openxmlformats.org/officeDocument/2006/relationships/slide" Target="slides/slide827.xml"/><Relationship Id="rId832" Type="http://schemas.openxmlformats.org/officeDocument/2006/relationships/slide" Target="slides/slide828.xml"/><Relationship Id="rId833" Type="http://schemas.openxmlformats.org/officeDocument/2006/relationships/slide" Target="slides/slide829.xml"/><Relationship Id="rId834" Type="http://schemas.openxmlformats.org/officeDocument/2006/relationships/slide" Target="slides/slide830.xml"/><Relationship Id="rId835" Type="http://schemas.openxmlformats.org/officeDocument/2006/relationships/slide" Target="slides/slide831.xml"/><Relationship Id="rId836" Type="http://schemas.openxmlformats.org/officeDocument/2006/relationships/slide" Target="slides/slide832.xml"/><Relationship Id="rId837" Type="http://schemas.openxmlformats.org/officeDocument/2006/relationships/slide" Target="slides/slide833.xml"/><Relationship Id="rId838" Type="http://schemas.openxmlformats.org/officeDocument/2006/relationships/slide" Target="slides/slide834.xml"/><Relationship Id="rId839" Type="http://schemas.openxmlformats.org/officeDocument/2006/relationships/slide" Target="slides/slide835.xml"/><Relationship Id="rId840" Type="http://schemas.openxmlformats.org/officeDocument/2006/relationships/slide" Target="slides/slide836.xml"/><Relationship Id="rId841" Type="http://schemas.openxmlformats.org/officeDocument/2006/relationships/slide" Target="slides/slide837.xml"/><Relationship Id="rId842" Type="http://schemas.openxmlformats.org/officeDocument/2006/relationships/slide" Target="slides/slide838.xml"/><Relationship Id="rId843" Type="http://schemas.openxmlformats.org/officeDocument/2006/relationships/slide" Target="slides/slide839.xml"/><Relationship Id="rId844" Type="http://schemas.openxmlformats.org/officeDocument/2006/relationships/slide" Target="slides/slide840.xml"/><Relationship Id="rId845" Type="http://schemas.openxmlformats.org/officeDocument/2006/relationships/slide" Target="slides/slide841.xml"/><Relationship Id="rId846" Type="http://schemas.openxmlformats.org/officeDocument/2006/relationships/slide" Target="slides/slide842.xml"/><Relationship Id="rId847" Type="http://schemas.openxmlformats.org/officeDocument/2006/relationships/slide" Target="slides/slide843.xml"/><Relationship Id="rId848" Type="http://schemas.openxmlformats.org/officeDocument/2006/relationships/slide" Target="slides/slide844.xml"/><Relationship Id="rId849" Type="http://schemas.openxmlformats.org/officeDocument/2006/relationships/slide" Target="slides/slide845.xml"/><Relationship Id="rId850" Type="http://schemas.openxmlformats.org/officeDocument/2006/relationships/slide" Target="slides/slide846.xml"/><Relationship Id="rId851" Type="http://schemas.openxmlformats.org/officeDocument/2006/relationships/slide" Target="slides/slide847.xml"/><Relationship Id="rId852" Type="http://schemas.openxmlformats.org/officeDocument/2006/relationships/slide" Target="slides/slide848.xml"/><Relationship Id="rId853" Type="http://schemas.openxmlformats.org/officeDocument/2006/relationships/slide" Target="slides/slide849.xml"/><Relationship Id="rId854" Type="http://schemas.openxmlformats.org/officeDocument/2006/relationships/slide" Target="slides/slide850.xml"/><Relationship Id="rId855" Type="http://schemas.openxmlformats.org/officeDocument/2006/relationships/slide" Target="slides/slide851.xml"/><Relationship Id="rId856" Type="http://schemas.openxmlformats.org/officeDocument/2006/relationships/slide" Target="slides/slide852.xml"/><Relationship Id="rId857" Type="http://schemas.openxmlformats.org/officeDocument/2006/relationships/slide" Target="slides/slide853.xml"/><Relationship Id="rId858" Type="http://schemas.openxmlformats.org/officeDocument/2006/relationships/slide" Target="slides/slide854.xml"/><Relationship Id="rId859" Type="http://schemas.openxmlformats.org/officeDocument/2006/relationships/slide" Target="slides/slide855.xml"/><Relationship Id="rId860" Type="http://schemas.openxmlformats.org/officeDocument/2006/relationships/slide" Target="slides/slide856.xml"/><Relationship Id="rId861" Type="http://schemas.openxmlformats.org/officeDocument/2006/relationships/slide" Target="slides/slide857.xml"/><Relationship Id="rId862" Type="http://schemas.openxmlformats.org/officeDocument/2006/relationships/slide" Target="slides/slide858.xml"/><Relationship Id="rId863" Type="http://schemas.openxmlformats.org/officeDocument/2006/relationships/slide" Target="slides/slide859.xml"/><Relationship Id="rId864" Type="http://schemas.openxmlformats.org/officeDocument/2006/relationships/slide" Target="slides/slide860.xml"/><Relationship Id="rId865" Type="http://schemas.openxmlformats.org/officeDocument/2006/relationships/slide" Target="slides/slide861.xml"/><Relationship Id="rId866" Type="http://schemas.openxmlformats.org/officeDocument/2006/relationships/slide" Target="slides/slide862.xml"/><Relationship Id="rId867" Type="http://schemas.openxmlformats.org/officeDocument/2006/relationships/slide" Target="slides/slide863.xml"/><Relationship Id="rId868" Type="http://schemas.openxmlformats.org/officeDocument/2006/relationships/slide" Target="slides/slide864.xml"/><Relationship Id="rId869" Type="http://schemas.openxmlformats.org/officeDocument/2006/relationships/slide" Target="slides/slide865.xml"/><Relationship Id="rId870" Type="http://schemas.openxmlformats.org/officeDocument/2006/relationships/slide" Target="slides/slide866.xml"/><Relationship Id="rId871" Type="http://schemas.openxmlformats.org/officeDocument/2006/relationships/slide" Target="slides/slide867.xml"/><Relationship Id="rId872" Type="http://schemas.openxmlformats.org/officeDocument/2006/relationships/slide" Target="slides/slide868.xml"/><Relationship Id="rId873" Type="http://schemas.openxmlformats.org/officeDocument/2006/relationships/slide" Target="slides/slide869.xml"/><Relationship Id="rId874" Type="http://schemas.openxmlformats.org/officeDocument/2006/relationships/slide" Target="slides/slide870.xml"/><Relationship Id="rId875" Type="http://schemas.openxmlformats.org/officeDocument/2006/relationships/slide" Target="slides/slide871.xml"/><Relationship Id="rId876" Type="http://schemas.openxmlformats.org/officeDocument/2006/relationships/slide" Target="slides/slide872.xml"/><Relationship Id="rId877" Type="http://schemas.openxmlformats.org/officeDocument/2006/relationships/slide" Target="slides/slide873.xml"/><Relationship Id="rId878" Type="http://schemas.openxmlformats.org/officeDocument/2006/relationships/slide" Target="slides/slide874.xml"/><Relationship Id="rId879" Type="http://schemas.openxmlformats.org/officeDocument/2006/relationships/slide" Target="slides/slide875.xml"/><Relationship Id="rId880" Type="http://schemas.openxmlformats.org/officeDocument/2006/relationships/slide" Target="slides/slide876.xml"/><Relationship Id="rId881" Type="http://schemas.openxmlformats.org/officeDocument/2006/relationships/slide" Target="slides/slide877.xml"/><Relationship Id="rId882" Type="http://schemas.openxmlformats.org/officeDocument/2006/relationships/slide" Target="slides/slide878.xml"/><Relationship Id="rId883" Type="http://schemas.openxmlformats.org/officeDocument/2006/relationships/slide" Target="slides/slide879.xml"/><Relationship Id="rId884" Type="http://schemas.openxmlformats.org/officeDocument/2006/relationships/slide" Target="slides/slide880.xml"/><Relationship Id="rId885" Type="http://schemas.openxmlformats.org/officeDocument/2006/relationships/slide" Target="slides/slide881.xml"/><Relationship Id="rId886" Type="http://schemas.openxmlformats.org/officeDocument/2006/relationships/slide" Target="slides/slide882.xml"/><Relationship Id="rId887" Type="http://schemas.openxmlformats.org/officeDocument/2006/relationships/slide" Target="slides/slide883.xml"/><Relationship Id="rId888" Type="http://schemas.openxmlformats.org/officeDocument/2006/relationships/slide" Target="slides/slide884.xml"/><Relationship Id="rId889" Type="http://schemas.openxmlformats.org/officeDocument/2006/relationships/slide" Target="slides/slide885.xml"/><Relationship Id="rId890" Type="http://schemas.openxmlformats.org/officeDocument/2006/relationships/slide" Target="slides/slide886.xml"/><Relationship Id="rId891" Type="http://schemas.openxmlformats.org/officeDocument/2006/relationships/slide" Target="slides/slide887.xml"/><Relationship Id="rId892" Type="http://schemas.openxmlformats.org/officeDocument/2006/relationships/slide" Target="slides/slide888.xml"/><Relationship Id="rId893" Type="http://schemas.openxmlformats.org/officeDocument/2006/relationships/slide" Target="slides/slide889.xml"/><Relationship Id="rId894" Type="http://schemas.openxmlformats.org/officeDocument/2006/relationships/slide" Target="slides/slide890.xml"/><Relationship Id="rId895" Type="http://schemas.openxmlformats.org/officeDocument/2006/relationships/slide" Target="slides/slide891.xml"/><Relationship Id="rId896" Type="http://schemas.openxmlformats.org/officeDocument/2006/relationships/slide" Target="slides/slide892.xml"/><Relationship Id="rId897" Type="http://schemas.openxmlformats.org/officeDocument/2006/relationships/slide" Target="slides/slide893.xml"/><Relationship Id="rId898" Type="http://schemas.openxmlformats.org/officeDocument/2006/relationships/slide" Target="slides/slide894.xml"/><Relationship Id="rId899" Type="http://schemas.openxmlformats.org/officeDocument/2006/relationships/slide" Target="slides/slide895.xml"/><Relationship Id="rId900" Type="http://schemas.openxmlformats.org/officeDocument/2006/relationships/slide" Target="slides/slide896.xml"/><Relationship Id="rId901" Type="http://schemas.openxmlformats.org/officeDocument/2006/relationships/slide" Target="slides/slide897.xml"/><Relationship Id="rId902" Type="http://schemas.openxmlformats.org/officeDocument/2006/relationships/slide" Target="slides/slide898.xml"/><Relationship Id="rId903" Type="http://schemas.openxmlformats.org/officeDocument/2006/relationships/slide" Target="slides/slide899.xml"/><Relationship Id="rId904" Type="http://schemas.openxmlformats.org/officeDocument/2006/relationships/slide" Target="slides/slide900.xml"/><Relationship Id="rId905" Type="http://schemas.openxmlformats.org/officeDocument/2006/relationships/slide" Target="slides/slide901.xml"/><Relationship Id="rId906" Type="http://schemas.openxmlformats.org/officeDocument/2006/relationships/slide" Target="slides/slide902.xml"/><Relationship Id="rId907" Type="http://schemas.openxmlformats.org/officeDocument/2006/relationships/slide" Target="slides/slide903.xml"/><Relationship Id="rId908" Type="http://schemas.openxmlformats.org/officeDocument/2006/relationships/slide" Target="slides/slide904.xml"/><Relationship Id="rId909" Type="http://schemas.openxmlformats.org/officeDocument/2006/relationships/slide" Target="slides/slide905.xml"/><Relationship Id="rId910" Type="http://schemas.openxmlformats.org/officeDocument/2006/relationships/slide" Target="slides/slide906.xml"/><Relationship Id="rId911" Type="http://schemas.openxmlformats.org/officeDocument/2006/relationships/slide" Target="slides/slide907.xml"/><Relationship Id="rId912" Type="http://schemas.openxmlformats.org/officeDocument/2006/relationships/slide" Target="slides/slide908.xml"/><Relationship Id="rId913" Type="http://schemas.openxmlformats.org/officeDocument/2006/relationships/slide" Target="slides/slide909.xml"/><Relationship Id="rId914" Type="http://schemas.openxmlformats.org/officeDocument/2006/relationships/slide" Target="slides/slide910.xml"/><Relationship Id="rId915" Type="http://schemas.openxmlformats.org/officeDocument/2006/relationships/slide" Target="slides/slide911.xml"/><Relationship Id="rId916" Type="http://schemas.openxmlformats.org/officeDocument/2006/relationships/slide" Target="slides/slide912.xml"/><Relationship Id="rId917" Type="http://schemas.openxmlformats.org/officeDocument/2006/relationships/slide" Target="slides/slide913.xml"/><Relationship Id="rId918" Type="http://schemas.openxmlformats.org/officeDocument/2006/relationships/slide" Target="slides/slide914.xml"/><Relationship Id="rId919" Type="http://schemas.openxmlformats.org/officeDocument/2006/relationships/slide" Target="slides/slide915.xml"/><Relationship Id="rId920" Type="http://schemas.openxmlformats.org/officeDocument/2006/relationships/slide" Target="slides/slide916.xml"/><Relationship Id="rId921" Type="http://schemas.openxmlformats.org/officeDocument/2006/relationships/slide" Target="slides/slide917.xml"/><Relationship Id="rId922" Type="http://schemas.openxmlformats.org/officeDocument/2006/relationships/slide" Target="slides/slide918.xml"/><Relationship Id="rId923" Type="http://schemas.openxmlformats.org/officeDocument/2006/relationships/slide" Target="slides/slide919.xml"/><Relationship Id="rId924" Type="http://schemas.openxmlformats.org/officeDocument/2006/relationships/slide" Target="slides/slide920.xml"/><Relationship Id="rId925" Type="http://schemas.openxmlformats.org/officeDocument/2006/relationships/slide" Target="slides/slide921.xml"/><Relationship Id="rId926" Type="http://schemas.openxmlformats.org/officeDocument/2006/relationships/slide" Target="slides/slide922.xml"/><Relationship Id="rId927" Type="http://schemas.openxmlformats.org/officeDocument/2006/relationships/slide" Target="slides/slide923.xml"/><Relationship Id="rId928" Type="http://schemas.openxmlformats.org/officeDocument/2006/relationships/slide" Target="slides/slide924.xml"/><Relationship Id="rId929" Type="http://schemas.openxmlformats.org/officeDocument/2006/relationships/slide" Target="slides/slide925.xml"/><Relationship Id="rId930" Type="http://schemas.openxmlformats.org/officeDocument/2006/relationships/slide" Target="slides/slide926.xml"/><Relationship Id="rId931" Type="http://schemas.openxmlformats.org/officeDocument/2006/relationships/slide" Target="slides/slide927.xml"/><Relationship Id="rId932" Type="http://schemas.openxmlformats.org/officeDocument/2006/relationships/slide" Target="slides/slide928.xml"/><Relationship Id="rId933" Type="http://schemas.openxmlformats.org/officeDocument/2006/relationships/slide" Target="slides/slide929.xml"/><Relationship Id="rId934" Type="http://schemas.openxmlformats.org/officeDocument/2006/relationships/slide" Target="slides/slide930.xml"/><Relationship Id="rId935" Type="http://schemas.openxmlformats.org/officeDocument/2006/relationships/slide" Target="slides/slide931.xml"/><Relationship Id="rId936" Type="http://schemas.openxmlformats.org/officeDocument/2006/relationships/slide" Target="slides/slide932.xml"/><Relationship Id="rId937" Type="http://schemas.openxmlformats.org/officeDocument/2006/relationships/slide" Target="slides/slide933.xml"/><Relationship Id="rId938" Type="http://schemas.openxmlformats.org/officeDocument/2006/relationships/slide" Target="slides/slide934.xml"/><Relationship Id="rId939" Type="http://schemas.openxmlformats.org/officeDocument/2006/relationships/slide" Target="slides/slide935.xml"/><Relationship Id="rId940" Type="http://schemas.openxmlformats.org/officeDocument/2006/relationships/slide" Target="slides/slide936.xml"/><Relationship Id="rId941" Type="http://schemas.openxmlformats.org/officeDocument/2006/relationships/slide" Target="slides/slide937.xml"/><Relationship Id="rId942" Type="http://schemas.openxmlformats.org/officeDocument/2006/relationships/notesMaster" Target="notesMasters/notesMaster1.xml"/><Relationship Id="rId943" Type="http://schemas.openxmlformats.org/officeDocument/2006/relationships/presProps" Target="presProps.xml"/><Relationship Id="rId944" Type="http://schemas.openxmlformats.org/officeDocument/2006/relationships/viewProps" Target="viewProps.xml"/><Relationship Id="rId945" Type="http://schemas.openxmlformats.org/officeDocument/2006/relationships/theme" Target="theme/theme1.xml"/><Relationship Id="rId946" Type="http://schemas.openxmlformats.org/officeDocument/2006/relationships/tableStyles" Target="tableStyles.xml"/><Relationship Id="rId947" Type="http://schemas.microsoft.com/office/2015/10/relationships/revisionInfo" Target="revisionInfo.xml"/><Relationship Id="rId94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2.xml.rels><?xml version='1.0' encoding='UTF-8' standalone='yes'?>
<Relationships xmlns="http://schemas.openxmlformats.org/package/2006/relationships"><Relationship Id="rId1" Type="http://schemas.openxmlformats.org/officeDocument/2006/relationships/themeOverride" Target="../theme/themeOverride7.xml"/><Relationship Id="rId2"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themeOverride" Target="../theme/themeOverride8.xml"/><Relationship Id="rId2"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themeOverride" Target="../theme/themeOverride9.xml"/><Relationship Id="rId2"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themeOverride" Target="../theme/themeOverride10.xml"/><Relationship Id="rId2"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14.xml.rels><?xml version='1.0' encoding='UTF-8' standalone='yes'?>
<Relationships xmlns="http://schemas.openxmlformats.org/package/2006/relationships"><Relationship Id="rId1" Type="http://schemas.openxmlformats.org/officeDocument/2006/relationships/themeOverride" Target="../theme/themeOverride15.xml"/><Relationship Id="rId2"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themeOverride" Target="../theme/themeOverride16.xml"/><Relationship Id="rId2"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themeOverride" Target="../theme/themeOverride17.xml"/><Relationship Id="rId2"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themeOverride" Target="../theme/themeOverride18.xml"/><Relationship Id="rId2"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0.xml.rels><?xml version='1.0' encoding='UTF-8' standalone='yes'?>
<Relationships xmlns="http://schemas.openxmlformats.org/package/2006/relationships"><Relationship Id="rId1" Type="http://schemas.openxmlformats.org/officeDocument/2006/relationships/themeOverride" Target="../theme/themeOverride19.xml"/><Relationship Id="rId2"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themeOverride" Target="../theme/themeOverride20.xml"/><Relationship Id="rId2"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6.xml.rels><?xml version='1.0' encoding='UTF-8' standalone='yes'?>
<Relationships xmlns="http://schemas.openxmlformats.org/package/2006/relationships"><Relationship Id="rId1" Type="http://schemas.openxmlformats.org/officeDocument/2006/relationships/themeOverride" Target="../theme/themeOverride23.xml"/><Relationship Id="rId2"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themeOverride" Target="../theme/themeOverride24.xml"/><Relationship Id="rId2"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themeOverride" Target="../theme/themeOverride25.xml"/><Relationship Id="rId2"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themeOverride" Target="../theme/themeOverride26.xml"/><Relationship Id="rId2"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themeOverride" Target="../theme/themeOverride27.xml"/><Relationship Id="rId2"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themeOverride" Target="../theme/themeOverride28.xml"/><Relationship Id="rId2"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themeOverride" Target="../theme/themeOverride29.xml"/><Relationship Id="rId2"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themeOverride" Target="../theme/themeOverride30.xml"/><Relationship Id="rId2"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themeOverride" Target="../theme/themeOverride31.xml"/><Relationship Id="rId2"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themeOverride" Target="../theme/themeOverride32.xml"/><Relationship Id="rId2"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7.xml.rels><?xml version='1.0' encoding='UTF-8' standalone='yes'?>
<Relationships xmlns="http://schemas.openxmlformats.org/package/2006/relationships"><Relationship Id="rId1" Type="http://schemas.openxmlformats.org/officeDocument/2006/relationships/themeOverride" Target="../theme/themeOverride37.xml"/><Relationship Id="rId2"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themeOverride" Target="../theme/themeOverride38.xml"/><Relationship Id="rId2"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themeOverride" Target="../theme/themeOverride39.xml"/><Relationship Id="rId2"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themeOverride" Target="../theme/themeOverride40.xml"/><Relationship Id="rId2"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themeOverride" Target="../theme/themeOverride41.xml"/><Relationship Id="rId2"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themeOverride" Target="../theme/themeOverride42.xml"/><Relationship Id="rId2"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9.xml.rels><?xml version='1.0' encoding='UTF-8' standalone='yes'?>
<Relationships xmlns="http://schemas.openxmlformats.org/package/2006/relationships"><Relationship Id="rId1" Type="http://schemas.openxmlformats.org/officeDocument/2006/relationships/themeOverride" Target="../theme/themeOverride45.xml"/><Relationship Id="rId2"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themeOverride" Target="../theme/themeOverride46.xml"/><Relationship Id="rId2"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8.xml.rels><?xml version='1.0' encoding='UTF-8' standalone='yes'?>
<Relationships xmlns="http://schemas.openxmlformats.org/package/2006/relationships"><Relationship Id="rId1" Type="http://schemas.openxmlformats.org/officeDocument/2006/relationships/themeOverride" Target="../theme/themeOverride51.xml"/><Relationship Id="rId2"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themeOverride" Target="../theme/themeOverride52.xml"/><Relationship Id="rId2"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themeOverride" Target="../theme/themeOverride53.xml"/><Relationship Id="rId2"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themeOverride" Target="../theme/themeOverride54.xml"/><Relationship Id="rId2"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80.xml.rels><?xml version='1.0' encoding='UTF-8' standalone='yes'?>
<Relationships xmlns="http://schemas.openxmlformats.org/package/2006/relationships"><Relationship Id="rId1" Type="http://schemas.openxmlformats.org/officeDocument/2006/relationships/themeOverride" Target="../theme/themeOverride59.xml"/><Relationship Id="rId2"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themeOverride" Target="../theme/themeOverride60.xml"/><Relationship Id="rId2"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themeOverride" Target="../theme/themeOverride61.xml"/><Relationship Id="rId2"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themeOverride" Target="../theme/themeOverride62.xml"/><Relationship Id="rId2"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themeOverride" Target="../theme/themeOverride63.xml"/><Relationship Id="rId2"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themeOverride" Target="../theme/themeOverride64.xml"/><Relationship Id="rId2"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4.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195.xlsx"/></Relationships>
</file>

<file path=ppt/charts/_rels/chart198.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99.xlsx"/></Relationships>
</file>

<file path=ppt/charts/_rels/chart202.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201.xlsx"/></Relationships>
</file>

<file path=ppt/charts/_rels/chart205.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206.xlsx"/></Relationships>
</file>

<file path=ppt/charts/_rels/chart209.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12.xlsx"/></Relationships>
</file>

<file path=ppt/charts/_rels/chart216.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17.xlsx"/></Relationships>
</file>

<file path=ppt/charts/_rels/chart220.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223.xlsx"/></Relationships>
</file>

<file path=ppt/charts/_rels/chart227.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228.xlsx"/></Relationships>
</file>

<file path=ppt/charts/_rels/chart231.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233.xlsx"/></Relationships>
</file>

<file path=ppt/charts/_rels/chart236.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237.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1.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240.xlsx"/></Relationships>
</file>

<file path=ppt/charts/_rels/chart243.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244.xlsx"/></Relationships>
</file>

<file path=ppt/charts/_rels/chart248.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2.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251.xlsx"/></Relationships>
</file>

<file path=ppt/charts/_rels/chart254.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255.xlsx"/></Relationships>
</file>

<file path=ppt/charts/_rels/chart259.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259.xlsx"/></Relationships>
</file>

<file path=ppt/charts/_rels/chart262.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262.xlsx"/></Relationships>
</file>

<file path=ppt/charts/_rels/chart265.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26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273.xlsx"/></Relationships>
</file>

<file path=ppt/charts/_rels/chart276.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27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1.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280.xlsx"/></Relationships>
</file>

<file path=ppt/charts/_rels/chart283.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284.xlsx"/></Relationships>
</file>

<file path=ppt/charts/_rels/chart287.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288.xlsx"/></Relationships>
</file>

<file path=ppt/charts/_rels/chart294.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295.xlsx"/></Relationships>
</file>

<file path=ppt/charts/_rels/chart298.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299.xlsx"/></Relationships>
</file>

<file path=ppt/charts/_rels/chart302.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301.xlsx"/></Relationships>
</file>

<file path=ppt/charts/_rels/chart305.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306.xlsx"/></Relationships>
</file>

<file path=ppt/charts/_rels/chart309.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313.xlsx"/></Relationships>
</file>

<file path=ppt/charts/_rels/chart316.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317.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320.xlsx"/></Relationships>
</file>

<file path=ppt/charts/_rels/chart323.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324.xlsx"/></Relationships>
</file>

<file path=ppt/charts/_rels/chart327.xml.rels><?xml version='1.0' encoding='UTF-8' standalone='yes'?>
<Relationships xmlns="http://schemas.openxmlformats.org/package/2006/relationships"><Relationship Id="rId1" Type="http://schemas.microsoft.com/office/2011/relationships/chartStyle" Target="style139.xml"/><Relationship Id="rId2" Type="http://schemas.microsoft.com/office/2011/relationships/chartColorStyle" Target="colors139.xml"/><Relationship Id="rId3"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microsoft.com/office/2011/relationships/chartStyle" Target="style140.xml"/><Relationship Id="rId2" Type="http://schemas.microsoft.com/office/2011/relationships/chartColorStyle" Target="colors140.xml"/><Relationship Id="rId3"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microsoft.com/office/2011/relationships/chartStyle" Target="style141.xml"/><Relationship Id="rId2" Type="http://schemas.microsoft.com/office/2011/relationships/chartColorStyle" Target="colors141.xml"/><Relationship Id="rId3" Type="http://schemas.openxmlformats.org/officeDocument/2006/relationships/package" Target="../embeddings/Microsoft_Excel_Worksheet328.xlsx"/></Relationships>
</file>

<file path=ppt/charts/_rels/chart332.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microsoft.com/office/2011/relationships/chartStyle" Target="style145.xml"/><Relationship Id="rId2" Type="http://schemas.microsoft.com/office/2011/relationships/chartColorStyle" Target="colors145.xml"/><Relationship Id="rId3"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microsoft.com/office/2011/relationships/chartStyle" Target="style146.xml"/><Relationship Id="rId2" Type="http://schemas.microsoft.com/office/2011/relationships/chartColorStyle" Target="colors146.xml"/><Relationship Id="rId3" Type="http://schemas.openxmlformats.org/officeDocument/2006/relationships/package" Target="../embeddings/Microsoft_Excel_Worksheet333.xlsx"/></Relationships>
</file>

<file path=ppt/charts/_rels/chart337.xml.rels><?xml version='1.0' encoding='UTF-8' standalone='yes'?>
<Relationships xmlns="http://schemas.openxmlformats.org/package/2006/relationships"><Relationship Id="rId1" Type="http://schemas.microsoft.com/office/2011/relationships/chartStyle" Target="style149.xml"/><Relationship Id="rId2" Type="http://schemas.microsoft.com/office/2011/relationships/chartColorStyle" Target="colors149.xml"/><Relationship Id="rId3"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microsoft.com/office/2011/relationships/chartStyle" Target="style150.xml"/><Relationship Id="rId2" Type="http://schemas.microsoft.com/office/2011/relationships/chartColorStyle" Target="colors150.xml"/><Relationship Id="rId3"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338.xlsx"/></Relationships>
</file>

<file path=ppt/charts/_rels/chart341.xml.rels><?xml version='1.0' encoding='UTF-8' standalone='yes'?>
<Relationships xmlns="http://schemas.openxmlformats.org/package/2006/relationships"><Relationship Id="rId1" Type="http://schemas.microsoft.com/office/2011/relationships/chartStyle" Target="style153.xml"/><Relationship Id="rId2" Type="http://schemas.microsoft.com/office/2011/relationships/chartColorStyle" Target="colors153.xml"/><Relationship Id="rId3" Type="http://schemas.openxmlformats.org/officeDocument/2006/relationships/package" Target="../embeddings/Microsoft_Excel_Worksheet340.xlsx"/></Relationships>
</file>

<file path=ppt/charts/_rels/chart343.xml.rels><?xml version='1.0' encoding='UTF-8' standalone='yes'?>
<Relationships xmlns="http://schemas.openxmlformats.org/package/2006/relationships"><Relationship Id="rId1" Type="http://schemas.microsoft.com/office/2011/relationships/chartStyle" Target="style155.xml"/><Relationship Id="rId2" Type="http://schemas.microsoft.com/office/2011/relationships/chartColorStyle" Target="colors155.xml"/><Relationship Id="rId3"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microsoft.com/office/2011/relationships/chartStyle" Target="style156.xml"/><Relationship Id="rId2" Type="http://schemas.microsoft.com/office/2011/relationships/chartColorStyle" Target="colors156.xml"/><Relationship Id="rId3"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microsoft.com/office/2011/relationships/chartStyle" Target="style157.xml"/><Relationship Id="rId2" Type="http://schemas.microsoft.com/office/2011/relationships/chartColorStyle" Target="colors157.xml"/><Relationship Id="rId3" Type="http://schemas.openxmlformats.org/officeDocument/2006/relationships/package" Target="../embeddings/Microsoft_Excel_Worksheet344.xlsx"/></Relationships>
</file>

<file path=ppt/charts/_rels/chart348.xml.rels><?xml version='1.0' encoding='UTF-8' standalone='yes'?>
<Relationships xmlns="http://schemas.openxmlformats.org/package/2006/relationships"><Relationship Id="rId1" Type="http://schemas.microsoft.com/office/2011/relationships/chartStyle" Target="style160.xml"/><Relationship Id="rId2" Type="http://schemas.microsoft.com/office/2011/relationships/chartColorStyle" Target="colors160.xml"/><Relationship Id="rId3"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microsoft.com/office/2011/relationships/chartStyle" Target="style161.xml"/><Relationship Id="rId2" Type="http://schemas.microsoft.com/office/2011/relationships/chartColorStyle" Target="colors161.xml"/><Relationship Id="rId3"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349.xlsx"/></Relationships>
</file>

<file path=ppt/charts/_rels/chart352.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351.xlsx"/></Relationships>
</file>

<file path=ppt/charts/_rels/chart354.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microsoft.com/office/2011/relationships/chartStyle" Target="style167.xml"/><Relationship Id="rId2" Type="http://schemas.microsoft.com/office/2011/relationships/chartColorStyle" Target="colors167.xml"/><Relationship Id="rId3"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microsoft.com/office/2011/relationships/chartStyle" Target="style168.xml"/><Relationship Id="rId2" Type="http://schemas.microsoft.com/office/2011/relationships/chartColorStyle" Target="colors168.xml"/><Relationship Id="rId3" Type="http://schemas.openxmlformats.org/officeDocument/2006/relationships/package" Target="../embeddings/Microsoft_Excel_Worksheet355.xlsx"/></Relationships>
</file>

<file path=ppt/charts/_rels/chart359.xml.rels><?xml version='1.0' encoding='UTF-8' standalone='yes'?>
<Relationships xmlns="http://schemas.openxmlformats.org/package/2006/relationships"><Relationship Id="rId1" Type="http://schemas.microsoft.com/office/2011/relationships/chartStyle" Target="style171.xml"/><Relationship Id="rId2" Type="http://schemas.microsoft.com/office/2011/relationships/chartColorStyle" Target="colors171.xml"/><Relationship Id="rId3" Type="http://schemas.openxmlformats.org/officeDocument/2006/relationships/package" Target="../embeddings/Microsoft_Excel_Worksheet358.xlsx"/></Relationships>
</file>

<file path=ppt/charts/_rels/chart360.xml.rels><?xml version='1.0' encoding='UTF-8' standalone='yes'?>
<Relationships xmlns="http://schemas.openxmlformats.org/package/2006/relationships"><Relationship Id="rId1" Type="http://schemas.microsoft.com/office/2011/relationships/chartStyle" Target="style172.xml"/><Relationship Id="rId2" Type="http://schemas.microsoft.com/office/2011/relationships/chartColorStyle" Target="colors172.xml"/><Relationship Id="rId3"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microsoft.com/office/2011/relationships/chartStyle" Target="style175.xml"/><Relationship Id="rId2" Type="http://schemas.microsoft.com/office/2011/relationships/chartColorStyle" Target="colors175.xml"/><Relationship Id="rId3" Type="http://schemas.openxmlformats.org/officeDocument/2006/relationships/package" Target="../embeddings/Microsoft_Excel_Worksheet362.xlsx"/></Relationships>
</file>

<file path=ppt/charts/_rels/chart365.xml.rels><?xml version='1.0' encoding='UTF-8' standalone='yes'?>
<Relationships xmlns="http://schemas.openxmlformats.org/package/2006/relationships"><Relationship Id="rId1" Type="http://schemas.microsoft.com/office/2011/relationships/chartStyle" Target="style177.xml"/><Relationship Id="rId2" Type="http://schemas.microsoft.com/office/2011/relationships/chartColorStyle" Target="colors177.xml"/><Relationship Id="rId3"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microsoft.com/office/2011/relationships/chartStyle" Target="style178.xml"/><Relationship Id="rId2" Type="http://schemas.microsoft.com/office/2011/relationships/chartColorStyle" Target="colors178.xml"/><Relationship Id="rId3"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microsoft.com/office/2011/relationships/chartStyle" Target="style179.xml"/><Relationship Id="rId2" Type="http://schemas.microsoft.com/office/2011/relationships/chartColorStyle" Target="colors179.xml"/><Relationship Id="rId3" Type="http://schemas.openxmlformats.org/officeDocument/2006/relationships/package" Target="../embeddings/Microsoft_Excel_Worksheet36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microsoft.com/office/2011/relationships/chartStyle" Target="style182.xml"/><Relationship Id="rId2" Type="http://schemas.microsoft.com/office/2011/relationships/chartColorStyle" Target="colors182.xml"/><Relationship Id="rId3"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microsoft.com/office/2011/relationships/chartStyle" Target="style183.xml"/><Relationship Id="rId2" Type="http://schemas.microsoft.com/office/2011/relationships/chartColorStyle" Target="colors183.xml"/><Relationship Id="rId3"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microsoft.com/office/2011/relationships/chartStyle" Target="style184.xml"/><Relationship Id="rId2" Type="http://schemas.microsoft.com/office/2011/relationships/chartColorStyle" Target="colors184.xml"/><Relationship Id="rId3"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microsoft.com/office/2011/relationships/chartStyle" Target="style185.xml"/><Relationship Id="rId2" Type="http://schemas.microsoft.com/office/2011/relationships/chartColorStyle" Target="colors185.xml"/><Relationship Id="rId3"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microsoft.com/office/2011/relationships/chartStyle" Target="style186.xml"/><Relationship Id="rId2" Type="http://schemas.microsoft.com/office/2011/relationships/chartColorStyle" Target="colors186.xml"/><Relationship Id="rId3" Type="http://schemas.openxmlformats.org/officeDocument/2006/relationships/package" Target="../embeddings/Microsoft_Excel_Worksheet373.xlsx"/></Relationships>
</file>

<file path=ppt/charts/_rels/chart376.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microsoft.com/office/2011/relationships/chartStyle" Target="style190.xml"/><Relationship Id="rId2" Type="http://schemas.microsoft.com/office/2011/relationships/chartColorStyle" Target="colors190.xml"/><Relationship Id="rId3" Type="http://schemas.openxmlformats.org/officeDocument/2006/relationships/package" Target="../embeddings/Microsoft_Excel_Worksheet377.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1.xml.rels><?xml version='1.0' encoding='UTF-8' standalone='yes'?>
<Relationships xmlns="http://schemas.openxmlformats.org/package/2006/relationships"><Relationship Id="rId1" Type="http://schemas.microsoft.com/office/2011/relationships/chartStyle" Target="style193.xml"/><Relationship Id="rId2" Type="http://schemas.microsoft.com/office/2011/relationships/chartColorStyle" Target="colors193.xml"/><Relationship Id="rId3" Type="http://schemas.openxmlformats.org/officeDocument/2006/relationships/package" Target="../embeddings/Microsoft_Excel_Worksheet380.xlsx"/></Relationships>
</file>

<file path=ppt/charts/_rels/chart383.xml.rels><?xml version='1.0' encoding='UTF-8' standalone='yes'?>
<Relationships xmlns="http://schemas.openxmlformats.org/package/2006/relationships"><Relationship Id="rId1" Type="http://schemas.microsoft.com/office/2011/relationships/chartStyle" Target="style195.xml"/><Relationship Id="rId2" Type="http://schemas.microsoft.com/office/2011/relationships/chartColorStyle" Target="colors195.xml"/><Relationship Id="rId3"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microsoft.com/office/2011/relationships/chartStyle" Target="style197.xml"/><Relationship Id="rId2" Type="http://schemas.microsoft.com/office/2011/relationships/chartColorStyle" Target="colors197.xml"/><Relationship Id="rId3" Type="http://schemas.openxmlformats.org/officeDocument/2006/relationships/package" Target="../embeddings/Microsoft_Excel_Worksheet384.xlsx"/></Relationships>
</file>

<file path=ppt/charts/_rels/chart387.xml.rels><?xml version='1.0' encoding='UTF-8' standalone='yes'?>
<Relationships xmlns="http://schemas.openxmlformats.org/package/2006/relationships"><Relationship Id="rId1" Type="http://schemas.microsoft.com/office/2011/relationships/chartStyle" Target="style199.xml"/><Relationship Id="rId2" Type="http://schemas.microsoft.com/office/2011/relationships/chartColorStyle" Target="colors199.xml"/><Relationship Id="rId3"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microsoft.com/office/2011/relationships/chartStyle" Target="style200.xml"/><Relationship Id="rId2" Type="http://schemas.microsoft.com/office/2011/relationships/chartColorStyle" Target="colors200.xml"/><Relationship Id="rId3"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microsoft.com/office/2011/relationships/chartStyle" Target="style201.xml"/><Relationship Id="rId2" Type="http://schemas.microsoft.com/office/2011/relationships/chartColorStyle" Target="colors201.xml"/><Relationship Id="rId3"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2.xml.rels><?xml version='1.0' encoding='UTF-8' standalone='yes'?>
<Relationships xmlns="http://schemas.openxmlformats.org/package/2006/relationships"><Relationship Id="rId1" Type="http://schemas.microsoft.com/office/2011/relationships/chartStyle" Target="style204.xml"/><Relationship Id="rId2" Type="http://schemas.microsoft.com/office/2011/relationships/chartColorStyle" Target="colors204.xml"/><Relationship Id="rId3" Type="http://schemas.openxmlformats.org/officeDocument/2006/relationships/package" Target="../embeddings/Microsoft_Excel_Worksheet391.xlsx"/></Relationships>
</file>

<file path=ppt/charts/_rels/chart394.xml.rels><?xml version='1.0' encoding='UTF-8' standalone='yes'?>
<Relationships xmlns="http://schemas.openxmlformats.org/package/2006/relationships"><Relationship Id="rId1" Type="http://schemas.microsoft.com/office/2011/relationships/chartStyle" Target="style206.xml"/><Relationship Id="rId2" Type="http://schemas.microsoft.com/office/2011/relationships/chartColorStyle" Target="colors206.xml"/><Relationship Id="rId3"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microsoft.com/office/2011/relationships/chartStyle" Target="style207.xml"/><Relationship Id="rId2" Type="http://schemas.microsoft.com/office/2011/relationships/chartColorStyle" Target="colors207.xml"/><Relationship Id="rId3"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microsoft.com/office/2011/relationships/chartStyle" Target="style208.xml"/><Relationship Id="rId2" Type="http://schemas.microsoft.com/office/2011/relationships/chartColorStyle" Target="colors208.xml"/><Relationship Id="rId3" Type="http://schemas.openxmlformats.org/officeDocument/2006/relationships/package" Target="../embeddings/Microsoft_Excel_Worksheet395.xlsx"/></Relationships>
</file>

<file path=ppt/charts/_rels/chart399.xml.rels><?xml version='1.0' encoding='UTF-8' standalone='yes'?>
<Relationships xmlns="http://schemas.openxmlformats.org/package/2006/relationships"><Relationship Id="rId1" Type="http://schemas.microsoft.com/office/2011/relationships/chartStyle" Target="style211.xml"/><Relationship Id="rId2" Type="http://schemas.microsoft.com/office/2011/relationships/chartColorStyle" Target="colors211.xml"/><Relationship Id="rId3" Type="http://schemas.openxmlformats.org/officeDocument/2006/relationships/package" Target="../embeddings/Microsoft_Excel_Worksheet398.xlsx"/></Relationships>
</file>

<file path=ppt/charts/_rels/chart400.xml.rels><?xml version='1.0' encoding='UTF-8' standalone='yes'?>
<Relationships xmlns="http://schemas.openxmlformats.org/package/2006/relationships"><Relationship Id="rId1" Type="http://schemas.microsoft.com/office/2011/relationships/chartStyle" Target="style212.xml"/><Relationship Id="rId2" Type="http://schemas.microsoft.com/office/2011/relationships/chartColorStyle" Target="colors212.xml"/><Relationship Id="rId3" Type="http://schemas.openxmlformats.org/officeDocument/2006/relationships/package" Target="../embeddings/Microsoft_Excel_Worksheet399.xlsx"/></Relationships>
</file>

<file path=ppt/charts/_rels/chart402.xml.rels><?xml version='1.0' encoding='UTF-8' standalone='yes'?>
<Relationships xmlns="http://schemas.openxmlformats.org/package/2006/relationships"><Relationship Id="rId1" Type="http://schemas.microsoft.com/office/2011/relationships/chartStyle" Target="style214.xml"/><Relationship Id="rId2" Type="http://schemas.microsoft.com/office/2011/relationships/chartColorStyle" Target="colors214.xml"/><Relationship Id="rId3"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microsoft.com/office/2011/relationships/chartStyle" Target="style215.xml"/><Relationship Id="rId2" Type="http://schemas.microsoft.com/office/2011/relationships/chartColorStyle" Target="colors215.xml"/><Relationship Id="rId3" Type="http://schemas.openxmlformats.org/officeDocument/2006/relationships/package" Target="../embeddings/Microsoft_Excel_Worksheet402.xlsx"/></Relationships>
</file>

<file path=ppt/charts/_rels/chart405.xml.rels><?xml version='1.0' encoding='UTF-8' standalone='yes'?>
<Relationships xmlns="http://schemas.openxmlformats.org/package/2006/relationships"><Relationship Id="rId1" Type="http://schemas.microsoft.com/office/2011/relationships/chartStyle" Target="style217.xml"/><Relationship Id="rId2" Type="http://schemas.microsoft.com/office/2011/relationships/chartColorStyle" Target="colors217.xml"/><Relationship Id="rId3"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microsoft.com/office/2011/relationships/chartStyle" Target="style218.xml"/><Relationship Id="rId2" Type="http://schemas.microsoft.com/office/2011/relationships/chartColorStyle" Target="colors218.xml"/><Relationship Id="rId3"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406.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microsoft.com/office/2011/relationships/chartStyle" Target="style222.xml"/><Relationship Id="rId2" Type="http://schemas.microsoft.com/office/2011/relationships/chartColorStyle" Target="colors222.xml"/><Relationship Id="rId3"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microsoft.com/office/2011/relationships/chartStyle" Target="style223.xml"/><Relationship Id="rId2" Type="http://schemas.microsoft.com/office/2011/relationships/chartColorStyle" Target="colors223.xml"/><Relationship Id="rId3"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microsoft.com/office/2011/relationships/chartStyle" Target="style224.xml"/><Relationship Id="rId2" Type="http://schemas.microsoft.com/office/2011/relationships/chartColorStyle" Target="colors224.xml"/><Relationship Id="rId3"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microsoft.com/office/2011/relationships/chartStyle" Target="style225.xml"/><Relationship Id="rId2" Type="http://schemas.microsoft.com/office/2011/relationships/chartColorStyle" Target="colors225.xml"/><Relationship Id="rId3"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microsoft.com/office/2011/relationships/chartStyle" Target="style226.xml"/><Relationship Id="rId2" Type="http://schemas.microsoft.com/office/2011/relationships/chartColorStyle" Target="colors226.xml"/><Relationship Id="rId3" Type="http://schemas.openxmlformats.org/officeDocument/2006/relationships/package" Target="../embeddings/Microsoft_Excel_Worksheet413.xlsx"/></Relationships>
</file>

<file path=ppt/charts/_rels/chart416.xml.rels><?xml version='1.0' encoding='UTF-8' standalone='yes'?>
<Relationships xmlns="http://schemas.openxmlformats.org/package/2006/relationships"><Relationship Id="rId1" Type="http://schemas.microsoft.com/office/2011/relationships/chartStyle" Target="style228.xml"/><Relationship Id="rId2" Type="http://schemas.microsoft.com/office/2011/relationships/chartColorStyle" Target="colors228.xml"/><Relationship Id="rId3"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microsoft.com/office/2011/relationships/chartStyle" Target="style229.xml"/><Relationship Id="rId2" Type="http://schemas.microsoft.com/office/2011/relationships/chartColorStyle" Target="colors229.xml"/><Relationship Id="rId3"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microsoft.com/office/2011/relationships/chartStyle" Target="style230.xml"/><Relationship Id="rId2" Type="http://schemas.microsoft.com/office/2011/relationships/chartColorStyle" Target="colors230.xml"/><Relationship Id="rId3" Type="http://schemas.openxmlformats.org/officeDocument/2006/relationships/package" Target="../embeddings/Microsoft_Excel_Worksheet417.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1.xml.rels><?xml version='1.0' encoding='UTF-8' standalone='yes'?>
<Relationships xmlns="http://schemas.openxmlformats.org/package/2006/relationships"><Relationship Id="rId1" Type="http://schemas.microsoft.com/office/2011/relationships/chartStyle" Target="style233.xml"/><Relationship Id="rId2" Type="http://schemas.microsoft.com/office/2011/relationships/chartColorStyle" Target="colors233.xml"/><Relationship Id="rId3" Type="http://schemas.openxmlformats.org/officeDocument/2006/relationships/package" Target="../embeddings/Microsoft_Excel_Worksheet420.xlsx"/></Relationships>
</file>

<file path=ppt/charts/_rels/chart423.xml.rels><?xml version='1.0' encoding='UTF-8' standalone='yes'?>
<Relationships xmlns="http://schemas.openxmlformats.org/package/2006/relationships"><Relationship Id="rId1" Type="http://schemas.microsoft.com/office/2011/relationships/chartStyle" Target="style235.xml"/><Relationship Id="rId2" Type="http://schemas.microsoft.com/office/2011/relationships/chartColorStyle" Target="colors235.xml"/><Relationship Id="rId3"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microsoft.com/office/2011/relationships/chartStyle" Target="style236.xml"/><Relationship Id="rId2" Type="http://schemas.microsoft.com/office/2011/relationships/chartColorStyle" Target="colors236.xml"/><Relationship Id="rId3"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microsoft.com/office/2011/relationships/chartStyle" Target="style237.xml"/><Relationship Id="rId2" Type="http://schemas.microsoft.com/office/2011/relationships/chartColorStyle" Target="colors237.xml"/><Relationship Id="rId3" Type="http://schemas.openxmlformats.org/officeDocument/2006/relationships/package" Target="../embeddings/Microsoft_Excel_Worksheet424.xlsx"/></Relationships>
</file>

<file path=ppt/charts/_rels/chart427.xml.rels><?xml version='1.0' encoding='UTF-8' standalone='yes'?>
<Relationships xmlns="http://schemas.openxmlformats.org/package/2006/relationships"><Relationship Id="rId1" Type="http://schemas.microsoft.com/office/2011/relationships/chartStyle" Target="style239.xml"/><Relationship Id="rId2" Type="http://schemas.microsoft.com/office/2011/relationships/chartColorStyle" Target="colors239.xml"/><Relationship Id="rId3"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microsoft.com/office/2011/relationships/chartStyle" Target="style240.xml"/><Relationship Id="rId2" Type="http://schemas.microsoft.com/office/2011/relationships/chartColorStyle" Target="colors240.xml"/><Relationship Id="rId3"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microsoft.com/office/2011/relationships/chartStyle" Target="style241.xml"/><Relationship Id="rId2" Type="http://schemas.microsoft.com/office/2011/relationships/chartColorStyle" Target="colors241.xml"/><Relationship Id="rId3"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2.xml.rels><?xml version='1.0' encoding='UTF-8' standalone='yes'?>
<Relationships xmlns="http://schemas.openxmlformats.org/package/2006/relationships"><Relationship Id="rId1" Type="http://schemas.microsoft.com/office/2011/relationships/chartStyle" Target="style244.xml"/><Relationship Id="rId2" Type="http://schemas.microsoft.com/office/2011/relationships/chartColorStyle" Target="colors244.xml"/><Relationship Id="rId3"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microsoft.com/office/2011/relationships/chartStyle" Target="style245.xml"/><Relationship Id="rId2" Type="http://schemas.microsoft.com/office/2011/relationships/chartColorStyle" Target="colors245.xml"/><Relationship Id="rId3"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microsoft.com/office/2011/relationships/chartStyle" Target="style246.xml"/><Relationship Id="rId2" Type="http://schemas.microsoft.com/office/2011/relationships/chartColorStyle" Target="colors246.xml"/><Relationship Id="rId3" Type="http://schemas.openxmlformats.org/officeDocument/2006/relationships/package" Target="../embeddings/Microsoft_Excel_Worksheet433.xlsx"/></Relationships>
</file>

<file path=ppt/charts/_rels/chart437.xml.rels><?xml version='1.0' encoding='UTF-8' standalone='yes'?>
<Relationships xmlns="http://schemas.openxmlformats.org/package/2006/relationships"><Relationship Id="rId1" Type="http://schemas.microsoft.com/office/2011/relationships/chartStyle" Target="style249.xml"/><Relationship Id="rId2" Type="http://schemas.microsoft.com/office/2011/relationships/chartColorStyle" Target="colors249.xml"/><Relationship Id="rId3"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microsoft.com/office/2011/relationships/chartStyle" Target="style250.xml"/><Relationship Id="rId2" Type="http://schemas.microsoft.com/office/2011/relationships/chartColorStyle" Target="colors250.xml"/><Relationship Id="rId3"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microsoft.com/office/2011/relationships/chartStyle" Target="style251.xml"/><Relationship Id="rId2" Type="http://schemas.microsoft.com/office/2011/relationships/chartColorStyle" Target="colors251.xml"/><Relationship Id="rId3" Type="http://schemas.openxmlformats.org/officeDocument/2006/relationships/package" Target="../embeddings/Microsoft_Excel_Worksheet438.xlsx"/></Relationships>
</file>

<file path=ppt/charts/_rels/chart441.xml.rels><?xml version='1.0' encoding='UTF-8' standalone='yes'?>
<Relationships xmlns="http://schemas.openxmlformats.org/package/2006/relationships"><Relationship Id="rId1" Type="http://schemas.microsoft.com/office/2011/relationships/chartStyle" Target="style253.xml"/><Relationship Id="rId2" Type="http://schemas.microsoft.com/office/2011/relationships/chartColorStyle" Target="colors253.xml"/><Relationship Id="rId3" Type="http://schemas.openxmlformats.org/officeDocument/2006/relationships/package" Target="../embeddings/Microsoft_Excel_Worksheet440.xlsx"/></Relationships>
</file>

<file path=ppt/charts/_rels/chart443.xml.rels><?xml version='1.0' encoding='UTF-8' standalone='yes'?>
<Relationships xmlns="http://schemas.openxmlformats.org/package/2006/relationships"><Relationship Id="rId1" Type="http://schemas.microsoft.com/office/2011/relationships/chartStyle" Target="style255.xml"/><Relationship Id="rId2" Type="http://schemas.microsoft.com/office/2011/relationships/chartColorStyle" Target="colors255.xml"/><Relationship Id="rId3"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microsoft.com/office/2011/relationships/chartStyle" Target="style256.xml"/><Relationship Id="rId2" Type="http://schemas.microsoft.com/office/2011/relationships/chartColorStyle" Target="colors256.xml"/><Relationship Id="rId3"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microsoft.com/office/2011/relationships/chartStyle" Target="style257.xml"/><Relationship Id="rId2" Type="http://schemas.microsoft.com/office/2011/relationships/chartColorStyle" Target="colors257.xml"/><Relationship Id="rId3" Type="http://schemas.openxmlformats.org/officeDocument/2006/relationships/package" Target="../embeddings/Microsoft_Excel_Worksheet444.xlsx"/></Relationships>
</file>

<file path=ppt/charts/_rels/chart448.xml.rels><?xml version='1.0' encoding='UTF-8' standalone='yes'?>
<Relationships xmlns="http://schemas.openxmlformats.org/package/2006/relationships"><Relationship Id="rId1" Type="http://schemas.microsoft.com/office/2011/relationships/chartStyle" Target="style260.xml"/><Relationship Id="rId2" Type="http://schemas.microsoft.com/office/2011/relationships/chartColorStyle" Target="colors260.xml"/><Relationship Id="rId3"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microsoft.com/office/2011/relationships/chartStyle" Target="style261.xml"/><Relationship Id="rId2" Type="http://schemas.microsoft.com/office/2011/relationships/chartColorStyle" Target="colors261.xml"/><Relationship Id="rId3" Type="http://schemas.openxmlformats.org/officeDocument/2006/relationships/package" Target="../embeddings/Microsoft_Excel_Worksheet448.xlsx"/></Relationships>
</file>

<file path=ppt/charts/_rels/chart450.xml.rels><?xml version='1.0' encoding='UTF-8' standalone='yes'?>
<Relationships xmlns="http://schemas.openxmlformats.org/package/2006/relationships"><Relationship Id="rId1" Type="http://schemas.microsoft.com/office/2011/relationships/chartStyle" Target="style262.xml"/><Relationship Id="rId2" Type="http://schemas.microsoft.com/office/2011/relationships/chartColorStyle" Target="colors262.xml"/><Relationship Id="rId3" Type="http://schemas.openxmlformats.org/officeDocument/2006/relationships/package" Target="../embeddings/Microsoft_Excel_Worksheet449.xlsx"/></Relationships>
</file>

<file path=ppt/charts/_rels/chart452.xml.rels><?xml version='1.0' encoding='UTF-8' standalone='yes'?>
<Relationships xmlns="http://schemas.openxmlformats.org/package/2006/relationships"><Relationship Id="rId1" Type="http://schemas.microsoft.com/office/2011/relationships/chartStyle" Target="style264.xml"/><Relationship Id="rId2" Type="http://schemas.microsoft.com/office/2011/relationships/chartColorStyle" Target="colors264.xml"/><Relationship Id="rId3" Type="http://schemas.openxmlformats.org/officeDocument/2006/relationships/package" Target="../embeddings/Microsoft_Excel_Worksheet451.xlsx"/></Relationships>
</file>

<file path=ppt/charts/_rels/chart455.xml.rels><?xml version='1.0' encoding='UTF-8' standalone='yes'?>
<Relationships xmlns="http://schemas.openxmlformats.org/package/2006/relationships"><Relationship Id="rId1" Type="http://schemas.microsoft.com/office/2011/relationships/chartStyle" Target="style267.xml"/><Relationship Id="rId2" Type="http://schemas.microsoft.com/office/2011/relationships/chartColorStyle" Target="colors267.xml"/><Relationship Id="rId3"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microsoft.com/office/2011/relationships/chartStyle" Target="style268.xml"/><Relationship Id="rId2" Type="http://schemas.microsoft.com/office/2011/relationships/chartColorStyle" Target="colors268.xml"/><Relationship Id="rId3" Type="http://schemas.openxmlformats.org/officeDocument/2006/relationships/package" Target="../embeddings/Microsoft_Excel_Worksheet455.xlsx"/></Relationships>
</file>

<file path=ppt/charts/_rels/chart459.xml.rels><?xml version='1.0' encoding='UTF-8' standalone='yes'?>
<Relationships xmlns="http://schemas.openxmlformats.org/package/2006/relationships"><Relationship Id="rId1" Type="http://schemas.microsoft.com/office/2011/relationships/chartStyle" Target="style271.xml"/><Relationship Id="rId2" Type="http://schemas.microsoft.com/office/2011/relationships/chartColorStyle" Target="colors271.xml"/><Relationship Id="rId3"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microsoft.com/office/2011/relationships/chartStyle" Target="style272.xml"/><Relationship Id="rId2" Type="http://schemas.microsoft.com/office/2011/relationships/chartColorStyle" Target="colors272.xml"/><Relationship Id="rId3"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microsoft.com/office/2011/relationships/chartStyle" Target="style273.xml"/><Relationship Id="rId2" Type="http://schemas.microsoft.com/office/2011/relationships/chartColorStyle" Target="colors273.xml"/><Relationship Id="rId3"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microsoft.com/office/2011/relationships/chartStyle" Target="style274.xml"/><Relationship Id="rId2" Type="http://schemas.microsoft.com/office/2011/relationships/chartColorStyle" Target="colors274.xml"/><Relationship Id="rId3"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microsoft.com/office/2011/relationships/chartStyle" Target="style275.xml"/><Relationship Id="rId2" Type="http://schemas.microsoft.com/office/2011/relationships/chartColorStyle" Target="colors275.xml"/><Relationship Id="rId3" Type="http://schemas.openxmlformats.org/officeDocument/2006/relationships/package" Target="../embeddings/Microsoft_Excel_Worksheet462.xlsx"/></Relationships>
</file>

<file path=ppt/charts/_rels/chart466.xml.rels><?xml version='1.0' encoding='UTF-8' standalone='yes'?>
<Relationships xmlns="http://schemas.openxmlformats.org/package/2006/relationships"><Relationship Id="rId1" Type="http://schemas.microsoft.com/office/2011/relationships/chartStyle" Target="style278.xml"/><Relationship Id="rId2" Type="http://schemas.microsoft.com/office/2011/relationships/chartColorStyle" Target="colors278.xml"/><Relationship Id="rId3"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microsoft.com/office/2011/relationships/chartStyle" Target="style279.xml"/><Relationship Id="rId2" Type="http://schemas.microsoft.com/office/2011/relationships/chartColorStyle" Target="colors279.xml"/><Relationship Id="rId3" Type="http://schemas.openxmlformats.org/officeDocument/2006/relationships/package" Target="../embeddings/Microsoft_Excel_Worksheet466.xlsx"/></Relationships>
</file>

<file path=ppt/charts/_rels/chart470.xml.rels><?xml version='1.0' encoding='UTF-8' standalone='yes'?>
<Relationships xmlns="http://schemas.openxmlformats.org/package/2006/relationships"><Relationship Id="rId1" Type="http://schemas.microsoft.com/office/2011/relationships/chartStyle" Target="style282.xml"/><Relationship Id="rId2" Type="http://schemas.microsoft.com/office/2011/relationships/chartColorStyle" Target="colors282.xml"/><Relationship Id="rId3"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microsoft.com/office/2011/relationships/chartStyle" Target="style283.xml"/><Relationship Id="rId2" Type="http://schemas.microsoft.com/office/2011/relationships/chartColorStyle" Target="colors283.xml"/><Relationship Id="rId3"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microsoft.com/office/2011/relationships/chartStyle" Target="style284.xml"/><Relationship Id="rId2" Type="http://schemas.microsoft.com/office/2011/relationships/chartColorStyle" Target="colors284.xml"/><Relationship Id="rId3"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microsoft.com/office/2011/relationships/chartStyle" Target="style285.xml"/><Relationship Id="rId2" Type="http://schemas.microsoft.com/office/2011/relationships/chartColorStyle" Target="colors285.xml"/><Relationship Id="rId3"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microsoft.com/office/2011/relationships/chartStyle" Target="style286.xml"/><Relationship Id="rId2" Type="http://schemas.microsoft.com/office/2011/relationships/chartColorStyle" Target="colors286.xml"/><Relationship Id="rId3" Type="http://schemas.openxmlformats.org/officeDocument/2006/relationships/package" Target="../embeddings/Microsoft_Excel_Worksheet473.xlsx"/></Relationships>
</file>

<file path=ppt/charts/_rels/chart477.xml.rels><?xml version='1.0' encoding='UTF-8' standalone='yes'?>
<Relationships xmlns="http://schemas.openxmlformats.org/package/2006/relationships"><Relationship Id="rId1" Type="http://schemas.microsoft.com/office/2011/relationships/chartStyle" Target="style289.xml"/><Relationship Id="rId2" Type="http://schemas.microsoft.com/office/2011/relationships/chartColorStyle" Target="colors289.xml"/><Relationship Id="rId3"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microsoft.com/office/2011/relationships/chartStyle" Target="style290.xml"/><Relationship Id="rId2" Type="http://schemas.microsoft.com/office/2011/relationships/chartColorStyle" Target="colors290.xml"/><Relationship Id="rId3"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microsoft.com/office/2011/relationships/chartStyle" Target="style291.xml"/><Relationship Id="rId2" Type="http://schemas.microsoft.com/office/2011/relationships/chartColorStyle" Target="colors291.xml"/><Relationship Id="rId3"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1.xml.rels><?xml version='1.0' encoding='UTF-8' standalone='yes'?>
<Relationships xmlns="http://schemas.openxmlformats.org/package/2006/relationships"><Relationship Id="rId1" Type="http://schemas.microsoft.com/office/2011/relationships/chartStyle" Target="style293.xml"/><Relationship Id="rId2" Type="http://schemas.microsoft.com/office/2011/relationships/chartColorStyle" Target="colors293.xml"/><Relationship Id="rId3" Type="http://schemas.openxmlformats.org/officeDocument/2006/relationships/package" Target="../embeddings/Microsoft_Excel_Worksheet480.xlsx"/></Relationships>
</file>

<file path=ppt/charts/_rels/chart483.xml.rels><?xml version='1.0' encoding='UTF-8' standalone='yes'?>
<Relationships xmlns="http://schemas.openxmlformats.org/package/2006/relationships"><Relationship Id="rId1" Type="http://schemas.microsoft.com/office/2011/relationships/chartStyle" Target="style295.xml"/><Relationship Id="rId2" Type="http://schemas.microsoft.com/office/2011/relationships/chartColorStyle" Target="colors295.xml"/><Relationship Id="rId3"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microsoft.com/office/2011/relationships/chartStyle" Target="style296.xml"/><Relationship Id="rId2" Type="http://schemas.microsoft.com/office/2011/relationships/chartColorStyle" Target="colors296.xml"/><Relationship Id="rId3"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microsoft.com/office/2011/relationships/chartStyle" Target="style297.xml"/><Relationship Id="rId2" Type="http://schemas.microsoft.com/office/2011/relationships/chartColorStyle" Target="colors297.xml"/><Relationship Id="rId3" Type="http://schemas.openxmlformats.org/officeDocument/2006/relationships/package" Target="../embeddings/Microsoft_Excel_Worksheet484.xlsx"/></Relationships>
</file>

<file path=ppt/charts/_rels/chart488.xml.rels><?xml version='1.0' encoding='UTF-8' standalone='yes'?>
<Relationships xmlns="http://schemas.openxmlformats.org/package/2006/relationships"><Relationship Id="rId1" Type="http://schemas.microsoft.com/office/2011/relationships/chartStyle" Target="style300.xml"/><Relationship Id="rId2" Type="http://schemas.microsoft.com/office/2011/relationships/chartColorStyle" Target="colors300.xml"/><Relationship Id="rId3"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microsoft.com/office/2011/relationships/chartStyle" Target="style301.xml"/><Relationship Id="rId2" Type="http://schemas.microsoft.com/office/2011/relationships/chartColorStyle" Target="colors301.xml"/><Relationship Id="rId3"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microsoft.com/office/2011/relationships/chartStyle" Target="style302.xml"/><Relationship Id="rId2" Type="http://schemas.microsoft.com/office/2011/relationships/chartColorStyle" Target="colors302.xml"/><Relationship Id="rId3" Type="http://schemas.openxmlformats.org/officeDocument/2006/relationships/package" Target="../embeddings/Microsoft_Excel_Worksheet489.xlsx"/></Relationships>
</file>

<file path=ppt/charts/_rels/chart492.xml.rels><?xml version='1.0' encoding='UTF-8' standalone='yes'?>
<Relationships xmlns="http://schemas.openxmlformats.org/package/2006/relationships"><Relationship Id="rId1" Type="http://schemas.microsoft.com/office/2011/relationships/chartStyle" Target="style304.xml"/><Relationship Id="rId2" Type="http://schemas.microsoft.com/office/2011/relationships/chartColorStyle" Target="colors304.xml"/><Relationship Id="rId3" Type="http://schemas.openxmlformats.org/officeDocument/2006/relationships/package" Target="../embeddings/Microsoft_Excel_Worksheet491.xlsx"/></Relationships>
</file>

<file path=ppt/charts/_rels/chart494.xml.rels><?xml version='1.0' encoding='UTF-8' standalone='yes'?>
<Relationships xmlns="http://schemas.openxmlformats.org/package/2006/relationships"><Relationship Id="rId1" Type="http://schemas.microsoft.com/office/2011/relationships/chartStyle" Target="style306.xml"/><Relationship Id="rId2" Type="http://schemas.microsoft.com/office/2011/relationships/chartColorStyle" Target="colors306.xml"/><Relationship Id="rId3"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microsoft.com/office/2011/relationships/chartStyle" Target="style307.xml"/><Relationship Id="rId2" Type="http://schemas.microsoft.com/office/2011/relationships/chartColorStyle" Target="colors307.xml"/><Relationship Id="rId3"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microsoft.com/office/2011/relationships/chartStyle" Target="style308.xml"/><Relationship Id="rId2" Type="http://schemas.microsoft.com/office/2011/relationships/chartColorStyle" Target="colors308.xml"/><Relationship Id="rId3" Type="http://schemas.openxmlformats.org/officeDocument/2006/relationships/package" Target="../embeddings/Microsoft_Excel_Worksheet495.xlsx"/></Relationships>
</file>

<file path=ppt/charts/_rels/chart499.xml.rels><?xml version='1.0' encoding='UTF-8' standalone='yes'?>
<Relationships xmlns="http://schemas.openxmlformats.org/package/2006/relationships"><Relationship Id="rId1" Type="http://schemas.microsoft.com/office/2011/relationships/chartStyle" Target="style311.xml"/><Relationship Id="rId2" Type="http://schemas.microsoft.com/office/2011/relationships/chartColorStyle" Target="colors311.xml"/><Relationship Id="rId3" Type="http://schemas.openxmlformats.org/officeDocument/2006/relationships/package" Target="../embeddings/Microsoft_Excel_Worksheet498.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microsoft.com/office/2011/relationships/chartStyle" Target="style312.xml"/><Relationship Id="rId2" Type="http://schemas.microsoft.com/office/2011/relationships/chartColorStyle" Target="colors312.xml"/><Relationship Id="rId3"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microsoft.com/office/2011/relationships/chartStyle" Target="style313.xml"/><Relationship Id="rId2" Type="http://schemas.microsoft.com/office/2011/relationships/chartColorStyle" Target="colors313.xml"/><Relationship Id="rId3"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microsoft.com/office/2011/relationships/chartStyle" Target="style314.xml"/><Relationship Id="rId2" Type="http://schemas.microsoft.com/office/2011/relationships/chartColorStyle" Target="colors314.xml"/><Relationship Id="rId3"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microsoft.com/office/2011/relationships/chartStyle" Target="style315.xml"/><Relationship Id="rId2" Type="http://schemas.microsoft.com/office/2011/relationships/chartColorStyle" Target="colors315.xml"/><Relationship Id="rId3" Type="http://schemas.openxmlformats.org/officeDocument/2006/relationships/package" Target="../embeddings/Microsoft_Excel_Worksheet502.xlsx"/></Relationships>
</file>

<file path=ppt/charts/_rels/chart505.xml.rels><?xml version='1.0' encoding='UTF-8' standalone='yes'?>
<Relationships xmlns="http://schemas.openxmlformats.org/package/2006/relationships"><Relationship Id="rId1" Type="http://schemas.microsoft.com/office/2011/relationships/chartStyle" Target="style317.xml"/><Relationship Id="rId2" Type="http://schemas.microsoft.com/office/2011/relationships/chartColorStyle" Target="colors317.xml"/><Relationship Id="rId3"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microsoft.com/office/2011/relationships/chartStyle" Target="style318.xml"/><Relationship Id="rId2" Type="http://schemas.microsoft.com/office/2011/relationships/chartColorStyle" Target="colors318.xml"/><Relationship Id="rId3"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microsoft.com/office/2011/relationships/chartStyle" Target="style319.xml"/><Relationship Id="rId2" Type="http://schemas.microsoft.com/office/2011/relationships/chartColorStyle" Target="colors319.xml"/><Relationship Id="rId3" Type="http://schemas.openxmlformats.org/officeDocument/2006/relationships/package" Target="../embeddings/Microsoft_Excel_Worksheet506.xlsx"/></Relationships>
</file>

<file path=ppt/charts/_rels/chart510.xml.rels><?xml version='1.0' encoding='UTF-8' standalone='yes'?>
<Relationships xmlns="http://schemas.openxmlformats.org/package/2006/relationships"><Relationship Id="rId1" Type="http://schemas.microsoft.com/office/2011/relationships/chartStyle" Target="style322.xml"/><Relationship Id="rId2" Type="http://schemas.microsoft.com/office/2011/relationships/chartColorStyle" Target="colors322.xml"/><Relationship Id="rId3"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microsoft.com/office/2011/relationships/chartStyle" Target="style323.xml"/><Relationship Id="rId2" Type="http://schemas.microsoft.com/office/2011/relationships/chartColorStyle" Target="colors323.xml"/><Relationship Id="rId3"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microsoft.com/office/2011/relationships/chartStyle" Target="style324.xml"/><Relationship Id="rId2" Type="http://schemas.microsoft.com/office/2011/relationships/chartColorStyle" Target="colors324.xml"/><Relationship Id="rId3"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microsoft.com/office/2011/relationships/chartStyle" Target="style325.xml"/><Relationship Id="rId2" Type="http://schemas.microsoft.com/office/2011/relationships/chartColorStyle" Target="colors325.xml"/><Relationship Id="rId3"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microsoft.com/office/2011/relationships/chartStyle" Target="style326.xml"/><Relationship Id="rId2" Type="http://schemas.microsoft.com/office/2011/relationships/chartColorStyle" Target="colors326.xml"/><Relationship Id="rId3" Type="http://schemas.openxmlformats.org/officeDocument/2006/relationships/package" Target="../embeddings/Microsoft_Excel_Worksheet513.xlsx"/></Relationships>
</file>

<file path=ppt/charts/_rels/chart516.xml.rels><?xml version='1.0' encoding='UTF-8' standalone='yes'?>
<Relationships xmlns="http://schemas.openxmlformats.org/package/2006/relationships"><Relationship Id="rId1" Type="http://schemas.microsoft.com/office/2011/relationships/chartStyle" Target="style328.xml"/><Relationship Id="rId2" Type="http://schemas.microsoft.com/office/2011/relationships/chartColorStyle" Target="colors328.xml"/><Relationship Id="rId3"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microsoft.com/office/2011/relationships/chartStyle" Target="style329.xml"/><Relationship Id="rId2" Type="http://schemas.microsoft.com/office/2011/relationships/chartColorStyle" Target="colors329.xml"/><Relationship Id="rId3"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microsoft.com/office/2011/relationships/chartStyle" Target="style330.xml"/><Relationship Id="rId2" Type="http://schemas.microsoft.com/office/2011/relationships/chartColorStyle" Target="colors330.xml"/><Relationship Id="rId3" Type="http://schemas.openxmlformats.org/officeDocument/2006/relationships/package" Target="../embeddings/Microsoft_Excel_Worksheet517.xlsx"/></Relationships>
</file>

<file path=ppt/charts/_rels/chart521.xml.rels><?xml version='1.0' encoding='UTF-8' standalone='yes'?>
<Relationships xmlns="http://schemas.openxmlformats.org/package/2006/relationships"><Relationship Id="rId1" Type="http://schemas.microsoft.com/office/2011/relationships/chartStyle" Target="style333.xml"/><Relationship Id="rId2" Type="http://schemas.microsoft.com/office/2011/relationships/chartColorStyle" Target="colors333.xml"/><Relationship Id="rId3" Type="http://schemas.openxmlformats.org/officeDocument/2006/relationships/package" Target="../embeddings/Microsoft_Excel_Worksheet520.xlsx"/></Relationships>
</file>

<file path=ppt/charts/_rels/chart523.xml.rels><?xml version='1.0' encoding='UTF-8' standalone='yes'?>
<Relationships xmlns="http://schemas.openxmlformats.org/package/2006/relationships"><Relationship Id="rId1" Type="http://schemas.microsoft.com/office/2011/relationships/chartStyle" Target="style335.xml"/><Relationship Id="rId2" Type="http://schemas.microsoft.com/office/2011/relationships/chartColorStyle" Target="colors335.xml"/><Relationship Id="rId3"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microsoft.com/office/2011/relationships/chartStyle" Target="style336.xml"/><Relationship Id="rId2" Type="http://schemas.microsoft.com/office/2011/relationships/chartColorStyle" Target="colors336.xml"/><Relationship Id="rId3"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microsoft.com/office/2011/relationships/chartStyle" Target="style337.xml"/><Relationship Id="rId2" Type="http://schemas.microsoft.com/office/2011/relationships/chartColorStyle" Target="colors337.xml"/><Relationship Id="rId3" Type="http://schemas.openxmlformats.org/officeDocument/2006/relationships/package" Target="../embeddings/Microsoft_Excel_Worksheet524.xlsx"/></Relationships>
</file>

<file path=ppt/charts/_rels/chart527.xml.rels><?xml version='1.0' encoding='UTF-8' standalone='yes'?>
<Relationships xmlns="http://schemas.openxmlformats.org/package/2006/relationships"><Relationship Id="rId1" Type="http://schemas.microsoft.com/office/2011/relationships/chartStyle" Target="style339.xml"/><Relationship Id="rId2" Type="http://schemas.microsoft.com/office/2011/relationships/chartColorStyle" Target="colors339.xml"/><Relationship Id="rId3"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microsoft.com/office/2011/relationships/chartStyle" Target="style340.xml"/><Relationship Id="rId2" Type="http://schemas.microsoft.com/office/2011/relationships/chartColorStyle" Target="colors340.xml"/><Relationship Id="rId3"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microsoft.com/office/2011/relationships/chartStyle" Target="style341.xml"/><Relationship Id="rId2" Type="http://schemas.microsoft.com/office/2011/relationships/chartColorStyle" Target="colors341.xml"/><Relationship Id="rId3"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3.xml.rels><?xml version='1.0' encoding='UTF-8' standalone='yes'?>
<Relationships xmlns="http://schemas.openxmlformats.org/package/2006/relationships"><Relationship Id="rId1" Type="http://schemas.microsoft.com/office/2011/relationships/chartStyle" Target="style345.xml"/><Relationship Id="rId2" Type="http://schemas.microsoft.com/office/2011/relationships/chartColorStyle" Target="colors345.xml"/><Relationship Id="rId3"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microsoft.com/office/2011/relationships/chartStyle" Target="style346.xml"/><Relationship Id="rId2" Type="http://schemas.microsoft.com/office/2011/relationships/chartColorStyle" Target="colors346.xml"/><Relationship Id="rId3"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microsoft.com/office/2011/relationships/chartStyle" Target="style347.xml"/><Relationship Id="rId2" Type="http://schemas.microsoft.com/office/2011/relationships/chartColorStyle" Target="colors347.xml"/><Relationship Id="rId3" Type="http://schemas.openxmlformats.org/officeDocument/2006/relationships/package" Target="../embeddings/Microsoft_Excel_Worksheet534.xlsx"/></Relationships>
</file>

<file path=ppt/charts/_rels/chart537.xml.rels><?xml version='1.0' encoding='UTF-8' standalone='yes'?>
<Relationships xmlns="http://schemas.openxmlformats.org/package/2006/relationships"><Relationship Id="rId1" Type="http://schemas.microsoft.com/office/2011/relationships/chartStyle" Target="style349.xml"/><Relationship Id="rId2" Type="http://schemas.microsoft.com/office/2011/relationships/chartColorStyle" Target="colors349.xml"/><Relationship Id="rId3"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microsoft.com/office/2011/relationships/chartStyle" Target="style350.xml"/><Relationship Id="rId2" Type="http://schemas.microsoft.com/office/2011/relationships/chartColorStyle" Target="colors350.xml"/><Relationship Id="rId3"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microsoft.com/office/2011/relationships/chartStyle" Target="style351.xml"/><Relationship Id="rId2" Type="http://schemas.microsoft.com/office/2011/relationships/chartColorStyle" Target="colors351.xml"/><Relationship Id="rId3"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1.xml.rels><?xml version='1.0' encoding='UTF-8' standalone='yes'?>
<Relationships xmlns="http://schemas.openxmlformats.org/package/2006/relationships"><Relationship Id="rId1" Type="http://schemas.microsoft.com/office/2011/relationships/chartStyle" Target="style353.xml"/><Relationship Id="rId2" Type="http://schemas.microsoft.com/office/2011/relationships/chartColorStyle" Target="colors353.xml"/><Relationship Id="rId3" Type="http://schemas.openxmlformats.org/officeDocument/2006/relationships/package" Target="../embeddings/Microsoft_Excel_Worksheet540.xlsx"/></Relationships>
</file>

<file path=ppt/charts/_rels/chart544.xml.rels><?xml version='1.0' encoding='UTF-8' standalone='yes'?>
<Relationships xmlns="http://schemas.openxmlformats.org/package/2006/relationships"><Relationship Id="rId1" Type="http://schemas.microsoft.com/office/2011/relationships/chartStyle" Target="style356.xml"/><Relationship Id="rId2" Type="http://schemas.microsoft.com/office/2011/relationships/chartColorStyle" Target="colors356.xml"/><Relationship Id="rId3"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microsoft.com/office/2011/relationships/chartStyle" Target="style357.xml"/><Relationship Id="rId2" Type="http://schemas.microsoft.com/office/2011/relationships/chartColorStyle" Target="colors357.xml"/><Relationship Id="rId3"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microsoft.com/office/2011/relationships/chartStyle" Target="style358.xml"/><Relationship Id="rId2" Type="http://schemas.microsoft.com/office/2011/relationships/chartColorStyle" Target="colors358.xml"/><Relationship Id="rId3" Type="http://schemas.openxmlformats.org/officeDocument/2006/relationships/package" Target="../embeddings/Microsoft_Excel_Worksheet545.xlsx"/></Relationships>
</file>

<file path=ppt/charts/_rels/chart548.xml.rels><?xml version='1.0' encoding='UTF-8' standalone='yes'?>
<Relationships xmlns="http://schemas.openxmlformats.org/package/2006/relationships"><Relationship Id="rId1" Type="http://schemas.microsoft.com/office/2011/relationships/chartStyle" Target="style360.xml"/><Relationship Id="rId2" Type="http://schemas.microsoft.com/office/2011/relationships/chartColorStyle" Target="colors360.xml"/><Relationship Id="rId3"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microsoft.com/office/2011/relationships/chartStyle" Target="style361.xml"/><Relationship Id="rId2" Type="http://schemas.microsoft.com/office/2011/relationships/chartColorStyle" Target="colors361.xml"/><Relationship Id="rId3" Type="http://schemas.openxmlformats.org/officeDocument/2006/relationships/package" Target="../embeddings/Microsoft_Excel_Worksheet548.xlsx"/></Relationships>
</file>

<file path=ppt/charts/_rels/chart550.xml.rels><?xml version='1.0' encoding='UTF-8' standalone='yes'?>
<Relationships xmlns="http://schemas.openxmlformats.org/package/2006/relationships"><Relationship Id="rId1" Type="http://schemas.microsoft.com/office/2011/relationships/chartStyle" Target="style362.xml"/><Relationship Id="rId2" Type="http://schemas.microsoft.com/office/2011/relationships/chartColorStyle" Target="colors362.xml"/><Relationship Id="rId3" Type="http://schemas.openxmlformats.org/officeDocument/2006/relationships/package" Target="../embeddings/Microsoft_Excel_Worksheet549.xlsx"/></Relationships>
</file>

<file path=ppt/charts/_rels/chart552.xml.rels><?xml version='1.0' encoding='UTF-8' standalone='yes'?>
<Relationships xmlns="http://schemas.openxmlformats.org/package/2006/relationships"><Relationship Id="rId1" Type="http://schemas.microsoft.com/office/2011/relationships/chartStyle" Target="style364.xml"/><Relationship Id="rId2" Type="http://schemas.microsoft.com/office/2011/relationships/chartColorStyle" Target="colors364.xml"/><Relationship Id="rId3" Type="http://schemas.openxmlformats.org/officeDocument/2006/relationships/package" Target="../embeddings/Microsoft_Excel_Worksheet551.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61.xml.rels><?xml version='1.0' encoding='UTF-8' standalone='yes'?>
<Relationships xmlns="http://schemas.openxmlformats.org/package/2006/relationships"><Relationship Id="rId1" Type="http://schemas.openxmlformats.org/officeDocument/2006/relationships/package" Target="../embeddings/Microsoft_Excel_Worksheet660.xlsx"/></Relationships>
</file>

<file path=ppt/charts/_rels/chart662.xml.rels><?xml version='1.0' encoding='UTF-8' standalone='yes'?>
<Relationships xmlns="http://schemas.openxmlformats.org/package/2006/relationships"><Relationship Id="rId1" Type="http://schemas.openxmlformats.org/officeDocument/2006/relationships/package" Target="../embeddings/Microsoft_Excel_Worksheet661.xlsx"/></Relationships>
</file>

<file path=ppt/charts/_rels/chart663.xml.rels><?xml version='1.0' encoding='UTF-8' standalone='yes'?>
<Relationships xmlns="http://schemas.openxmlformats.org/package/2006/relationships"><Relationship Id="rId1" Type="http://schemas.openxmlformats.org/officeDocument/2006/relationships/package" Target="../embeddings/Microsoft_Excel_Worksheet662.xlsx"/></Relationships>
</file>

<file path=ppt/charts/_rels/chart666.xml.rels><?xml version='1.0' encoding='UTF-8' standalone='yes'?>
<Relationships xmlns="http://schemas.openxmlformats.org/package/2006/relationships"><Relationship Id="rId1" Type="http://schemas.openxmlformats.org/officeDocument/2006/relationships/package" Target="../embeddings/Microsoft_Excel_Worksheet665.xlsx"/></Relationships>
</file>

<file path=ppt/charts/_rels/chart667.xml.rels><?xml version='1.0' encoding='UTF-8' standalone='yes'?>
<Relationships xmlns="http://schemas.openxmlformats.org/package/2006/relationships"><Relationship Id="rId1" Type="http://schemas.openxmlformats.org/officeDocument/2006/relationships/package" Target="../embeddings/Microsoft_Excel_Worksheet666.xlsx"/></Relationships>
</file>

<file path=ppt/charts/_rels/chart668.xml.rels><?xml version='1.0' encoding='UTF-8' standalone='yes'?>
<Relationships xmlns="http://schemas.openxmlformats.org/package/2006/relationships"><Relationship Id="rId1" Type="http://schemas.openxmlformats.org/officeDocument/2006/relationships/package" Target="../embeddings/Microsoft_Excel_Worksheet667.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70.xml.rels><?xml version='1.0' encoding='UTF-8' standalone='yes'?>
<Relationships xmlns="http://schemas.openxmlformats.org/package/2006/relationships"><Relationship Id="rId1" Type="http://schemas.openxmlformats.org/officeDocument/2006/relationships/package" Target="../embeddings/Microsoft_Excel_Worksheet669.xlsx"/></Relationships>
</file>

<file path=ppt/charts/_rels/chart671.xml.rels><?xml version='1.0' encoding='UTF-8' standalone='yes'?>
<Relationships xmlns="http://schemas.openxmlformats.org/package/2006/relationships"><Relationship Id="rId1" Type="http://schemas.openxmlformats.org/officeDocument/2006/relationships/package" Target="../embeddings/Microsoft_Excel_Worksheet670.xlsx"/></Relationships>
</file>

<file path=ppt/charts/_rels/chart673.xml.rels><?xml version='1.0' encoding='UTF-8' standalone='yes'?>
<Relationships xmlns="http://schemas.openxmlformats.org/package/2006/relationships"><Relationship Id="rId1" Type="http://schemas.openxmlformats.org/officeDocument/2006/relationships/package" Target="../embeddings/Microsoft_Excel_Worksheet672.xlsx"/></Relationships>
</file>

<file path=ppt/charts/_rels/chart674.xml.rels><?xml version='1.0' encoding='UTF-8' standalone='yes'?>
<Relationships xmlns="http://schemas.openxmlformats.org/package/2006/relationships"><Relationship Id="rId1" Type="http://schemas.openxmlformats.org/officeDocument/2006/relationships/package" Target="../embeddings/Microsoft_Excel_Worksheet673.xlsx"/></Relationships>
</file>

<file path=ppt/charts/_rels/chart677.xml.rels><?xml version='1.0' encoding='UTF-8' standalone='yes'?>
<Relationships xmlns="http://schemas.openxmlformats.org/package/2006/relationships"><Relationship Id="rId1" Type="http://schemas.openxmlformats.org/officeDocument/2006/relationships/package" Target="../embeddings/Microsoft_Excel_Worksheet676.xlsx"/></Relationships>
</file>

<file path=ppt/charts/_rels/chart678.xml.rels><?xml version='1.0' encoding='UTF-8' standalone='yes'?>
<Relationships xmlns="http://schemas.openxmlformats.org/package/2006/relationships"><Relationship Id="rId1" Type="http://schemas.openxmlformats.org/officeDocument/2006/relationships/package" Target="../embeddings/Microsoft_Excel_Worksheet677.xlsx"/></Relationships>
</file>

<file path=ppt/charts/_rels/chart679.xml.rels><?xml version='1.0' encoding='UTF-8' standalone='yes'?>
<Relationships xmlns="http://schemas.openxmlformats.org/package/2006/relationships"><Relationship Id="rId1" Type="http://schemas.openxmlformats.org/officeDocument/2006/relationships/package" Target="../embeddings/Microsoft_Excel_Worksheet678.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81.xml.rels><?xml version='1.0' encoding='UTF-8' standalone='yes'?>
<Relationships xmlns="http://schemas.openxmlformats.org/package/2006/relationships"><Relationship Id="rId1" Type="http://schemas.openxmlformats.org/officeDocument/2006/relationships/package" Target="../embeddings/Microsoft_Excel_Worksheet680.xlsx"/></Relationships>
</file>

<file path=ppt/charts/_rels/chart684.xml.rels><?xml version='1.0' encoding='UTF-8' standalone='yes'?>
<Relationships xmlns="http://schemas.openxmlformats.org/package/2006/relationships"><Relationship Id="rId1" Type="http://schemas.openxmlformats.org/officeDocument/2006/relationships/package" Target="../embeddings/Microsoft_Excel_Worksheet683.xlsx"/></Relationships>
</file>

<file path=ppt/charts/_rels/chart685.xml.rels><?xml version='1.0' encoding='UTF-8' standalone='yes'?>
<Relationships xmlns="http://schemas.openxmlformats.org/package/2006/relationships"><Relationship Id="rId1" Type="http://schemas.openxmlformats.org/officeDocument/2006/relationships/package" Target="../embeddings/Microsoft_Excel_Worksheet684.xlsx"/></Relationships>
</file>

<file path=ppt/charts/_rels/chart686.xml.rels><?xml version='1.0' encoding='UTF-8' standalone='yes'?>
<Relationships xmlns="http://schemas.openxmlformats.org/package/2006/relationships"><Relationship Id="rId1" Type="http://schemas.openxmlformats.org/officeDocument/2006/relationships/package" Target="../embeddings/Microsoft_Excel_Worksheet685.xlsx"/></Relationships>
</file>

<file path=ppt/charts/_rels/chart688.xml.rels><?xml version='1.0' encoding='UTF-8' standalone='yes'?>
<Relationships xmlns="http://schemas.openxmlformats.org/package/2006/relationships"><Relationship Id="rId1" Type="http://schemas.openxmlformats.org/officeDocument/2006/relationships/package" Target="../embeddings/Microsoft_Excel_Worksheet687.xlsx"/></Relationships>
</file>

<file path=ppt/charts/_rels/chart689.xml.rels><?xml version='1.0' encoding='UTF-8' standalone='yes'?>
<Relationships xmlns="http://schemas.openxmlformats.org/package/2006/relationships"><Relationship Id="rId1" Type="http://schemas.openxmlformats.org/officeDocument/2006/relationships/package" Target="../embeddings/Microsoft_Excel_Worksheet688.xlsx"/></Relationships>
</file>

<file path=ppt/charts/_rels/chart690.xml.rels><?xml version='1.0' encoding='UTF-8' standalone='yes'?>
<Relationships xmlns="http://schemas.openxmlformats.org/package/2006/relationships"><Relationship Id="rId1" Type="http://schemas.openxmlformats.org/officeDocument/2006/relationships/package" Target="../embeddings/Microsoft_Excel_Worksheet689.xlsx"/></Relationships>
</file>

<file path=ppt/charts/_rels/chart692.xml.rels><?xml version='1.0' encoding='UTF-8' standalone='yes'?>
<Relationships xmlns="http://schemas.openxmlformats.org/package/2006/relationships"><Relationship Id="rId1" Type="http://schemas.openxmlformats.org/officeDocument/2006/relationships/package" Target="../embeddings/Microsoft_Excel_Worksheet691.xlsx"/></Relationships>
</file>

<file path=ppt/charts/_rels/chart695.xml.rels><?xml version='1.0' encoding='UTF-8' standalone='yes'?>
<Relationships xmlns="http://schemas.openxmlformats.org/package/2006/relationships"><Relationship Id="rId1" Type="http://schemas.openxmlformats.org/officeDocument/2006/relationships/package" Target="../embeddings/Microsoft_Excel_Worksheet694.xlsx"/></Relationships>
</file>

<file path=ppt/charts/_rels/chart696.xml.rels><?xml version='1.0' encoding='UTF-8' standalone='yes'?>
<Relationships xmlns="http://schemas.openxmlformats.org/package/2006/relationships"><Relationship Id="rId1" Type="http://schemas.openxmlformats.org/officeDocument/2006/relationships/package" Target="../embeddings/Microsoft_Excel_Worksheet695.xlsx"/></Relationships>
</file>

<file path=ppt/charts/_rels/chart697.xml.rels><?xml version='1.0' encoding='UTF-8' standalone='yes'?>
<Relationships xmlns="http://schemas.openxmlformats.org/package/2006/relationships"><Relationship Id="rId1" Type="http://schemas.openxmlformats.org/officeDocument/2006/relationships/package" Target="../embeddings/Microsoft_Excel_Worksheet696.xlsx"/></Relationships>
</file>

<file path=ppt/charts/_rels/chart699.xml.rels><?xml version='1.0' encoding='UTF-8' standalone='yes'?>
<Relationships xmlns="http://schemas.openxmlformats.org/package/2006/relationships"><Relationship Id="rId1" Type="http://schemas.openxmlformats.org/officeDocument/2006/relationships/package" Target="../embeddings/Microsoft_Excel_Worksheet698.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00.xml.rels><?xml version='1.0' encoding='UTF-8' standalone='yes'?>
<Relationships xmlns="http://schemas.openxmlformats.org/package/2006/relationships"><Relationship Id="rId1" Type="http://schemas.openxmlformats.org/officeDocument/2006/relationships/package" Target="../embeddings/Microsoft_Excel_Worksheet699.xlsx"/></Relationships>
</file>

<file path=ppt/charts/_rels/chart701.xml.rels><?xml version='1.0' encoding='UTF-8' standalone='yes'?>
<Relationships xmlns="http://schemas.openxmlformats.org/package/2006/relationships"><Relationship Id="rId1" Type="http://schemas.openxmlformats.org/officeDocument/2006/relationships/package" Target="../embeddings/Microsoft_Excel_Worksheet700.xlsx"/></Relationships>
</file>

<file path=ppt/charts/_rels/chart702.xml.rels><?xml version='1.0' encoding='UTF-8' standalone='yes'?>
<Relationships xmlns="http://schemas.openxmlformats.org/package/2006/relationships"><Relationship Id="rId1" Type="http://schemas.openxmlformats.org/officeDocument/2006/relationships/package" Target="../embeddings/Microsoft_Excel_Worksheet701.xlsx"/></Relationships>
</file>

<file path=ppt/charts/_rels/chart703.xml.rels><?xml version='1.0' encoding='UTF-8' standalone='yes'?>
<Relationships xmlns="http://schemas.openxmlformats.org/package/2006/relationships"><Relationship Id="rId1" Type="http://schemas.openxmlformats.org/officeDocument/2006/relationships/package" Target="../embeddings/Microsoft_Excel_Worksheet702.xlsx"/></Relationships>
</file>

<file path=ppt/charts/_rels/chart706.xml.rels><?xml version='1.0' encoding='UTF-8' standalone='yes'?>
<Relationships xmlns="http://schemas.openxmlformats.org/package/2006/relationships"><Relationship Id="rId1" Type="http://schemas.openxmlformats.org/officeDocument/2006/relationships/package" Target="../embeddings/Microsoft_Excel_Worksheet705.xlsx"/></Relationships>
</file>

<file path=ppt/charts/_rels/chart707.xml.rels><?xml version='1.0' encoding='UTF-8' standalone='yes'?>
<Relationships xmlns="http://schemas.openxmlformats.org/package/2006/relationships"><Relationship Id="rId1" Type="http://schemas.openxmlformats.org/officeDocument/2006/relationships/package" Target="../embeddings/Microsoft_Excel_Worksheet706.xlsx"/></Relationships>
</file>

<file path=ppt/charts/_rels/chart708.xml.rels><?xml version='1.0' encoding='UTF-8' standalone='yes'?>
<Relationships xmlns="http://schemas.openxmlformats.org/package/2006/relationships"><Relationship Id="rId1" Type="http://schemas.openxmlformats.org/officeDocument/2006/relationships/package" Target="../embeddings/Microsoft_Excel_Worksheet707.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10.xml.rels><?xml version='1.0' encoding='UTF-8' standalone='yes'?>
<Relationships xmlns="http://schemas.openxmlformats.org/package/2006/relationships"><Relationship Id="rId1" Type="http://schemas.openxmlformats.org/officeDocument/2006/relationships/package" Target="../embeddings/Microsoft_Excel_Worksheet709.xlsx"/></Relationships>
</file>

<file path=ppt/charts/_rels/chart711.xml.rels><?xml version='1.0' encoding='UTF-8' standalone='yes'?>
<Relationships xmlns="http://schemas.openxmlformats.org/package/2006/relationships"><Relationship Id="rId1" Type="http://schemas.openxmlformats.org/officeDocument/2006/relationships/package" Target="../embeddings/Microsoft_Excel_Worksheet710.xlsx"/></Relationships>
</file>

<file path=ppt/charts/_rels/chart712.xml.rels><?xml version='1.0' encoding='UTF-8' standalone='yes'?>
<Relationships xmlns="http://schemas.openxmlformats.org/package/2006/relationships"><Relationship Id="rId1" Type="http://schemas.openxmlformats.org/officeDocument/2006/relationships/package" Target="../embeddings/Microsoft_Excel_Worksheet711.xlsx"/></Relationships>
</file>

<file path=ppt/charts/_rels/chart713.xml.rels><?xml version='1.0' encoding='UTF-8' standalone='yes'?>
<Relationships xmlns="http://schemas.openxmlformats.org/package/2006/relationships"><Relationship Id="rId1" Type="http://schemas.openxmlformats.org/officeDocument/2006/relationships/package" Target="../embeddings/Microsoft_Excel_Worksheet712.xlsx"/></Relationships>
</file>

<file path=ppt/charts/_rels/chart714.xml.rels><?xml version='1.0' encoding='UTF-8' standalone='yes'?>
<Relationships xmlns="http://schemas.openxmlformats.org/package/2006/relationships"><Relationship Id="rId1" Type="http://schemas.openxmlformats.org/officeDocument/2006/relationships/package" Target="../embeddings/Microsoft_Excel_Worksheet713.xlsx"/></Relationships>
</file>

<file path=ppt/charts/_rels/chart717.xml.rels><?xml version='1.0' encoding='UTF-8' standalone='yes'?>
<Relationships xmlns="http://schemas.openxmlformats.org/package/2006/relationships"><Relationship Id="rId1" Type="http://schemas.openxmlformats.org/officeDocument/2006/relationships/package" Target="../embeddings/Microsoft_Excel_Worksheet716.xlsx"/></Relationships>
</file>

<file path=ppt/charts/_rels/chart718.xml.rels><?xml version='1.0' encoding='UTF-8' standalone='yes'?>
<Relationships xmlns="http://schemas.openxmlformats.org/package/2006/relationships"><Relationship Id="rId1" Type="http://schemas.openxmlformats.org/officeDocument/2006/relationships/package" Target="../embeddings/Microsoft_Excel_Worksheet717.xlsx"/></Relationships>
</file>

<file path=ppt/charts/_rels/chart719.xml.rels><?xml version='1.0' encoding='UTF-8' standalone='yes'?>
<Relationships xmlns="http://schemas.openxmlformats.org/package/2006/relationships"><Relationship Id="rId1" Type="http://schemas.openxmlformats.org/officeDocument/2006/relationships/package" Target="../embeddings/Microsoft_Excel_Worksheet718.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21.xml.rels><?xml version='1.0' encoding='UTF-8' standalone='yes'?>
<Relationships xmlns="http://schemas.openxmlformats.org/package/2006/relationships"><Relationship Id="rId1" Type="http://schemas.openxmlformats.org/officeDocument/2006/relationships/package" Target="../embeddings/Microsoft_Excel_Worksheet720.xlsx"/></Relationships>
</file>

<file path=ppt/charts/_rels/chart723.xml.rels><?xml version='1.0' encoding='UTF-8' standalone='yes'?>
<Relationships xmlns="http://schemas.openxmlformats.org/package/2006/relationships"><Relationship Id="rId1" Type="http://schemas.openxmlformats.org/officeDocument/2006/relationships/package" Target="../embeddings/Microsoft_Excel_Worksheet722.xlsx"/></Relationships>
</file>

<file path=ppt/charts/_rels/chart724.xml.rels><?xml version='1.0' encoding='UTF-8' standalone='yes'?>
<Relationships xmlns="http://schemas.openxmlformats.org/package/2006/relationships"><Relationship Id="rId1" Type="http://schemas.openxmlformats.org/officeDocument/2006/relationships/package" Target="../embeddings/Microsoft_Excel_Worksheet723.xlsx"/></Relationships>
</file>

<file path=ppt/charts/_rels/chart725.xml.rels><?xml version='1.0' encoding='UTF-8' standalone='yes'?>
<Relationships xmlns="http://schemas.openxmlformats.org/package/2006/relationships"><Relationship Id="rId1" Type="http://schemas.openxmlformats.org/officeDocument/2006/relationships/package" Target="../embeddings/Microsoft_Excel_Worksheet724.xlsx"/></Relationships>
</file>

<file path=ppt/charts/_rels/chart728.xml.rels><?xml version='1.0' encoding='UTF-8' standalone='yes'?>
<Relationships xmlns="http://schemas.openxmlformats.org/package/2006/relationships"><Relationship Id="rId1" Type="http://schemas.openxmlformats.org/officeDocument/2006/relationships/package" Target="../embeddings/Microsoft_Excel_Worksheet727.xlsx"/></Relationships>
</file>

<file path=ppt/charts/_rels/chart729.xml.rels><?xml version='1.0' encoding='UTF-8' standalone='yes'?>
<Relationships xmlns="http://schemas.openxmlformats.org/package/2006/relationships"><Relationship Id="rId1" Type="http://schemas.openxmlformats.org/officeDocument/2006/relationships/package" Target="../embeddings/Microsoft_Excel_Worksheet728.xlsx"/></Relationships>
</file>

<file path=ppt/charts/_rels/chart730.xml.rels><?xml version='1.0' encoding='UTF-8' standalone='yes'?>
<Relationships xmlns="http://schemas.openxmlformats.org/package/2006/relationships"><Relationship Id="rId1" Type="http://schemas.openxmlformats.org/officeDocument/2006/relationships/package" Target="../embeddings/Microsoft_Excel_Worksheet729.xlsx"/></Relationships>
</file>

<file path=ppt/charts/_rels/chart733.xml.rels><?xml version='1.0' encoding='UTF-8' standalone='yes'?>
<Relationships xmlns="http://schemas.openxmlformats.org/package/2006/relationships"><Relationship Id="rId1" Type="http://schemas.openxmlformats.org/officeDocument/2006/relationships/package" Target="../embeddings/Microsoft_Excel_Worksheet732.xlsx"/></Relationships>
</file>

<file path=ppt/charts/_rels/chart734.xml.rels><?xml version='1.0' encoding='UTF-8' standalone='yes'?>
<Relationships xmlns="http://schemas.openxmlformats.org/package/2006/relationships"><Relationship Id="rId1" Type="http://schemas.openxmlformats.org/officeDocument/2006/relationships/package" Target="../embeddings/Microsoft_Excel_Worksheet733.xlsx"/></Relationships>
</file>

<file path=ppt/charts/_rels/chart735.xml.rels><?xml version='1.0' encoding='UTF-8' standalone='yes'?>
<Relationships xmlns="http://schemas.openxmlformats.org/package/2006/relationships"><Relationship Id="rId1" Type="http://schemas.openxmlformats.org/officeDocument/2006/relationships/package" Target="../embeddings/Microsoft_Excel_Worksheet734.xlsx"/></Relationships>
</file>

<file path=ppt/charts/_rels/chart737.xml.rels><?xml version='1.0' encoding='UTF-8' standalone='yes'?>
<Relationships xmlns="http://schemas.openxmlformats.org/package/2006/relationships"><Relationship Id="rId1" Type="http://schemas.openxmlformats.org/officeDocument/2006/relationships/package" Target="../embeddings/Microsoft_Excel_Worksheet736.xlsx"/></Relationships>
</file>

<file path=ppt/charts/_rels/chart738.xml.rels><?xml version='1.0' encoding='UTF-8' standalone='yes'?>
<Relationships xmlns="http://schemas.openxmlformats.org/package/2006/relationships"><Relationship Id="rId1" Type="http://schemas.openxmlformats.org/officeDocument/2006/relationships/package" Target="../embeddings/Microsoft_Excel_Worksheet737.xlsx"/></Relationships>
</file>

<file path=ppt/charts/_rels/chart739.xml.rels><?xml version='1.0' encoding='UTF-8' standalone='yes'?>
<Relationships xmlns="http://schemas.openxmlformats.org/package/2006/relationships"><Relationship Id="rId1" Type="http://schemas.openxmlformats.org/officeDocument/2006/relationships/package" Target="../embeddings/Microsoft_Excel_Worksheet738.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themeOverride" Target="../theme/themeOverride4.xml"/><Relationship Id="rId2"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F0D6272-0D38-4C90-B8CE-72080DE0F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B6028A8-9E6F-4B32-8C0E-D81D5D3FA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8DAE36E-0DBF-415F-AEFE-9AB6CA718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056483B-9577-444A-9885-205E252AB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81546A6-E490-47F7-A836-9A5E1601C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09C42E6-6ED1-4BD8-8432-1310DC9C6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D5E0AA2-DB85-4E1C-B915-626D18EC2C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5F89A62-56C2-4FC0-B073-EFE33DFAE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1621</c:v>
                </c:pt>
              </c:numCache>
            </c:numRef>
          </c:xVal>
          <c:yVal>
            <c:numRef>
              <c:f>Sheet1!$B$2:$B$2</c:f>
              <c:numCache>
                <c:formatCode>General</c:formatCode>
                <c:ptCount val="1"/>
                <c:pt idx="0">
                  <c:v>0.5299</c:v>
                </c:pt>
              </c:numCache>
            </c:numRef>
          </c:yVal>
          <c:bubbleSize>
            <c:numRef>
              <c:f>Sheet1!$C$2:$C$2</c:f>
              <c:numCache>
                <c:formatCode>General</c:formatCode>
                <c:ptCount val="1"/>
                <c:pt idx="0">
                  <c:v>534538.057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8.994519999999998"/>
          <c:min val="19.3296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299"/>
        <c:crossBetween val="midCat"/>
      </c:valAx>
      <c:valAx>
        <c:axId val="1011451359"/>
        <c:scaling>
          <c:orientation val="minMax"/>
          <c:max val="0.9958800000000001"/>
          <c:min val="0.1839200000000000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4.162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2740F22-7D6D-42D4-B5F9-565FC1513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EE254B5-6E1A-4226-AACA-F489DEA7B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F0D8EE4-B9A3-4D72-9950-E779F408C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7A3BCC7-2812-4BE4-BB2B-F985D7C4D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8FC25BA-8C9F-415B-92BF-1B3F5C3E96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E8B9DEF-96EC-48FA-81BA-B003A1854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C53F256-57F4-4C9C-946F-4A890C63C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EB022ED-1B82-437D-AFB6-74823BA5C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61.4544</c:v>
                </c:pt>
              </c:numCache>
            </c:numRef>
          </c:xVal>
          <c:yVal>
            <c:numRef>
              <c:f>Sheet1!$B$2:$B$2</c:f>
              <c:numCache>
                <c:formatCode>General</c:formatCode>
                <c:ptCount val="1"/>
                <c:pt idx="0">
                  <c:v>0.4057</c:v>
                </c:pt>
              </c:numCache>
            </c:numRef>
          </c:yVal>
          <c:bubbleSize>
            <c:numRef>
              <c:f>Sheet1!$C$2:$C$2</c:f>
              <c:numCache>
                <c:formatCode>General</c:formatCode>
                <c:ptCount val="1"/>
                <c:pt idx="0">
                  <c:v>3466888.581599991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73.74528"/>
          <c:min val="49.163520000000005"/>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57"/>
        <c:crossBetween val="midCat"/>
      </c:valAx>
      <c:valAx>
        <c:axId val="1011451359"/>
        <c:scaling>
          <c:orientation val="minMax"/>
          <c:max val="0.8468399999999999"/>
          <c:min val="0.08456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61.454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026768151608675544</c:v>
                </c:pt>
                <c:pt idx="1">
                  <c:v>-0.009279144173776524</c:v>
                </c:pt>
                <c:pt idx="2">
                  <c:v>0.012407428613510268</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384</c:v>
                </c:pt>
                <c:pt idx="1">
                  <c:v>0.005</c:v>
                </c:pt>
                <c:pt idx="2">
                  <c:v>-0.1323</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3</c:v>
                </c:pt>
                <c:pt idx="1">
                  <c:v>44</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05421540180243559</c:v>
                </c:pt>
                <c:pt idx="1">
                  <c:v>-0.010560260281189135</c:v>
                </c:pt>
                <c:pt idx="2">
                  <c:v>0.014983343191597887</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331</c:v>
                </c:pt>
                <c:pt idx="1">
                  <c:v>0.0005</c:v>
                </c:pt>
                <c:pt idx="2">
                  <c:v>-0.1296</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1</c:v>
                </c:pt>
                <c:pt idx="1">
                  <c:v>12</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010661651092842284</c:v>
                </c:pt>
                <c:pt idx="1">
                  <c:v>-0.010387186383127894</c:v>
                </c:pt>
                <c:pt idx="2">
                  <c:v>0.008977760200322454</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466</c:v>
                </c:pt>
                <c:pt idx="1">
                  <c:v>0.0131</c:v>
                </c:pt>
                <c:pt idx="2">
                  <c:v>-0.1262</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c:v>
                </c:pt>
                <c:pt idx="1">
                  <c:v>5</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024268832654745706</c:v>
                </c:pt>
                <c:pt idx="1">
                  <c:v>-0.010315444981619445</c:v>
                </c:pt>
                <c:pt idx="2">
                  <c:v>0.01707427710540274</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336</c:v>
                </c:pt>
                <c:pt idx="1">
                  <c:v>0.0156</c:v>
                </c:pt>
                <c:pt idx="2">
                  <c:v>-0.1158</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c:v>
                </c:pt>
                <c:pt idx="1">
                  <c:v>3</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029888671992582064</c:v>
                </c:pt>
                <c:pt idx="1">
                  <c:v>-0.00831984665998357</c:v>
                </c:pt>
                <c:pt idx="2">
                  <c:v>0.032478507579486365</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24</c:v>
                </c:pt>
                <c:pt idx="1">
                  <c:v>0.007</c:v>
                </c:pt>
                <c:pt idx="2">
                  <c:v>-0.0962</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c:v>
                </c:pt>
                <c:pt idx="1">
                  <c:v>2</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02167251916341442</c:v>
                </c:pt>
                <c:pt idx="1">
                  <c:v>-0.008168029891732976</c:v>
                </c:pt>
                <c:pt idx="2">
                  <c:v>0.015492593180402248</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351</c:v>
                </c:pt>
                <c:pt idx="1">
                  <c:v>0.008</c:v>
                </c:pt>
                <c:pt idx="2">
                  <c:v>-0.1288</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1</c:v>
                </c:pt>
                <c:pt idx="1">
                  <c:v>9</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02216749080845841</c:v>
                </c:pt>
                <c:pt idx="1">
                  <c:v>-0.011153832714247986</c:v>
                </c:pt>
                <c:pt idx="2">
                  <c:v>0.012790165641073742</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C6637E6-3FA3-4A7F-BFE4-2767DB1D8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FA04C47-33E5-4211-A868-BAA0E8E66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4A89EA7-420C-4375-9BD1-54E9CCB31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9FAF3B2-8EF8-45E9-99D4-85A012377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A519E5C-14A9-4D0A-9D2F-73403D3B9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DBA66D2-FE1E-419C-AA70-E3274EC52A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CE3973F-B65F-45B3-A8F3-919AC05FC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EA77F5B-C1E4-4FC3-9368-C6C7A02E5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5326</c:v>
                </c:pt>
              </c:numCache>
            </c:numRef>
          </c:xVal>
          <c:yVal>
            <c:numRef>
              <c:f>Sheet1!$B$2:$B$2</c:f>
              <c:numCache>
                <c:formatCode>General</c:formatCode>
                <c:ptCount val="1"/>
                <c:pt idx="0">
                  <c:v>0.4898</c:v>
                </c:pt>
              </c:numCache>
            </c:numRef>
          </c:yVal>
          <c:bubbleSize>
            <c:numRef>
              <c:f>Sheet1!$C$2:$C$2</c:f>
              <c:numCache>
                <c:formatCode>General</c:formatCode>
                <c:ptCount val="1"/>
                <c:pt idx="0">
                  <c:v>867896.46050000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03912"/>
          <c:min val="10.026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898"/>
        <c:crossBetween val="midCat"/>
      </c:valAx>
      <c:valAx>
        <c:axId val="1011451359"/>
        <c:scaling>
          <c:orientation val="minMax"/>
          <c:max val="0.94776"/>
          <c:min val="0.15184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532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357</c:v>
                </c:pt>
                <c:pt idx="1">
                  <c:v>0.0043</c:v>
                </c:pt>
                <c:pt idx="2">
                  <c:v>-0.1354</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1</c:v>
                </c:pt>
                <c:pt idx="1">
                  <c:v>19</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032474949461557476</c:v>
                </c:pt>
                <c:pt idx="1">
                  <c:v>-0.009790706477363085</c:v>
                </c:pt>
                <c:pt idx="2">
                  <c:v>0.01256541008937992</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365</c:v>
                </c:pt>
                <c:pt idx="1">
                  <c:v>0.0085</c:v>
                </c:pt>
                <c:pt idx="2">
                  <c:v>-0.1273</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1</c:v>
                </c:pt>
                <c:pt idx="1">
                  <c:v>11</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041311962086931775</c:v>
                </c:pt>
                <c:pt idx="1">
                  <c:v>-0.008056433936920048</c:v>
                </c:pt>
                <c:pt idx="2">
                  <c:v>0.012855325003839665</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336</c:v>
                </c:pt>
                <c:pt idx="1">
                  <c:v>0.0092</c:v>
                </c:pt>
                <c:pt idx="2">
                  <c:v>-0.1229</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1</c:v>
                </c:pt>
                <c:pt idx="1">
                  <c:v>10</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03148681389623348</c:v>
                </c:pt>
                <c:pt idx="1">
                  <c:v>-0.008539086120969014</c:v>
                </c:pt>
                <c:pt idx="2">
                  <c:v>0.013040364366248475</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367</c:v>
                </c:pt>
                <c:pt idx="1">
                  <c:v>0.0066</c:v>
                </c:pt>
                <c:pt idx="2">
                  <c:v>-0.1275</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6A82C41-AB62-4EB8-96FC-903A0F0D8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C7AFCAB-2563-4846-A576-FF8148021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C6BC0A3-A1BA-4364-A1A3-9FD351F4C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71E1EDE-26FE-4ADA-9F4C-682EC337B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B1EF98F-AFE3-4646-8FE4-CBB19C5A2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8FD74DF-3C9D-4386-9329-FCCEEF9C8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B5E86C4-F0AB-496E-B5AA-847A02D9C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23CF2A3-3A9E-4C27-AEFA-D745C5F78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0.9373</c:v>
                </c:pt>
              </c:numCache>
            </c:numRef>
          </c:xVal>
          <c:yVal>
            <c:numRef>
              <c:f>Sheet1!$B$2:$B$2</c:f>
              <c:numCache>
                <c:formatCode>General</c:formatCode>
                <c:ptCount val="1"/>
                <c:pt idx="0">
                  <c:v>0.4669</c:v>
                </c:pt>
              </c:numCache>
            </c:numRef>
          </c:yVal>
          <c:bubbleSize>
            <c:numRef>
              <c:f>Sheet1!$C$2:$C$2</c:f>
              <c:numCache>
                <c:formatCode>General</c:formatCode>
                <c:ptCount val="1"/>
                <c:pt idx="0">
                  <c:v>56163.06599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12476"/>
          <c:min val="8.7498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669"/>
        <c:crossBetween val="midCat"/>
      </c:valAx>
      <c:valAx>
        <c:axId val="1011451359"/>
        <c:scaling>
          <c:orientation val="minMax"/>
          <c:max val="0.9202799999999999"/>
          <c:min val="0.1335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0.937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1</c:v>
                </c:pt>
                <c:pt idx="1">
                  <c:v>14</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4284958999261785</c:v>
                </c:pt>
                <c:pt idx="1">
                  <c:v>0.007552511816092879</c:v>
                </c:pt>
                <c:pt idx="2">
                  <c:v>-0.013971020958530436</c:v>
                </c:pt>
                <c:pt idx="3">
                  <c:v>0.06061193373719906</c:v>
                </c:pt>
                <c:pt idx="4">
                  <c:v>-0.03125419337024504</c:v>
                </c:pt>
                <c:pt idx="5">
                  <c:v>-0.019368169012759614</c:v>
                </c:pt>
                <c:pt idx="6">
                  <c:v>0.0</c:v>
                </c:pt>
                <c:pt idx="7">
                  <c:v>0.00047917332552089437</c:v>
                </c:pt>
                <c:pt idx="8">
                  <c:v>0.0145192727498889</c:v>
                </c:pt>
                <c:pt idx="9">
                  <c:v>-0.01928420405554109</c:v>
                </c:pt>
                <c:pt idx="10">
                  <c:v>-0.008930945417384836</c:v>
                </c:pt>
                <c:pt idx="11">
                  <c:v>-0.010382644648427164</c:v>
                </c:pt>
                <c:pt idx="12">
                  <c:v>-0.01303655594035006</c:v>
                </c:pt>
                <c:pt idx="13">
                  <c:v>0.03296785107956443</c:v>
                </c:pt>
                <c:pt idx="14">
                  <c:v>0.0056535779724894535</c:v>
                </c:pt>
                <c:pt idx="15">
                  <c:v>0.0024468740683205783</c:v>
                </c:pt>
                <c:pt idx="16">
                  <c:v>-0.020384112298314876</c:v>
                </c:pt>
                <c:pt idx="17">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415</c:v>
                </c:pt>
                <c:pt idx="1">
                  <c:v>0.0401</c:v>
                </c:pt>
                <c:pt idx="2">
                  <c:v>0.0362</c:v>
                </c:pt>
                <c:pt idx="3">
                  <c:v>0.0809</c:v>
                </c:pt>
                <c:pt idx="4">
                  <c:v>0.0701</c:v>
                </c:pt>
                <c:pt idx="5">
                  <c:v>0.0232</c:v>
                </c:pt>
                <c:pt idx="6">
                  <c:v>0.01</c:v>
                </c:pt>
                <c:pt idx="7">
                  <c:v>0.0488</c:v>
                </c:pt>
                <c:pt idx="8">
                  <c:v>-0.127</c:v>
                </c:pt>
                <c:pt idx="9">
                  <c:v>0.0303</c:v>
                </c:pt>
                <c:pt idx="10">
                  <c:v>0.0117</c:v>
                </c:pt>
                <c:pt idx="11">
                  <c:v>0.0143</c:v>
                </c:pt>
                <c:pt idx="12">
                  <c:v>0.0373</c:v>
                </c:pt>
                <c:pt idx="13">
                  <c:v>0.0248</c:v>
                </c:pt>
                <c:pt idx="14">
                  <c:v>0.0061</c:v>
                </c:pt>
                <c:pt idx="15">
                  <c:v>0.0035</c:v>
                </c:pt>
                <c:pt idx="16">
                  <c:v>0.0255</c:v>
                </c:pt>
                <c:pt idx="17">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0</c:v>
                </c:pt>
                <c:pt idx="10">
                  <c:v>5</c:v>
                </c:pt>
                <c:pt idx="11">
                  <c:v>1</c:v>
                </c:pt>
                <c:pt idx="12">
                  <c:v>0</c:v>
                </c:pt>
                <c:pt idx="13">
                  <c:v>0</c:v>
                </c:pt>
                <c:pt idx="14">
                  <c:v>0</c:v>
                </c:pt>
                <c:pt idx="15">
                  <c:v>0</c:v>
                </c:pt>
                <c:pt idx="16">
                  <c:v>0</c:v>
                </c:pt>
                <c:pt idx="17">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C1607AF-55CC-4EB1-BBB8-193DB9575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3B3F460-61B0-4C76-B2FC-1F5C2CFBC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C21C900-750C-4151-9C15-9EDEC1977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2A0642F-ACE8-4135-A13B-EE179F7D6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2F55E37-BA65-404D-928D-367AD7558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F65A716-81F3-486A-B213-C54F63264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44D73A3-323C-43FD-AED7-63F34D4BD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0FC3470-2A62-4E59-BAE0-33D3845E8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5011</c:v>
                </c:pt>
              </c:numCache>
            </c:numRef>
          </c:xVal>
          <c:yVal>
            <c:numRef>
              <c:f>Sheet1!$B$2:$B$2</c:f>
              <c:numCache>
                <c:formatCode>General</c:formatCode>
                <c:ptCount val="1"/>
                <c:pt idx="0">
                  <c:v>0.435</c:v>
                </c:pt>
              </c:numCache>
            </c:numRef>
          </c:yVal>
          <c:bubbleSize>
            <c:numRef>
              <c:f>Sheet1!$C$2:$C$2</c:f>
              <c:numCache>
                <c:formatCode>General</c:formatCode>
                <c:ptCount val="1"/>
                <c:pt idx="0">
                  <c:v>390317.668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9.80132"/>
          <c:min val="13.20088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
        <c:crossBetween val="midCat"/>
      </c:valAx>
      <c:valAx>
        <c:axId val="1011451359"/>
        <c:scaling>
          <c:orientation val="minMax"/>
          <c:max val="0.882"/>
          <c:min val="0.10800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501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3959216521410548</c:v>
                </c:pt>
                <c:pt idx="1">
                  <c:v>0.009842337454165156</c:v>
                </c:pt>
                <c:pt idx="2">
                  <c:v>-0.009169772127719543</c:v>
                </c:pt>
                <c:pt idx="3">
                  <c:v>0.04756919493127915</c:v>
                </c:pt>
                <c:pt idx="4">
                  <c:v>-0.034592923103177714</c:v>
                </c:pt>
                <c:pt idx="5">
                  <c:v>-0.03768880843787537</c:v>
                </c:pt>
                <c:pt idx="6">
                  <c:v>-0.023096791160220925</c:v>
                </c:pt>
                <c:pt idx="7">
                  <c:v>-0.011897160338637927</c:v>
                </c:pt>
                <c:pt idx="8">
                  <c:v>0.012407428613510268</c:v>
                </c:pt>
                <c:pt idx="9">
                  <c:v>-0.009834812195363918</c:v>
                </c:pt>
                <c:pt idx="10">
                  <c:v>-0.010115706540569498</c:v>
                </c:pt>
                <c:pt idx="11">
                  <c:v>-0.012465888685978593</c:v>
                </c:pt>
                <c:pt idx="12">
                  <c:v>-0.014584893462844141</c:v>
                </c:pt>
                <c:pt idx="13">
                  <c:v>0.007644738138452332</c:v>
                </c:pt>
                <c:pt idx="14">
                  <c:v>0.01416868595865238</c:v>
                </c:pt>
                <c:pt idx="15">
                  <c:v>0.0014104302953443742</c:v>
                </c:pt>
                <c:pt idx="16">
                  <c:v>-0.02176147166713556</c:v>
                </c:pt>
                <c:pt idx="17">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245</c:v>
                </c:pt>
                <c:pt idx="1">
                  <c:v>0.0416</c:v>
                </c:pt>
                <c:pt idx="2">
                  <c:v>0.0322</c:v>
                </c:pt>
                <c:pt idx="3">
                  <c:v>0.0619</c:v>
                </c:pt>
                <c:pt idx="4">
                  <c:v>0.0534</c:v>
                </c:pt>
                <c:pt idx="5">
                  <c:v>0.0258</c:v>
                </c:pt>
                <c:pt idx="6">
                  <c:v>0.0569</c:v>
                </c:pt>
                <c:pt idx="7">
                  <c:v>0.0157</c:v>
                </c:pt>
                <c:pt idx="8">
                  <c:v>-0.1323</c:v>
                </c:pt>
                <c:pt idx="9">
                  <c:v>0.0171</c:v>
                </c:pt>
                <c:pt idx="10">
                  <c:v>0.0032</c:v>
                </c:pt>
                <c:pt idx="11">
                  <c:v>0.0079</c:v>
                </c:pt>
                <c:pt idx="12">
                  <c:v>0.0133</c:v>
                </c:pt>
                <c:pt idx="13">
                  <c:v>0.0118</c:v>
                </c:pt>
                <c:pt idx="14">
                  <c:v>0.0026</c:v>
                </c:pt>
                <c:pt idx="15">
                  <c:v>-0.0022</c:v>
                </c:pt>
                <c:pt idx="16">
                  <c:v>0.0144</c:v>
                </c:pt>
                <c:pt idx="17">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c:v>
                </c:pt>
                <c:pt idx="1">
                  <c:v>1</c:v>
                </c:pt>
                <c:pt idx="2">
                  <c:v>1</c:v>
                </c:pt>
                <c:pt idx="3">
                  <c:v>0</c:v>
                </c:pt>
                <c:pt idx="4">
                  <c:v>0</c:v>
                </c:pt>
                <c:pt idx="5">
                  <c:v>0</c:v>
                </c:pt>
                <c:pt idx="6">
                  <c:v>0</c:v>
                </c:pt>
                <c:pt idx="7">
                  <c:v>0</c:v>
                </c:pt>
                <c:pt idx="8">
                  <c:v>0</c:v>
                </c:pt>
                <c:pt idx="9">
                  <c:v>3</c:v>
                </c:pt>
                <c:pt idx="10">
                  <c:v>29</c:v>
                </c:pt>
                <c:pt idx="11">
                  <c:v>6</c:v>
                </c:pt>
                <c:pt idx="12">
                  <c:v>2</c:v>
                </c:pt>
                <c:pt idx="13">
                  <c:v>0</c:v>
                </c:pt>
                <c:pt idx="14">
                  <c:v>2</c:v>
                </c:pt>
                <c:pt idx="15">
                  <c:v>2</c:v>
                </c:pt>
                <c:pt idx="16">
                  <c:v>0</c:v>
                </c:pt>
                <c:pt idx="17">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25987365485983793</c:v>
                </c:pt>
                <c:pt idx="1">
                  <c:v>0.004396957898262686</c:v>
                </c:pt>
                <c:pt idx="2">
                  <c:v>-0.008956101475894828</c:v>
                </c:pt>
                <c:pt idx="3">
                  <c:v>0.04887163589130232</c:v>
                </c:pt>
                <c:pt idx="4">
                  <c:v>-0.03456095220312267</c:v>
                </c:pt>
                <c:pt idx="5">
                  <c:v>-0.033697879958767774</c:v>
                </c:pt>
                <c:pt idx="6">
                  <c:v>0.0801719394957981</c:v>
                </c:pt>
                <c:pt idx="7">
                  <c:v>-0.0041516244292156695</c:v>
                </c:pt>
                <c:pt idx="8">
                  <c:v>0.014983343191597887</c:v>
                </c:pt>
                <c:pt idx="9">
                  <c:v>-0.013188017547323024</c:v>
                </c:pt>
                <c:pt idx="10">
                  <c:v>-0.009707021475420054</c:v>
                </c:pt>
                <c:pt idx="11">
                  <c:v>-0.016641962770962873</c:v>
                </c:pt>
                <c:pt idx="12">
                  <c:v>-0.01822371262210448</c:v>
                </c:pt>
                <c:pt idx="13">
                  <c:v>-0.0021184020391280464</c:v>
                </c:pt>
                <c:pt idx="14">
                  <c:v>0.019021636785276862</c:v>
                </c:pt>
                <c:pt idx="15">
                  <c:v>-0.006202773870595485</c:v>
                </c:pt>
                <c:pt idx="16">
                  <c:v>-0.0349195623068305</c:v>
                </c:pt>
                <c:pt idx="17">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203</c:v>
                </c:pt>
                <c:pt idx="1">
                  <c:v>0.0352</c:v>
                </c:pt>
                <c:pt idx="2">
                  <c:v>0.0253</c:v>
                </c:pt>
                <c:pt idx="3">
                  <c:v>0.0629</c:v>
                </c:pt>
                <c:pt idx="4">
                  <c:v>0.049</c:v>
                </c:pt>
                <c:pt idx="5">
                  <c:v>0.0295</c:v>
                </c:pt>
                <c:pt idx="6">
                  <c:v>0.0202</c:v>
                </c:pt>
                <c:pt idx="7">
                  <c:v>0.0227</c:v>
                </c:pt>
                <c:pt idx="8">
                  <c:v>-0.1296</c:v>
                </c:pt>
                <c:pt idx="9">
                  <c:v>0.017</c:v>
                </c:pt>
                <c:pt idx="10">
                  <c:v>-0.0029</c:v>
                </c:pt>
                <c:pt idx="11">
                  <c:v>0.0042</c:v>
                </c:pt>
                <c:pt idx="12">
                  <c:v>0.0266</c:v>
                </c:pt>
                <c:pt idx="13">
                  <c:v>0.0088</c:v>
                </c:pt>
                <c:pt idx="14">
                  <c:v>-0.0031</c:v>
                </c:pt>
                <c:pt idx="15">
                  <c:v>-0.0096</c:v>
                </c:pt>
                <c:pt idx="16">
                  <c:v>0.0122</c:v>
                </c:pt>
                <c:pt idx="17">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1</c:v>
                </c:pt>
                <c:pt idx="10">
                  <c:v>8</c:v>
                </c:pt>
                <c:pt idx="11">
                  <c:v>2</c:v>
                </c:pt>
                <c:pt idx="12">
                  <c:v>0</c:v>
                </c:pt>
                <c:pt idx="13">
                  <c:v>0</c:v>
                </c:pt>
                <c:pt idx="14">
                  <c:v>0</c:v>
                </c:pt>
                <c:pt idx="15">
                  <c:v>1</c:v>
                </c:pt>
                <c:pt idx="16">
                  <c:v>0</c:v>
                </c:pt>
                <c:pt idx="17">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3572406053735549</c:v>
                </c:pt>
                <c:pt idx="1">
                  <c:v>0.009344914774562903</c:v>
                </c:pt>
                <c:pt idx="2">
                  <c:v>-0.007293718916516281</c:v>
                </c:pt>
                <c:pt idx="3">
                  <c:v>0.047496825293427046</c:v>
                </c:pt>
                <c:pt idx="4">
                  <c:v>-0.035944025714097466</c:v>
                </c:pt>
                <c:pt idx="5">
                  <c:v>-0.02989174542032417</c:v>
                </c:pt>
                <c:pt idx="6">
                  <c:v>-0.025789018810371198</c:v>
                </c:pt>
                <c:pt idx="7">
                  <c:v>-0.012294289369033509</c:v>
                </c:pt>
                <c:pt idx="8">
                  <c:v>0.012608858207606405</c:v>
                </c:pt>
                <c:pt idx="9">
                  <c:v>-0.007742874288199808</c:v>
                </c:pt>
                <c:pt idx="10">
                  <c:v>-0.00925340414060954</c:v>
                </c:pt>
                <c:pt idx="11">
                  <c:v>-0.011150161287311531</c:v>
                </c:pt>
                <c:pt idx="12">
                  <c:v>-0.015437840319770284</c:v>
                </c:pt>
                <c:pt idx="13">
                  <c:v>0.0006687112651808259</c:v>
                </c:pt>
                <c:pt idx="14">
                  <c:v>0.017217419445685403</c:v>
                </c:pt>
                <c:pt idx="15">
                  <c:v>0.0012657056614013519</c:v>
                </c:pt>
                <c:pt idx="16">
                  <c:v>-0.02362997952050143</c:v>
                </c:pt>
                <c:pt idx="17">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8949814-B144-4779-881E-6480D46E2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150252E-B51F-4EFD-B831-9151570DC9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1508A37-D312-4AEC-A968-9E21D4BB8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D4A7BC7-8B06-4605-B295-AC74D06EE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DB954AC-60D5-417F-93FF-648DD35B1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3B2A1D5-38B1-4CC3-997D-6AACE79E4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3C8C3B0-F7BD-4527-8E9F-9351FEED2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17C7A92-0584-4F15-AC50-BD244B213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8.77</c:v>
                </c:pt>
                <c:pt idx="1">
                  <c:v>24.1664</c:v>
                </c:pt>
                <c:pt idx="2">
                  <c:v>24.3825</c:v>
                </c:pt>
                <c:pt idx="3">
                  <c:v>24.7569</c:v>
                </c:pt>
                <c:pt idx="4">
                  <c:v>22.4331</c:v>
                </c:pt>
              </c:numCache>
            </c:numRef>
          </c:xVal>
          <c:yVal>
            <c:numRef>
              <c:f>Sheet1!$B$2:$B$6</c:f>
              <c:numCache>
                <c:formatCode>General</c:formatCode>
                <c:ptCount val="5"/>
                <c:pt idx="0">
                  <c:v>0.5431</c:v>
                </c:pt>
                <c:pt idx="1">
                  <c:v>0.5284</c:v>
                </c:pt>
                <c:pt idx="2">
                  <c:v>0.5297</c:v>
                </c:pt>
                <c:pt idx="3">
                  <c:v>0.5316</c:v>
                </c:pt>
                <c:pt idx="4">
                  <c:v>0.5241</c:v>
                </c:pt>
              </c:numCache>
            </c:numRef>
          </c:yVal>
          <c:bubbleSize>
            <c:numRef>
              <c:f>Sheet1!$C$2:$C$6</c:f>
              <c:numCache>
                <c:formatCode>General</c:formatCode>
                <c:ptCount val="5"/>
                <c:pt idx="0">
                  <c:v>44277.0634</c:v>
                </c:pt>
                <c:pt idx="1">
                  <c:v>25616.3349</c:v>
                </c:pt>
                <c:pt idx="2">
                  <c:v>258039.53329999995</c:v>
                </c:pt>
                <c:pt idx="3">
                  <c:v>53920.48360000001</c:v>
                </c:pt>
                <c:pt idx="4">
                  <c:v>97987.6945000000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4.524"/>
          <c:min val="17.9464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29937014381492"/>
        <c:crossBetween val="midCat"/>
      </c:valAx>
      <c:valAx>
        <c:axId val="1011451359"/>
        <c:scaling>
          <c:orientation val="minMax"/>
          <c:max val="1.01172"/>
          <c:min val="0.17928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4.41980514692320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211</c:v>
                </c:pt>
                <c:pt idx="1">
                  <c:v>0.0408</c:v>
                </c:pt>
                <c:pt idx="2">
                  <c:v>0.0293</c:v>
                </c:pt>
                <c:pt idx="3">
                  <c:v>0.0625</c:v>
                </c:pt>
                <c:pt idx="4">
                  <c:v>0.0519</c:v>
                </c:pt>
                <c:pt idx="5">
                  <c:v>0.0244</c:v>
                </c:pt>
                <c:pt idx="6">
                  <c:v>0.0651</c:v>
                </c:pt>
                <c:pt idx="7">
                  <c:v>0.0177</c:v>
                </c:pt>
                <c:pt idx="8">
                  <c:v>-0.1313</c:v>
                </c:pt>
                <c:pt idx="9">
                  <c:v>0.0169</c:v>
                </c:pt>
                <c:pt idx="10">
                  <c:v>0.0038</c:v>
                </c:pt>
                <c:pt idx="11">
                  <c:v>0.011</c:v>
                </c:pt>
                <c:pt idx="12">
                  <c:v>0.0203</c:v>
                </c:pt>
                <c:pt idx="13">
                  <c:v>0.0129</c:v>
                </c:pt>
                <c:pt idx="14">
                  <c:v>0.0048</c:v>
                </c:pt>
                <c:pt idx="15">
                  <c:v>-0.0026</c:v>
                </c:pt>
                <c:pt idx="16">
                  <c:v>0.0154</c:v>
                </c:pt>
                <c:pt idx="17">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c:v>
                </c:pt>
                <c:pt idx="1">
                  <c:v>1</c:v>
                </c:pt>
                <c:pt idx="2">
                  <c:v>1</c:v>
                </c:pt>
                <c:pt idx="3">
                  <c:v>0</c:v>
                </c:pt>
                <c:pt idx="4">
                  <c:v>0</c:v>
                </c:pt>
                <c:pt idx="5">
                  <c:v>0</c:v>
                </c:pt>
                <c:pt idx="6">
                  <c:v>0</c:v>
                </c:pt>
                <c:pt idx="7">
                  <c:v>0</c:v>
                </c:pt>
                <c:pt idx="8">
                  <c:v>0</c:v>
                </c:pt>
                <c:pt idx="9">
                  <c:v>2</c:v>
                </c:pt>
                <c:pt idx="10">
                  <c:v>19</c:v>
                </c:pt>
                <c:pt idx="11">
                  <c:v>3</c:v>
                </c:pt>
                <c:pt idx="12">
                  <c:v>1</c:v>
                </c:pt>
                <c:pt idx="13">
                  <c:v>0</c:v>
                </c:pt>
                <c:pt idx="14">
                  <c:v>1</c:v>
                </c:pt>
                <c:pt idx="15">
                  <c:v>1</c:v>
                </c:pt>
                <c:pt idx="16">
                  <c:v>0</c:v>
                </c:pt>
                <c:pt idx="17">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4016352177635382</c:v>
                </c:pt>
                <c:pt idx="1">
                  <c:v>0.003855361361029888</c:v>
                </c:pt>
                <c:pt idx="2">
                  <c:v>0.01410612296536655</c:v>
                </c:pt>
                <c:pt idx="3">
                  <c:v>0.040446268245486174</c:v>
                </c:pt>
                <c:pt idx="4">
                  <c:v>-0.03690811878241032</c:v>
                </c:pt>
                <c:pt idx="5">
                  <c:v>-0.0054935977080856</c:v>
                </c:pt>
                <c:pt idx="6">
                  <c:v>0.0</c:v>
                </c:pt>
                <c:pt idx="7">
                  <c:v>-0.020422902793577204</c:v>
                </c:pt>
                <c:pt idx="8">
                  <c:v>0.032478507579486365</c:v>
                </c:pt>
                <c:pt idx="9">
                  <c:v>-0.012304496925368932</c:v>
                </c:pt>
                <c:pt idx="10">
                  <c:v>-0.01125807119973649</c:v>
                </c:pt>
                <c:pt idx="11">
                  <c:v>-0.006927309960205381</c:v>
                </c:pt>
                <c:pt idx="12">
                  <c:v>0.00980622532013102</c:v>
                </c:pt>
                <c:pt idx="13">
                  <c:v>0.010817780204308267</c:v>
                </c:pt>
                <c:pt idx="14">
                  <c:v>0.011851943998192198</c:v>
                </c:pt>
                <c:pt idx="15">
                  <c:v>-0.008014014171001166</c:v>
                </c:pt>
                <c:pt idx="16">
                  <c:v>-0.0036593730598183695</c:v>
                </c:pt>
                <c:pt idx="17">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609</c:v>
                </c:pt>
                <c:pt idx="1">
                  <c:v>0.0445</c:v>
                </c:pt>
                <c:pt idx="2">
                  <c:v>0.0828</c:v>
                </c:pt>
                <c:pt idx="3">
                  <c:v>0.0945</c:v>
                </c:pt>
                <c:pt idx="4">
                  <c:v>0.0682</c:v>
                </c:pt>
                <c:pt idx="5">
                  <c:v>0.0154</c:v>
                </c:pt>
                <c:pt idx="6">
                  <c:v>0.0059</c:v>
                </c:pt>
                <c:pt idx="7">
                  <c:v>0.0094</c:v>
                </c:pt>
                <c:pt idx="8">
                  <c:v>-0.0962</c:v>
                </c:pt>
                <c:pt idx="9">
                  <c:v>0.0413</c:v>
                </c:pt>
                <c:pt idx="10">
                  <c:v>0.0003</c:v>
                </c:pt>
                <c:pt idx="11">
                  <c:v>-0.0049</c:v>
                </c:pt>
                <c:pt idx="12">
                  <c:v>0.1013</c:v>
                </c:pt>
                <c:pt idx="13">
                  <c:v>0.0281</c:v>
                </c:pt>
                <c:pt idx="14">
                  <c:v>0.0073</c:v>
                </c:pt>
                <c:pt idx="15">
                  <c:v>-0.0077</c:v>
                </c:pt>
                <c:pt idx="16">
                  <c:v>0.0139</c:v>
                </c:pt>
                <c:pt idx="17">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E6E5E5"/>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D8017B6-2C4B-4DE3-B74C-63EC63BC4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9FACA9A-28CB-44E4-8967-F05E52DDA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FFCC789-C22B-4286-8CBB-08EB6F3C3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D3C4C59-87D2-4B18-988F-3735DDB44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715F5E3-A218-4748-860E-CBFEC5A19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DC730DF-DBAA-4240-9877-2C1322668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5C1C550-7B45-4D9A-9686-40CFD7D14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8175E75-4202-4BEC-870F-B23CD6F31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3.3117</c:v>
                </c:pt>
                <c:pt idx="1">
                  <c:v>33.2432</c:v>
                </c:pt>
                <c:pt idx="2">
                  <c:v>33.4319</c:v>
                </c:pt>
                <c:pt idx="3">
                  <c:v>33.4393</c:v>
                </c:pt>
                <c:pt idx="4">
                  <c:v>33.4316</c:v>
                </c:pt>
              </c:numCache>
            </c:numRef>
          </c:xVal>
          <c:yVal>
            <c:numRef>
              <c:f>Sheet1!$B$2:$B$6</c:f>
              <c:numCache>
                <c:formatCode>General</c:formatCode>
                <c:ptCount val="5"/>
                <c:pt idx="0">
                  <c:v>0.4351</c:v>
                </c:pt>
                <c:pt idx="1">
                  <c:v>0.4386</c:v>
                </c:pt>
                <c:pt idx="2">
                  <c:v>0.4368</c:v>
                </c:pt>
                <c:pt idx="3">
                  <c:v>0.4389</c:v>
                </c:pt>
                <c:pt idx="4">
                  <c:v>0.4378</c:v>
                </c:pt>
              </c:numCache>
            </c:numRef>
          </c:yVal>
          <c:bubbleSize>
            <c:numRef>
              <c:f>Sheet1!$C$2:$C$6</c:f>
              <c:numCache>
                <c:formatCode>General</c:formatCode>
                <c:ptCount val="5"/>
                <c:pt idx="0">
                  <c:v>145772.1352</c:v>
                </c:pt>
                <c:pt idx="1">
                  <c:v>86332.5392</c:v>
                </c:pt>
                <c:pt idx="2">
                  <c:v>1189408.0181</c:v>
                </c:pt>
                <c:pt idx="3">
                  <c:v>291791.24129999994</c:v>
                </c:pt>
                <c:pt idx="4">
                  <c:v>463562.0369000000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0.12716"/>
          <c:min val="26.5945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72519844572855"/>
        <c:crossBetween val="midCat"/>
      </c:valAx>
      <c:valAx>
        <c:axId val="1011451359"/>
        <c:scaling>
          <c:orientation val="minMax"/>
          <c:max val="0.88668"/>
          <c:min val="0.10808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3.4172952541628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0</c:v>
                </c:pt>
                <c:pt idx="10">
                  <c:v>1</c:v>
                </c:pt>
                <c:pt idx="11">
                  <c:v>0</c:v>
                </c:pt>
                <c:pt idx="12">
                  <c:v>0</c:v>
                </c:pt>
                <c:pt idx="13">
                  <c:v>0</c:v>
                </c:pt>
                <c:pt idx="14">
                  <c:v>0</c:v>
                </c:pt>
                <c:pt idx="15">
                  <c:v>0</c:v>
                </c:pt>
                <c:pt idx="16">
                  <c:v>0</c:v>
                </c:pt>
                <c:pt idx="17">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17041836943857896</c:v>
                </c:pt>
                <c:pt idx="1">
                  <c:v>0.000996810961562275</c:v>
                </c:pt>
                <c:pt idx="2">
                  <c:v>-0.014361682625559036</c:v>
                </c:pt>
                <c:pt idx="3">
                  <c:v>0.026839858713318517</c:v>
                </c:pt>
                <c:pt idx="4">
                  <c:v>-0.03617338999022028</c:v>
                </c:pt>
                <c:pt idx="5">
                  <c:v>-0.0400065943258318</c:v>
                </c:pt>
                <c:pt idx="6">
                  <c:v>0.0</c:v>
                </c:pt>
                <c:pt idx="7">
                  <c:v>-0.019759120570572254</c:v>
                </c:pt>
                <c:pt idx="8">
                  <c:v>0.02958715992134435</c:v>
                </c:pt>
                <c:pt idx="9">
                  <c:v>-0.00844719339555932</c:v>
                </c:pt>
                <c:pt idx="10">
                  <c:v>-0.005860240753539837</c:v>
                </c:pt>
                <c:pt idx="11">
                  <c:v>-0.01397946622279609</c:v>
                </c:pt>
                <c:pt idx="12">
                  <c:v>0.003895834649726107</c:v>
                </c:pt>
                <c:pt idx="13">
                  <c:v>-0.014206391099364498</c:v>
                </c:pt>
                <c:pt idx="14">
                  <c:v>0.04169377196017089</c:v>
                </c:pt>
                <c:pt idx="15">
                  <c:v>-0.013060529071757546</c:v>
                </c:pt>
                <c:pt idx="16">
                  <c:v>-0.02784649223142121</c:v>
                </c:pt>
                <c:pt idx="17">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246</c:v>
                </c:pt>
                <c:pt idx="1">
                  <c:v>0.0325</c:v>
                </c:pt>
                <c:pt idx="2">
                  <c:v>0.0306</c:v>
                </c:pt>
                <c:pt idx="3">
                  <c:v>0.0533</c:v>
                </c:pt>
                <c:pt idx="4">
                  <c:v>0.05</c:v>
                </c:pt>
                <c:pt idx="5">
                  <c:v>0.0331</c:v>
                </c:pt>
                <c:pt idx="6">
                  <c:v>0.3172</c:v>
                </c:pt>
                <c:pt idx="7">
                  <c:v>0.0441</c:v>
                </c:pt>
                <c:pt idx="8">
                  <c:v>-0.1029</c:v>
                </c:pt>
                <c:pt idx="9">
                  <c:v>0.0447</c:v>
                </c:pt>
                <c:pt idx="10">
                  <c:v>0.0127</c:v>
                </c:pt>
                <c:pt idx="11">
                  <c:v>0.0337</c:v>
                </c:pt>
                <c:pt idx="12">
                  <c:v>0.0924</c:v>
                </c:pt>
                <c:pt idx="13">
                  <c:v>0.0294</c:v>
                </c:pt>
                <c:pt idx="14">
                  <c:v>0.0138</c:v>
                </c:pt>
                <c:pt idx="15">
                  <c:v>-0.003</c:v>
                </c:pt>
                <c:pt idx="16">
                  <c:v>0.0593</c:v>
                </c:pt>
                <c:pt idx="17">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0</c:v>
                </c:pt>
                <c:pt idx="10">
                  <c:v>1</c:v>
                </c:pt>
                <c:pt idx="11">
                  <c:v>0</c:v>
                </c:pt>
                <c:pt idx="12">
                  <c:v>0</c:v>
                </c:pt>
                <c:pt idx="13">
                  <c:v>0</c:v>
                </c:pt>
                <c:pt idx="14">
                  <c:v>0</c:v>
                </c:pt>
                <c:pt idx="15">
                  <c:v>0</c:v>
                </c:pt>
                <c:pt idx="16">
                  <c:v>0</c:v>
                </c:pt>
                <c:pt idx="17">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2807283093330199</c:v>
                </c:pt>
                <c:pt idx="1">
                  <c:v>0.009964897595613208</c:v>
                </c:pt>
                <c:pt idx="2">
                  <c:v>-0.004661222977268481</c:v>
                </c:pt>
                <c:pt idx="3">
                  <c:v>0.04331509204943518</c:v>
                </c:pt>
                <c:pt idx="4">
                  <c:v>-0.03956715515146432</c:v>
                </c:pt>
                <c:pt idx="5">
                  <c:v>-0.021763926897744142</c:v>
                </c:pt>
                <c:pt idx="6">
                  <c:v>0.00999428571428584</c:v>
                </c:pt>
                <c:pt idx="7">
                  <c:v>-0.015464234004775274</c:v>
                </c:pt>
                <c:pt idx="8">
                  <c:v>0.01256541008937992</c:v>
                </c:pt>
                <c:pt idx="9">
                  <c:v>-0.01091851102125755</c:v>
                </c:pt>
                <c:pt idx="10">
                  <c:v>-0.01032684508747363</c:v>
                </c:pt>
                <c:pt idx="11">
                  <c:v>-0.013698876326569086</c:v>
                </c:pt>
                <c:pt idx="12">
                  <c:v>-0.009788466546087109</c:v>
                </c:pt>
                <c:pt idx="13">
                  <c:v>-0.002790945826615307</c:v>
                </c:pt>
                <c:pt idx="14">
                  <c:v>0.012350619290575994</c:v>
                </c:pt>
                <c:pt idx="15">
                  <c:v>0.0021281957921947354</c:v>
                </c:pt>
                <c:pt idx="16">
                  <c:v>-0.02028118166679603</c:v>
                </c:pt>
                <c:pt idx="17">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293</c:v>
                </c:pt>
                <c:pt idx="1">
                  <c:v>0.0408</c:v>
                </c:pt>
                <c:pt idx="2">
                  <c:v>0.0325</c:v>
                </c:pt>
                <c:pt idx="3">
                  <c:v>0.064</c:v>
                </c:pt>
                <c:pt idx="4">
                  <c:v>0.046</c:v>
                </c:pt>
                <c:pt idx="5">
                  <c:v>0.0246</c:v>
                </c:pt>
                <c:pt idx="6">
                  <c:v>0.01</c:v>
                </c:pt>
                <c:pt idx="7">
                  <c:v>0.0299</c:v>
                </c:pt>
                <c:pt idx="8">
                  <c:v>-0.1273</c:v>
                </c:pt>
                <c:pt idx="9">
                  <c:v>0.0256</c:v>
                </c:pt>
                <c:pt idx="10">
                  <c:v>0.0053</c:v>
                </c:pt>
                <c:pt idx="11">
                  <c:v>0.0133</c:v>
                </c:pt>
                <c:pt idx="12">
                  <c:v>0.0424</c:v>
                </c:pt>
                <c:pt idx="13">
                  <c:v>0.0197</c:v>
                </c:pt>
                <c:pt idx="14">
                  <c:v>0.0027</c:v>
                </c:pt>
                <c:pt idx="15">
                  <c:v>-0.0009</c:v>
                </c:pt>
                <c:pt idx="16">
                  <c:v>0.0241</c:v>
                </c:pt>
                <c:pt idx="17">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1</c:v>
                </c:pt>
                <c:pt idx="10">
                  <c:v>8</c:v>
                </c:pt>
                <c:pt idx="11">
                  <c:v>1</c:v>
                </c:pt>
                <c:pt idx="12">
                  <c:v>0</c:v>
                </c:pt>
                <c:pt idx="13">
                  <c:v>0</c:v>
                </c:pt>
                <c:pt idx="14">
                  <c:v>0</c:v>
                </c:pt>
                <c:pt idx="15">
                  <c:v>1</c:v>
                </c:pt>
                <c:pt idx="16">
                  <c:v>0</c:v>
                </c:pt>
                <c:pt idx="17">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17825170974804405</c:v>
                </c:pt>
                <c:pt idx="1">
                  <c:v>0.00911173136911592</c:v>
                </c:pt>
                <c:pt idx="2">
                  <c:v>-0.0055443065783198665</c:v>
                </c:pt>
                <c:pt idx="3">
                  <c:v>0.04750241907485124</c:v>
                </c:pt>
                <c:pt idx="4">
                  <c:v>-0.041765338004686715</c:v>
                </c:pt>
                <c:pt idx="5">
                  <c:v>-0.023502568444667526</c:v>
                </c:pt>
                <c:pt idx="6">
                  <c:v>-0.13164452038834965</c:v>
                </c:pt>
                <c:pt idx="7">
                  <c:v>-0.012619702136038777</c:v>
                </c:pt>
                <c:pt idx="8">
                  <c:v>0.012855325003839665</c:v>
                </c:pt>
                <c:pt idx="9">
                  <c:v>-0.011143298462436831</c:v>
                </c:pt>
                <c:pt idx="10">
                  <c:v>-0.008244710357852802</c:v>
                </c:pt>
                <c:pt idx="11">
                  <c:v>-0.009907569992901336</c:v>
                </c:pt>
                <c:pt idx="12">
                  <c:v>-0.014333092464671869</c:v>
                </c:pt>
                <c:pt idx="13">
                  <c:v>-0.013205903989986369</c:v>
                </c:pt>
                <c:pt idx="14">
                  <c:v>0.015704466510068408</c:v>
                </c:pt>
                <c:pt idx="15">
                  <c:v>-0.004236408279811706</c:v>
                </c:pt>
                <c:pt idx="16">
                  <c:v>-0.024275394057274406</c:v>
                </c:pt>
                <c:pt idx="17">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194</c:v>
                </c:pt>
                <c:pt idx="1">
                  <c:v>0.0398</c:v>
                </c:pt>
                <c:pt idx="2">
                  <c:v>0.0255</c:v>
                </c:pt>
                <c:pt idx="3">
                  <c:v>0.0668</c:v>
                </c:pt>
                <c:pt idx="4">
                  <c:v>0.0553</c:v>
                </c:pt>
                <c:pt idx="5">
                  <c:v>0.0248</c:v>
                </c:pt>
                <c:pt idx="6">
                  <c:v>0.0884</c:v>
                </c:pt>
                <c:pt idx="7">
                  <c:v>0.0294</c:v>
                </c:pt>
                <c:pt idx="8">
                  <c:v>-0.1229</c:v>
                </c:pt>
                <c:pt idx="9">
                  <c:v>0.0248</c:v>
                </c:pt>
                <c:pt idx="10">
                  <c:v>0.0061</c:v>
                </c:pt>
                <c:pt idx="11">
                  <c:v>0.0147</c:v>
                </c:pt>
                <c:pt idx="12">
                  <c:v>0.0391</c:v>
                </c:pt>
                <c:pt idx="13">
                  <c:v>0.0164</c:v>
                </c:pt>
                <c:pt idx="14">
                  <c:v>0.01</c:v>
                </c:pt>
                <c:pt idx="15">
                  <c:v>-0.0032</c:v>
                </c:pt>
                <c:pt idx="16">
                  <c:v>0.0205</c:v>
                </c:pt>
                <c:pt idx="17">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1</c:v>
                </c:pt>
                <c:pt idx="10">
                  <c:v>7</c:v>
                </c:pt>
                <c:pt idx="11">
                  <c:v>1</c:v>
                </c:pt>
                <c:pt idx="12">
                  <c:v>0</c:v>
                </c:pt>
                <c:pt idx="13">
                  <c:v>0</c:v>
                </c:pt>
                <c:pt idx="14">
                  <c:v>0</c:v>
                </c:pt>
                <c:pt idx="15">
                  <c:v>1</c:v>
                </c:pt>
                <c:pt idx="16">
                  <c:v>0</c:v>
                </c:pt>
                <c:pt idx="17">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321700845272832</c:v>
                </c:pt>
                <c:pt idx="1">
                  <c:v>0.006742771170060925</c:v>
                </c:pt>
                <c:pt idx="2">
                  <c:v>-0.007596929310047955</c:v>
                </c:pt>
                <c:pt idx="3">
                  <c:v>0.04148725789341343</c:v>
                </c:pt>
                <c:pt idx="4">
                  <c:v>-0.03868753463235096</c:v>
                </c:pt>
                <c:pt idx="5">
                  <c:v>-0.034010951325759695</c:v>
                </c:pt>
                <c:pt idx="6">
                  <c:v>0.0</c:v>
                </c:pt>
                <c:pt idx="7">
                  <c:v>-0.010927451920838781</c:v>
                </c:pt>
                <c:pt idx="8">
                  <c:v>0.013040364366248475</c:v>
                </c:pt>
                <c:pt idx="9">
                  <c:v>-0.007936599747162373</c:v>
                </c:pt>
                <c:pt idx="10">
                  <c:v>-0.009257686401815238</c:v>
                </c:pt>
                <c:pt idx="11">
                  <c:v>-0.012637452322327814</c:v>
                </c:pt>
                <c:pt idx="12">
                  <c:v>-0.01994229575242373</c:v>
                </c:pt>
                <c:pt idx="13">
                  <c:v>0.0005900261260789533</c:v>
                </c:pt>
                <c:pt idx="14">
                  <c:v>0.020764215200456633</c:v>
                </c:pt>
                <c:pt idx="15">
                  <c:v>0.0003806270565104011</c:v>
                </c:pt>
                <c:pt idx="16">
                  <c:v>-0.01913552128822701</c:v>
                </c:pt>
                <c:pt idx="17">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0282</c:v>
                </c:pt>
                <c:pt idx="1">
                  <c:v>0.0392</c:v>
                </c:pt>
                <c:pt idx="2">
                  <c:v>0.0323</c:v>
                </c:pt>
                <c:pt idx="3">
                  <c:v>0.0625</c:v>
                </c:pt>
                <c:pt idx="4">
                  <c:v>0.0468</c:v>
                </c:pt>
                <c:pt idx="5">
                  <c:v>0.0277</c:v>
                </c:pt>
                <c:pt idx="6">
                  <c:v>0.01</c:v>
                </c:pt>
                <c:pt idx="7">
                  <c:v>0.0219</c:v>
                </c:pt>
                <c:pt idx="8">
                  <c:v>-0.1275</c:v>
                </c:pt>
                <c:pt idx="9">
                  <c:v>0.023</c:v>
                </c:pt>
                <c:pt idx="10">
                  <c:v>0.0037</c:v>
                </c:pt>
                <c:pt idx="11">
                  <c:v>0.0095</c:v>
                </c:pt>
                <c:pt idx="12">
                  <c:v>0.0303</c:v>
                </c:pt>
                <c:pt idx="13">
                  <c:v>0.0179</c:v>
                </c:pt>
                <c:pt idx="14">
                  <c:v>0.0057</c:v>
                </c:pt>
                <c:pt idx="15">
                  <c:v>-0.0039</c:v>
                </c:pt>
                <c:pt idx="16">
                  <c:v>0.0185</c:v>
                </c:pt>
                <c:pt idx="17">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9</c:f>
              <c:strCache>
                <c:ptCount val="18"/>
                <c:pt idx="0">
                  <c:v>Mousseux Autres</c:v>
                </c:pt>
                <c:pt idx="1">
                  <c:v>Mousseux Italiens</c:v>
                </c:pt>
                <c:pt idx="2">
                  <c:v>Mousseux Val De Loire</c:v>
                </c:pt>
                <c:pt idx="3">
                  <c:v>Mousseux Bordelais</c:v>
                </c:pt>
                <c:pt idx="4">
                  <c:v>Mousseux Bourgogne</c:v>
                </c:pt>
                <c:pt idx="5">
                  <c:v>Mousseux Alsace</c:v>
                </c:pt>
                <c:pt idx="6">
                  <c:v>Mousseux Espagnols</c:v>
                </c:pt>
                <c:pt idx="7">
                  <c:v>Demi-Secs</c:v>
                </c:pt>
                <c:pt idx="8">
                  <c:v>Effervescents Sans Alcool</c:v>
                </c:pt>
                <c:pt idx="9">
                  <c:v>Rosés</c:v>
                </c:pt>
                <c:pt idx="10">
                  <c:v>Bruts</c:v>
                </c:pt>
                <c:pt idx="11">
                  <c:v>Blanc De Blancs</c:v>
                </c:pt>
                <c:pt idx="12">
                  <c:v>Millesimes</c:v>
                </c:pt>
                <c:pt idx="13">
                  <c:v>Blanc De Noirs</c:v>
                </c:pt>
                <c:pt idx="14">
                  <c:v>Extra Brut</c:v>
                </c:pt>
                <c:pt idx="15">
                  <c:v>Crus</c:v>
                </c:pt>
                <c:pt idx="16">
                  <c:v>Brut Nature</c:v>
                </c:pt>
                <c:pt idx="17">
                  <c:v/>
                </c:pt>
              </c:strCache>
            </c:strRef>
          </c:cat>
          <c:val>
            <c:numRef>
              <c:f>Sheet1!$B$2:$B$19</c:f>
              <c:numCache>
                <c:formatCode>General</c:formatCode>
                <c:ptCount val="18"/>
                <c:pt idx="0">
                  <c:v>0</c:v>
                </c:pt>
                <c:pt idx="1">
                  <c:v>0</c:v>
                </c:pt>
                <c:pt idx="2">
                  <c:v>0</c:v>
                </c:pt>
                <c:pt idx="3">
                  <c:v>0</c:v>
                </c:pt>
                <c:pt idx="4">
                  <c:v>0</c:v>
                </c:pt>
                <c:pt idx="5">
                  <c:v>0</c:v>
                </c:pt>
                <c:pt idx="6">
                  <c:v>0</c:v>
                </c:pt>
                <c:pt idx="7">
                  <c:v>0</c:v>
                </c:pt>
                <c:pt idx="8">
                  <c:v>0</c:v>
                </c:pt>
                <c:pt idx="9">
                  <c:v>1</c:v>
                </c:pt>
                <c:pt idx="10">
                  <c:v>9</c:v>
                </c:pt>
                <c:pt idx="11">
                  <c:v>2</c:v>
                </c:pt>
                <c:pt idx="12">
                  <c:v>1</c:v>
                </c:pt>
                <c:pt idx="13">
                  <c:v>0</c:v>
                </c:pt>
                <c:pt idx="14">
                  <c:v>1</c:v>
                </c:pt>
                <c:pt idx="15">
                  <c:v>1</c:v>
                </c:pt>
                <c:pt idx="16">
                  <c:v>0</c:v>
                </c:pt>
                <c:pt idx="17">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62</c:v>
                </c:pt>
                <c:pt idx="1">
                  <c:v>Av Price/Vol 60.73</c:v>
                </c:pt>
                <c:pt idx="2">
                  <c:v>Av Price/Vol 23.68</c:v>
                </c:pt>
              </c:strCache>
            </c:strRef>
          </c:cat>
          <c:val>
            <c:numRef>
              <c:f>Sheet1!$B$2:$B$4</c:f>
              <c:numCache>
                <c:formatCode>General</c:formatCode>
                <c:ptCount val="3"/>
                <c:pt idx="0">
                  <c:v>5.6535</c:v>
                </c:pt>
                <c:pt idx="1">
                  <c:v>19.7156</c:v>
                </c:pt>
                <c:pt idx="2">
                  <c:v>13.115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62</c:v>
                </c:pt>
                <c:pt idx="1">
                  <c:v>Av Price/Vol 60.73</c:v>
                </c:pt>
                <c:pt idx="2">
                  <c:v>Av Price/Vol 23.68</c:v>
                </c:pt>
              </c:strCache>
            </c:strRef>
          </c:cat>
          <c:val>
            <c:numRef>
              <c:f>Sheet1!$C$2:$C$4</c:f>
              <c:numCache>
                <c:formatCode>General</c:formatCode>
                <c:ptCount val="3"/>
                <c:pt idx="0">
                  <c:v>5.2807</c:v>
                </c:pt>
                <c:pt idx="1">
                  <c:v>30.2168</c:v>
                </c:pt>
                <c:pt idx="2">
                  <c:v>11.570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62</c:v>
                </c:pt>
                <c:pt idx="1">
                  <c:v>Av Price/Vol 60.73</c:v>
                </c:pt>
                <c:pt idx="2">
                  <c:v>Av Price/Vol 23.68</c:v>
                </c:pt>
              </c:strCache>
            </c:strRef>
          </c:cat>
          <c:val>
            <c:numRef>
              <c:f>Sheet1!$D$2:$D$4</c:f>
              <c:numCache>
                <c:formatCode>General</c:formatCode>
                <c:ptCount val="3"/>
                <c:pt idx="0">
                  <c:v>0.4182</c:v>
                </c:pt>
                <c:pt idx="1">
                  <c:v>0.5307</c:v>
                </c:pt>
                <c:pt idx="2">
                  <c:v>-2.879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62</c:v>
                </c:pt>
                <c:pt idx="1">
                  <c:v>Av Price/Vol 60.73</c:v>
                </c:pt>
                <c:pt idx="2">
                  <c:v>Av Price/Vol 23.68</c:v>
                </c:pt>
              </c:strCache>
            </c:strRef>
          </c:cat>
          <c:val>
            <c:numRef>
              <c:f>Sheet1!$E$2:$E$4</c:f>
              <c:numCache>
                <c:formatCode>General</c:formatCode>
                <c:ptCount val="3"/>
                <c:pt idx="0">
                  <c:v>2.2710401750985643</c:v>
                </c:pt>
                <c:pt idx="1">
                  <c:v>10.105784347093174</c:v>
                </c:pt>
                <c:pt idx="2">
                  <c:v>4.36219418960244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7ECAC4"/>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80E2BC0-42FF-4F2E-BC4D-5214134FB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38B9A32-3EC8-4D0E-816C-E840AA2F7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B2565C3-C470-4AC0-A2DC-D88B29D4C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C678051-FC27-4F4C-A935-BBD908101F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EE494BD-38CE-4AA7-9321-7B43CF647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0F30ECD-A507-417E-92E4-898ED3179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EB92F44-797D-4FC8-8724-601CAF1DD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E125637-1F5E-44C8-82A3-65F650634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7.4734</c:v>
                </c:pt>
                <c:pt idx="1">
                  <c:v>36.6622</c:v>
                </c:pt>
                <c:pt idx="2">
                  <c:v>36.6601</c:v>
                </c:pt>
                <c:pt idx="3">
                  <c:v>37.1939</c:v>
                </c:pt>
                <c:pt idx="4">
                  <c:v>36.6076</c:v>
                </c:pt>
              </c:numCache>
            </c:numRef>
          </c:xVal>
          <c:yVal>
            <c:numRef>
              <c:f>Sheet1!$B$2:$B$6</c:f>
              <c:numCache>
                <c:formatCode>General</c:formatCode>
                <c:ptCount val="5"/>
                <c:pt idx="0">
                  <c:v>0.422</c:v>
                </c:pt>
                <c:pt idx="1">
                  <c:v>0.435</c:v>
                </c:pt>
                <c:pt idx="2">
                  <c:v>0.4301</c:v>
                </c:pt>
                <c:pt idx="3">
                  <c:v>0.4293</c:v>
                </c:pt>
                <c:pt idx="4">
                  <c:v>0.4328</c:v>
                </c:pt>
              </c:numCache>
            </c:numRef>
          </c:yVal>
          <c:bubbleSize>
            <c:numRef>
              <c:f>Sheet1!$C$2:$C$6</c:f>
              <c:numCache>
                <c:formatCode>General</c:formatCode>
                <c:ptCount val="5"/>
                <c:pt idx="0">
                  <c:v>189877.92480000004</c:v>
                </c:pt>
                <c:pt idx="1">
                  <c:v>86302.85560000001</c:v>
                </c:pt>
                <c:pt idx="2">
                  <c:v>870897.8184000002</c:v>
                </c:pt>
                <c:pt idx="3">
                  <c:v>237222.5493</c:v>
                </c:pt>
                <c:pt idx="4">
                  <c:v>345978.790000000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4.96807999999999"/>
          <c:min val="29.286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2988572108667733"/>
        <c:crossBetween val="midCat"/>
      </c:valAx>
      <c:valAx>
        <c:axId val="1011451359"/>
        <c:scaling>
          <c:orientation val="minMax"/>
          <c:max val="0.882"/>
          <c:min val="0.097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6.8121415608972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9</c:v>
                </c:pt>
                <c:pt idx="1">
                  <c:v>Av Price/Vol 57.55</c:v>
                </c:pt>
                <c:pt idx="2">
                  <c:v>Av Price/Vol 23.08</c:v>
                </c:pt>
              </c:strCache>
            </c:strRef>
          </c:cat>
          <c:val>
            <c:numRef>
              <c:f>Sheet1!$B$2:$B$4</c:f>
              <c:numCache>
                <c:formatCode>General</c:formatCode>
                <c:ptCount val="3"/>
                <c:pt idx="0">
                  <c:v>5.734</c:v>
                </c:pt>
                <c:pt idx="1">
                  <c:v>18.9374</c:v>
                </c:pt>
                <c:pt idx="2">
                  <c:v>12.803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9</c:v>
                </c:pt>
                <c:pt idx="1">
                  <c:v>Av Price/Vol 57.55</c:v>
                </c:pt>
                <c:pt idx="2">
                  <c:v>Av Price/Vol 23.08</c:v>
                </c:pt>
              </c:strCache>
            </c:strRef>
          </c:cat>
          <c:val>
            <c:numRef>
              <c:f>Sheet1!$C$2:$C$4</c:f>
              <c:numCache>
                <c:formatCode>General</c:formatCode>
                <c:ptCount val="3"/>
                <c:pt idx="0">
                  <c:v>5.5686</c:v>
                </c:pt>
                <c:pt idx="1">
                  <c:v>28.5266</c:v>
                </c:pt>
                <c:pt idx="2">
                  <c:v>11.35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9</c:v>
                </c:pt>
                <c:pt idx="1">
                  <c:v>Av Price/Vol 57.55</c:v>
                </c:pt>
                <c:pt idx="2">
                  <c:v>Av Price/Vol 23.08</c:v>
                </c:pt>
              </c:strCache>
            </c:strRef>
          </c:cat>
          <c:val>
            <c:numRef>
              <c:f>Sheet1!$D$2:$D$4</c:f>
              <c:numCache>
                <c:formatCode>General</c:formatCode>
                <c:ptCount val="3"/>
                <c:pt idx="0">
                  <c:v>0.4299</c:v>
                </c:pt>
                <c:pt idx="1">
                  <c:v>0.3612</c:v>
                </c:pt>
                <c:pt idx="2">
                  <c:v>-2.728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9</c:v>
                </c:pt>
                <c:pt idx="1">
                  <c:v>Av Price/Vol 57.55</c:v>
                </c:pt>
                <c:pt idx="2">
                  <c:v>Av Price/Vol 23.08</c:v>
                </c:pt>
              </c:strCache>
            </c:strRef>
          </c:cat>
          <c:val>
            <c:numRef>
              <c:f>Sheet1!$E$2:$E$4</c:f>
              <c:numCache>
                <c:formatCode>General</c:formatCode>
                <c:ptCount val="3"/>
                <c:pt idx="0">
                  <c:v>2.3472692344383064</c:v>
                </c:pt>
                <c:pt idx="1">
                  <c:v>9.574471575499631</c:v>
                </c:pt>
                <c:pt idx="2">
                  <c:v>4.28746101342494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5.73</c:v>
                </c:pt>
                <c:pt idx="2">
                  <c:v>Av Price/Vol 23.02</c:v>
                </c:pt>
              </c:strCache>
            </c:strRef>
          </c:cat>
          <c:val>
            <c:numRef>
              <c:f>Sheet1!$B$2:$B$4</c:f>
              <c:numCache>
                <c:formatCode>General</c:formatCode>
                <c:ptCount val="3"/>
                <c:pt idx="0">
                  <c:v>5.7787</c:v>
                </c:pt>
                <c:pt idx="1">
                  <c:v>18.4514</c:v>
                </c:pt>
                <c:pt idx="2">
                  <c:v>12.914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5.73</c:v>
                </c:pt>
                <c:pt idx="2">
                  <c:v>Av Price/Vol 23.02</c:v>
                </c:pt>
              </c:strCache>
            </c:strRef>
          </c:cat>
          <c:val>
            <c:numRef>
              <c:f>Sheet1!$C$2:$C$4</c:f>
              <c:numCache>
                <c:formatCode>General</c:formatCode>
                <c:ptCount val="3"/>
                <c:pt idx="0">
                  <c:v>5.5106</c:v>
                </c:pt>
                <c:pt idx="1">
                  <c:v>27.657</c:v>
                </c:pt>
                <c:pt idx="2">
                  <c:v>11.468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5.73</c:v>
                </c:pt>
                <c:pt idx="2">
                  <c:v>Av Price/Vol 23.02</c:v>
                </c:pt>
              </c:strCache>
            </c:strRef>
          </c:cat>
          <c:val>
            <c:numRef>
              <c:f>Sheet1!$D$2:$D$4</c:f>
              <c:numCache>
                <c:formatCode>General</c:formatCode>
                <c:ptCount val="3"/>
                <c:pt idx="0">
                  <c:v>0.4209</c:v>
                </c:pt>
                <c:pt idx="1">
                  <c:v>0.2602</c:v>
                </c:pt>
                <c:pt idx="2">
                  <c:v>-2.829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5.73</c:v>
                </c:pt>
                <c:pt idx="2">
                  <c:v>Av Price/Vol 23.02</c:v>
                </c:pt>
              </c:strCache>
            </c:strRef>
          </c:cat>
          <c:val>
            <c:numRef>
              <c:f>Sheet1!$E$2:$E$4</c:f>
              <c:numCache>
                <c:formatCode>General</c:formatCode>
                <c:ptCount val="3"/>
                <c:pt idx="0">
                  <c:v>2.3421244382339808</c:v>
                </c:pt>
                <c:pt idx="1">
                  <c:v>9.275629178548808</c:v>
                </c:pt>
                <c:pt idx="2">
                  <c:v>4.31062395666005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26</c:v>
                </c:pt>
                <c:pt idx="1">
                  <c:v>Av Price/Vol 64.91</c:v>
                </c:pt>
                <c:pt idx="2">
                  <c:v>Av Price/Vol 27.25</c:v>
                </c:pt>
              </c:strCache>
            </c:strRef>
          </c:cat>
          <c:val>
            <c:numRef>
              <c:f>Sheet1!$B$2:$B$4</c:f>
              <c:numCache>
                <c:formatCode>General</c:formatCode>
                <c:ptCount val="3"/>
                <c:pt idx="0">
                  <c:v>5.9058</c:v>
                </c:pt>
                <c:pt idx="1">
                  <c:v>21.1833</c:v>
                </c:pt>
                <c:pt idx="2">
                  <c:v>15.625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26</c:v>
                </c:pt>
                <c:pt idx="1">
                  <c:v>Av Price/Vol 64.91</c:v>
                </c:pt>
                <c:pt idx="2">
                  <c:v>Av Price/Vol 27.25</c:v>
                </c:pt>
              </c:strCache>
            </c:strRef>
          </c:cat>
          <c:val>
            <c:numRef>
              <c:f>Sheet1!$C$2:$C$4</c:f>
              <c:numCache>
                <c:formatCode>General</c:formatCode>
                <c:ptCount val="3"/>
                <c:pt idx="0">
                  <c:v>5.4219</c:v>
                </c:pt>
                <c:pt idx="1">
                  <c:v>32.0043</c:v>
                </c:pt>
                <c:pt idx="2">
                  <c:v>13.144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26</c:v>
                </c:pt>
                <c:pt idx="1">
                  <c:v>Av Price/Vol 64.91</c:v>
                </c:pt>
                <c:pt idx="2">
                  <c:v>Av Price/Vol 27.25</c:v>
                </c:pt>
              </c:strCache>
            </c:strRef>
          </c:cat>
          <c:val>
            <c:numRef>
              <c:f>Sheet1!$D$2:$D$4</c:f>
              <c:numCache>
                <c:formatCode>General</c:formatCode>
                <c:ptCount val="3"/>
                <c:pt idx="0">
                  <c:v>0.5514</c:v>
                </c:pt>
                <c:pt idx="1">
                  <c:v>0.6111</c:v>
                </c:pt>
                <c:pt idx="2">
                  <c:v>-3.223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26</c:v>
                </c:pt>
                <c:pt idx="1">
                  <c:v>Av Price/Vol 64.91</c:v>
                </c:pt>
                <c:pt idx="2">
                  <c:v>Av Price/Vol 27.25</c:v>
                </c:pt>
              </c:strCache>
            </c:strRef>
          </c:cat>
          <c:val>
            <c:numRef>
              <c:f>Sheet1!$E$2:$E$4</c:f>
              <c:numCache>
                <c:formatCode>General</c:formatCode>
                <c:ptCount val="3"/>
                <c:pt idx="0">
                  <c:v>2.376322376499482</c:v>
                </c:pt>
                <c:pt idx="1">
                  <c:v>10.778514230933476</c:v>
                </c:pt>
                <c:pt idx="2">
                  <c:v>5.10927008880225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5.44</c:v>
                </c:pt>
                <c:pt idx="1">
                  <c:v>Av Price/Vol 53.49</c:v>
                </c:pt>
                <c:pt idx="2">
                  <c:v>Av Price/Vol 22.94</c:v>
                </c:pt>
              </c:strCache>
            </c:strRef>
          </c:cat>
          <c:val>
            <c:numRef>
              <c:f>Sheet1!$B$2:$B$4</c:f>
              <c:numCache>
                <c:formatCode>General</c:formatCode>
                <c:ptCount val="3"/>
                <c:pt idx="0">
                  <c:v>5.2031</c:v>
                </c:pt>
                <c:pt idx="1">
                  <c:v>17.266</c:v>
                </c:pt>
                <c:pt idx="2">
                  <c:v>11.885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5.44</c:v>
                </c:pt>
                <c:pt idx="1">
                  <c:v>Av Price/Vol 53.49</c:v>
                </c:pt>
                <c:pt idx="2">
                  <c:v>Av Price/Vol 22.94</c:v>
                </c:pt>
              </c:strCache>
            </c:strRef>
          </c:cat>
          <c:val>
            <c:numRef>
              <c:f>Sheet1!$C$2:$C$4</c:f>
              <c:numCache>
                <c:formatCode>General</c:formatCode>
                <c:ptCount val="3"/>
                <c:pt idx="0">
                  <c:v>7.3694</c:v>
                </c:pt>
                <c:pt idx="1">
                  <c:v>27.1368</c:v>
                </c:pt>
                <c:pt idx="2">
                  <c:v>10.841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5.44</c:v>
                </c:pt>
                <c:pt idx="1">
                  <c:v>Av Price/Vol 53.49</c:v>
                </c:pt>
                <c:pt idx="2">
                  <c:v>Av Price/Vol 22.94</c:v>
                </c:pt>
              </c:strCache>
            </c:strRef>
          </c:cat>
          <c:val>
            <c:numRef>
              <c:f>Sheet1!$D$2:$D$4</c:f>
              <c:numCache>
                <c:formatCode>General</c:formatCode>
                <c:ptCount val="3"/>
                <c:pt idx="0">
                  <c:v>0.2999</c:v>
                </c:pt>
                <c:pt idx="1">
                  <c:v>0.076</c:v>
                </c:pt>
                <c:pt idx="2">
                  <c:v>-2.016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5.44</c:v>
                </c:pt>
                <c:pt idx="1">
                  <c:v>Av Price/Vol 53.49</c:v>
                </c:pt>
                <c:pt idx="2">
                  <c:v>Av Price/Vol 22.94</c:v>
                </c:pt>
              </c:strCache>
            </c:strRef>
          </c:cat>
          <c:val>
            <c:numRef>
              <c:f>Sheet1!$E$2:$E$4</c:f>
              <c:numCache>
                <c:formatCode>General</c:formatCode>
                <c:ptCount val="3"/>
                <c:pt idx="0">
                  <c:v>2.576354489164087</c:v>
                </c:pt>
                <c:pt idx="1">
                  <c:v>8.943411355261315</c:v>
                </c:pt>
                <c:pt idx="2">
                  <c:v>4.14622973925299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43</c:v>
                </c:pt>
                <c:pt idx="1">
                  <c:v>Av Price/Vol 54.08</c:v>
                </c:pt>
                <c:pt idx="2">
                  <c:v>Av Price/Vol 21.66</c:v>
                </c:pt>
              </c:strCache>
            </c:strRef>
          </c:cat>
          <c:val>
            <c:numRef>
              <c:f>Sheet1!$B$2:$B$4</c:f>
              <c:numCache>
                <c:formatCode>General</c:formatCode>
                <c:ptCount val="3"/>
                <c:pt idx="0">
                  <c:v>5.4101</c:v>
                </c:pt>
                <c:pt idx="1">
                  <c:v>17.5055</c:v>
                </c:pt>
                <c:pt idx="2">
                  <c:v>11.135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43</c:v>
                </c:pt>
                <c:pt idx="1">
                  <c:v>Av Price/Vol 54.08</c:v>
                </c:pt>
                <c:pt idx="2">
                  <c:v>Av Price/Vol 21.66</c:v>
                </c:pt>
              </c:strCache>
            </c:strRef>
          </c:cat>
          <c:val>
            <c:numRef>
              <c:f>Sheet1!$C$2:$C$4</c:f>
              <c:numCache>
                <c:formatCode>General</c:formatCode>
                <c:ptCount val="3"/>
                <c:pt idx="0">
                  <c:v>5.3973</c:v>
                </c:pt>
                <c:pt idx="1">
                  <c:v>26.6322</c:v>
                </c:pt>
                <c:pt idx="2">
                  <c:v>10.362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43</c:v>
                </c:pt>
                <c:pt idx="1">
                  <c:v>Av Price/Vol 54.08</c:v>
                </c:pt>
                <c:pt idx="2">
                  <c:v>Av Price/Vol 21.66</c:v>
                </c:pt>
              </c:strCache>
            </c:strRef>
          </c:cat>
          <c:val>
            <c:numRef>
              <c:f>Sheet1!$D$2:$D$4</c:f>
              <c:numCache>
                <c:formatCode>General</c:formatCode>
                <c:ptCount val="3"/>
                <c:pt idx="0">
                  <c:v>0.3619</c:v>
                </c:pt>
                <c:pt idx="1">
                  <c:v>0.7272</c:v>
                </c:pt>
                <c:pt idx="2">
                  <c:v>-2.03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43</c:v>
                </c:pt>
                <c:pt idx="1">
                  <c:v>Av Price/Vol 54.08</c:v>
                </c:pt>
                <c:pt idx="2">
                  <c:v>Av Price/Vol 21.66</c:v>
                </c:pt>
              </c:strCache>
            </c:strRef>
          </c:cat>
          <c:val>
            <c:numRef>
              <c:f>Sheet1!$E$2:$E$4</c:f>
              <c:numCache>
                <c:formatCode>General</c:formatCode>
                <c:ptCount val="3"/>
                <c:pt idx="0">
                  <c:v>2.2370460819706866</c:v>
                </c:pt>
                <c:pt idx="1">
                  <c:v>9.001952186154211</c:v>
                </c:pt>
                <c:pt idx="2">
                  <c:v>3.898373983739838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FA81149-8736-44C5-AC50-5B67053CE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1396337-F98B-49D5-920E-057E6B7B6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AFE21FE-622F-4A1A-A1CF-BFD28B64B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0FBC53D-1EA3-403E-85ED-768022FD0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E58A66B-7B1E-45CA-AA7B-AA065D381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24E7F81-FD51-4F4F-AA74-AFC4D8016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B48AC61-3527-47AC-8185-7991234A0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1548E9B-A376-4083-A3F9-B9857DF34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3.4063</c:v>
                </c:pt>
              </c:numCache>
            </c:numRef>
          </c:xVal>
          <c:yVal>
            <c:numRef>
              <c:f>Sheet1!$B$2:$B$2</c:f>
              <c:numCache>
                <c:formatCode>General</c:formatCode>
                <c:ptCount val="1"/>
                <c:pt idx="0">
                  <c:v>0.4373</c:v>
                </c:pt>
              </c:numCache>
            </c:numRef>
          </c:yVal>
          <c:bubbleSize>
            <c:numRef>
              <c:f>Sheet1!$C$2:$C$2</c:f>
              <c:numCache>
                <c:formatCode>General</c:formatCode>
                <c:ptCount val="1"/>
                <c:pt idx="0">
                  <c:v>2409430.9646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0.08756"/>
          <c:min val="26.72504000000000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73"/>
        <c:crossBetween val="midCat"/>
      </c:valAx>
      <c:valAx>
        <c:axId val="1011451359"/>
        <c:scaling>
          <c:orientation val="minMax"/>
          <c:max val="0.8847600000000001"/>
          <c:min val="0.10984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3.406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7ECAC4"/>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0708ECA-F1D1-4537-8A8D-396C530E6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585138D-2DC1-4066-A2F8-5A52ABAC4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8397273-C97D-4A95-BB25-F16A588AC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9CF387B-C97D-467A-930D-CFA97DBCC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D43A25E-B487-4262-8969-3F7B1174F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4BB6C53-B3AC-4A7A-8602-28686406E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9CE1AAD-D656-4D50-828B-1987C40A6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D80F730-81C3-473B-A064-5BC0CC052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1.3276</c:v>
                </c:pt>
                <c:pt idx="1">
                  <c:v>11.0335</c:v>
                </c:pt>
                <c:pt idx="2">
                  <c:v>11.2893</c:v>
                </c:pt>
                <c:pt idx="3">
                  <c:v>11.5503</c:v>
                </c:pt>
                <c:pt idx="4">
                  <c:v>11.3459</c:v>
                </c:pt>
              </c:numCache>
            </c:numRef>
          </c:xVal>
          <c:yVal>
            <c:numRef>
              <c:f>Sheet1!$B$2:$B$6</c:f>
              <c:numCache>
                <c:formatCode>General</c:formatCode>
                <c:ptCount val="5"/>
                <c:pt idx="0">
                  <c:v>0.5214</c:v>
                </c:pt>
                <c:pt idx="1">
                  <c:v>0.4924</c:v>
                </c:pt>
                <c:pt idx="2">
                  <c:v>0.5119</c:v>
                </c:pt>
                <c:pt idx="3">
                  <c:v>0.5078</c:v>
                </c:pt>
                <c:pt idx="4">
                  <c:v>0.5081</c:v>
                </c:pt>
              </c:numCache>
            </c:numRef>
          </c:yVal>
          <c:bubbleSize>
            <c:numRef>
              <c:f>Sheet1!$C$2:$C$6</c:f>
              <c:numCache>
                <c:formatCode>General</c:formatCode>
                <c:ptCount val="5"/>
                <c:pt idx="0">
                  <c:v>159900.8538999999</c:v>
                </c:pt>
                <c:pt idx="1">
                  <c:v>179051.5662</c:v>
                </c:pt>
                <c:pt idx="2">
                  <c:v>1631970.0319999992</c:v>
                </c:pt>
                <c:pt idx="3">
                  <c:v>370601.6082999999</c:v>
                </c:pt>
                <c:pt idx="4">
                  <c:v>669000.77550000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86036"/>
          <c:min val="8.826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098956594618239"/>
        <c:crossBetween val="midCat"/>
      </c:valAx>
      <c:valAx>
        <c:axId val="1011451359"/>
        <c:scaling>
          <c:orientation val="minMax"/>
          <c:max val="0.9856799999999999"/>
          <c:min val="0.15392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32082781687703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6.34</c:v>
                </c:pt>
                <c:pt idx="2">
                  <c:v>Av Price/Vol 23.11</c:v>
                </c:pt>
              </c:strCache>
            </c:strRef>
          </c:cat>
          <c:val>
            <c:numRef>
              <c:f>Sheet1!$B$2:$B$4</c:f>
              <c:numCache>
                <c:formatCode>General</c:formatCode>
                <c:ptCount val="3"/>
                <c:pt idx="0">
                  <c:v>5.6931</c:v>
                </c:pt>
                <c:pt idx="1">
                  <c:v>18.5463</c:v>
                </c:pt>
                <c:pt idx="2">
                  <c:v>12.893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6.34</c:v>
                </c:pt>
                <c:pt idx="2">
                  <c:v>Av Price/Vol 23.11</c:v>
                </c:pt>
              </c:strCache>
            </c:strRef>
          </c:cat>
          <c:val>
            <c:numRef>
              <c:f>Sheet1!$C$2:$C$4</c:f>
              <c:numCache>
                <c:formatCode>General</c:formatCode>
                <c:ptCount val="3"/>
                <c:pt idx="0">
                  <c:v>5.6066</c:v>
                </c:pt>
                <c:pt idx="1">
                  <c:v>27.9638</c:v>
                </c:pt>
                <c:pt idx="2">
                  <c:v>11.53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6.34</c:v>
                </c:pt>
                <c:pt idx="2">
                  <c:v>Av Price/Vol 23.11</c:v>
                </c:pt>
              </c:strCache>
            </c:strRef>
          </c:cat>
          <c:val>
            <c:numRef>
              <c:f>Sheet1!$D$2:$D$4</c:f>
              <c:numCache>
                <c:formatCode>General</c:formatCode>
                <c:ptCount val="3"/>
                <c:pt idx="0">
                  <c:v>0.4087</c:v>
                </c:pt>
                <c:pt idx="1">
                  <c:v>0.3373</c:v>
                </c:pt>
                <c:pt idx="2">
                  <c:v>-2.787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06</c:v>
                </c:pt>
                <c:pt idx="1">
                  <c:v>Av Price/Vol 56.34</c:v>
                </c:pt>
                <c:pt idx="2">
                  <c:v>Av Price/Vol 23.11</c:v>
                </c:pt>
              </c:strCache>
            </c:strRef>
          </c:cat>
          <c:val>
            <c:numRef>
              <c:f>Sheet1!$E$2:$E$4</c:f>
              <c:numCache>
                <c:formatCode>General</c:formatCode>
                <c:ptCount val="3"/>
                <c:pt idx="0">
                  <c:v>2.3421150172497356</c:v>
                </c:pt>
                <c:pt idx="1">
                  <c:v>9.377486077963367</c:v>
                </c:pt>
                <c:pt idx="2">
                  <c:v>4.328584846587351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34</c:v>
                </c:pt>
                <c:pt idx="1">
                  <c:v>Av Price/Vol 56.20</c:v>
                </c:pt>
                <c:pt idx="2">
                  <c:v>Av Price/Vol 22.02</c:v>
                </c:pt>
              </c:strCache>
            </c:strRef>
          </c:cat>
          <c:val>
            <c:numRef>
              <c:f>Sheet1!$B$2:$B$4</c:f>
              <c:numCache>
                <c:formatCode>General</c:formatCode>
                <c:ptCount val="3"/>
                <c:pt idx="0">
                  <c:v>5.7559</c:v>
                </c:pt>
                <c:pt idx="1">
                  <c:v>18.5688</c:v>
                </c:pt>
                <c:pt idx="2">
                  <c:v>12.10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34</c:v>
                </c:pt>
                <c:pt idx="1">
                  <c:v>Av Price/Vol 56.20</c:v>
                </c:pt>
                <c:pt idx="2">
                  <c:v>Av Price/Vol 22.02</c:v>
                </c:pt>
              </c:strCache>
            </c:strRef>
          </c:cat>
          <c:val>
            <c:numRef>
              <c:f>Sheet1!$C$2:$C$4</c:f>
              <c:numCache>
                <c:formatCode>General</c:formatCode>
                <c:ptCount val="3"/>
                <c:pt idx="0">
                  <c:v>5.7459</c:v>
                </c:pt>
                <c:pt idx="1">
                  <c:v>27.8124</c:v>
                </c:pt>
                <c:pt idx="2">
                  <c:v>11.01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34</c:v>
                </c:pt>
                <c:pt idx="1">
                  <c:v>Av Price/Vol 56.20</c:v>
                </c:pt>
                <c:pt idx="2">
                  <c:v>Av Price/Vol 22.02</c:v>
                </c:pt>
              </c:strCache>
            </c:strRef>
          </c:cat>
          <c:val>
            <c:numRef>
              <c:f>Sheet1!$D$2:$D$4</c:f>
              <c:numCache>
                <c:formatCode>General</c:formatCode>
                <c:ptCount val="3"/>
                <c:pt idx="0">
                  <c:v>0.4349</c:v>
                </c:pt>
                <c:pt idx="1">
                  <c:v>0.3735</c:v>
                </c:pt>
                <c:pt idx="2">
                  <c:v>-2.609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4.34</c:v>
                </c:pt>
                <c:pt idx="1">
                  <c:v>Av Price/Vol 56.20</c:v>
                </c:pt>
                <c:pt idx="2">
                  <c:v>Av Price/Vol 22.02</c:v>
                </c:pt>
              </c:strCache>
            </c:strRef>
          </c:cat>
          <c:val>
            <c:numRef>
              <c:f>Sheet1!$E$2:$E$4</c:f>
              <c:numCache>
                <c:formatCode>General</c:formatCode>
                <c:ptCount val="3"/>
                <c:pt idx="0">
                  <c:v>2.3875231777401673</c:v>
                </c:pt>
                <c:pt idx="1">
                  <c:v>9.356184107108973</c:v>
                </c:pt>
                <c:pt idx="2">
                  <c:v>4.100459590704125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56</c:v>
                </c:pt>
                <c:pt idx="1">
                  <c:v>Av Price/Vol 12.03</c:v>
                </c:pt>
                <c:pt idx="2">
                  <c:v>Av Price/Vol 15.59</c:v>
                </c:pt>
                <c:pt idx="3">
                  <c:v>Av Price/Vol 13.95</c:v>
                </c:pt>
                <c:pt idx="4">
                  <c:v>Av Price/Vol 17.12</c:v>
                </c:pt>
                <c:pt idx="5">
                  <c:v>Av Price/Vol 23.35</c:v>
                </c:pt>
                <c:pt idx="6">
                  <c:v>Av Price/Vol 54.65</c:v>
                </c:pt>
                <c:pt idx="7">
                  <c:v>Av Price/Vol 23.68</c:v>
                </c:pt>
                <c:pt idx="8">
                  <c:v>Av Price/Vol 77.96</c:v>
                </c:pt>
                <c:pt idx="9">
                  <c:v>Av Price/Vol 52.98</c:v>
                </c:pt>
                <c:pt idx="10">
                  <c:v>Av Price/Vol 106.74</c:v>
                </c:pt>
                <c:pt idx="11">
                  <c:v>Av Price/Vol 225.28</c:v>
                </c:pt>
                <c:pt idx="12">
                  <c:v>Av Price/Vol 50.15</c:v>
                </c:pt>
                <c:pt idx="13">
                  <c:v>Av Price/Vol 44.67</c:v>
                </c:pt>
                <c:pt idx="14">
                  <c:v>Av Price/Vol 39.92</c:v>
                </c:pt>
                <c:pt idx="15">
                  <c:v>Av Price/Vol 65.73</c:v>
                </c:pt>
              </c:strCache>
            </c:strRef>
          </c:cat>
          <c:val>
            <c:numRef>
              <c:f>Sheet1!$B$2:$B$17</c:f>
              <c:numCache>
                <c:formatCode>General</c:formatCode>
                <c:ptCount val="16"/>
                <c:pt idx="0">
                  <c:v>5.292</c:v>
                </c:pt>
                <c:pt idx="1">
                  <c:v>5.2465</c:v>
                </c:pt>
                <c:pt idx="2">
                  <c:v>6.4122</c:v>
                </c:pt>
                <c:pt idx="3">
                  <c:v>4.9956</c:v>
                </c:pt>
                <c:pt idx="4">
                  <c:v>6.8555</c:v>
                </c:pt>
                <c:pt idx="5">
                  <c:v>8.6334</c:v>
                </c:pt>
                <c:pt idx="6">
                  <c:v>18.4671</c:v>
                </c:pt>
                <c:pt idx="7">
                  <c:v>13.1151</c:v>
                </c:pt>
                <c:pt idx="8">
                  <c:v>25.3788</c:v>
                </c:pt>
                <c:pt idx="9">
                  <c:v>17.0955</c:v>
                </c:pt>
                <c:pt idx="10">
                  <c:v>35.3345</c:v>
                </c:pt>
                <c:pt idx="11">
                  <c:v>66.1875</c:v>
                </c:pt>
                <c:pt idx="12">
                  <c:v>17.44</c:v>
                </c:pt>
                <c:pt idx="13">
                  <c:v>15.9274</c:v>
                </c:pt>
                <c:pt idx="14">
                  <c:v>14.6217</c:v>
                </c:pt>
                <c:pt idx="15">
                  <c:v>22.581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56</c:v>
                </c:pt>
                <c:pt idx="1">
                  <c:v>Av Price/Vol 12.03</c:v>
                </c:pt>
                <c:pt idx="2">
                  <c:v>Av Price/Vol 15.59</c:v>
                </c:pt>
                <c:pt idx="3">
                  <c:v>Av Price/Vol 13.95</c:v>
                </c:pt>
                <c:pt idx="4">
                  <c:v>Av Price/Vol 17.12</c:v>
                </c:pt>
                <c:pt idx="5">
                  <c:v>Av Price/Vol 23.35</c:v>
                </c:pt>
                <c:pt idx="6">
                  <c:v>Av Price/Vol 54.65</c:v>
                </c:pt>
                <c:pt idx="7">
                  <c:v>Av Price/Vol 23.68</c:v>
                </c:pt>
                <c:pt idx="8">
                  <c:v>Av Price/Vol 77.96</c:v>
                </c:pt>
                <c:pt idx="9">
                  <c:v>Av Price/Vol 52.98</c:v>
                </c:pt>
                <c:pt idx="10">
                  <c:v>Av Price/Vol 106.74</c:v>
                </c:pt>
                <c:pt idx="11">
                  <c:v>Av Price/Vol 225.28</c:v>
                </c:pt>
                <c:pt idx="12">
                  <c:v>Av Price/Vol 50.15</c:v>
                </c:pt>
                <c:pt idx="13">
                  <c:v>Av Price/Vol 44.67</c:v>
                </c:pt>
                <c:pt idx="14">
                  <c:v>Av Price/Vol 39.92</c:v>
                </c:pt>
                <c:pt idx="15">
                  <c:v>Av Price/Vol 65.73</c:v>
                </c:pt>
              </c:strCache>
            </c:strRef>
          </c:cat>
          <c:val>
            <c:numRef>
              <c:f>Sheet1!$C$2:$C$17</c:f>
              <c:numCache>
                <c:formatCode>General</c:formatCode>
                <c:ptCount val="16"/>
                <c:pt idx="0">
                  <c:v>6.7181</c:v>
                </c:pt>
                <c:pt idx="1">
                  <c:v>4.4191</c:v>
                </c:pt>
                <c:pt idx="2">
                  <c:v>6.168</c:v>
                </c:pt>
                <c:pt idx="3">
                  <c:v>5.7332</c:v>
                </c:pt>
                <c:pt idx="4">
                  <c:v>6.5422</c:v>
                </c:pt>
                <c:pt idx="5">
                  <c:v>10.1345</c:v>
                </c:pt>
                <c:pt idx="6">
                  <c:v>25.335</c:v>
                </c:pt>
                <c:pt idx="7">
                  <c:v>11.5708</c:v>
                </c:pt>
                <c:pt idx="8">
                  <c:v>37.4665</c:v>
                </c:pt>
                <c:pt idx="9">
                  <c:v>26.7056</c:v>
                </c:pt>
                <c:pt idx="10">
                  <c:v>52.6855</c:v>
                </c:pt>
                <c:pt idx="11">
                  <c:v>112.0861</c:v>
                </c:pt>
                <c:pt idx="12">
                  <c:v>22.6253</c:v>
                </c:pt>
                <c:pt idx="13">
                  <c:v>21.0923</c:v>
                </c:pt>
                <c:pt idx="14">
                  <c:v>18.8374</c:v>
                </c:pt>
                <c:pt idx="15">
                  <c:v>30.265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56</c:v>
                </c:pt>
                <c:pt idx="1">
                  <c:v>Av Price/Vol 12.03</c:v>
                </c:pt>
                <c:pt idx="2">
                  <c:v>Av Price/Vol 15.59</c:v>
                </c:pt>
                <c:pt idx="3">
                  <c:v>Av Price/Vol 13.95</c:v>
                </c:pt>
                <c:pt idx="4">
                  <c:v>Av Price/Vol 17.12</c:v>
                </c:pt>
                <c:pt idx="5">
                  <c:v>Av Price/Vol 23.35</c:v>
                </c:pt>
                <c:pt idx="6">
                  <c:v>Av Price/Vol 54.65</c:v>
                </c:pt>
                <c:pt idx="7">
                  <c:v>Av Price/Vol 23.68</c:v>
                </c:pt>
                <c:pt idx="8">
                  <c:v>Av Price/Vol 77.96</c:v>
                </c:pt>
                <c:pt idx="9">
                  <c:v>Av Price/Vol 52.98</c:v>
                </c:pt>
                <c:pt idx="10">
                  <c:v>Av Price/Vol 106.74</c:v>
                </c:pt>
                <c:pt idx="11">
                  <c:v>Av Price/Vol 225.28</c:v>
                </c:pt>
                <c:pt idx="12">
                  <c:v>Av Price/Vol 50.15</c:v>
                </c:pt>
                <c:pt idx="13">
                  <c:v>Av Price/Vol 44.67</c:v>
                </c:pt>
                <c:pt idx="14">
                  <c:v>Av Price/Vol 39.92</c:v>
                </c:pt>
                <c:pt idx="15">
                  <c:v>Av Price/Vol 65.73</c:v>
                </c:pt>
              </c:strCache>
            </c:strRef>
          </c:cat>
          <c:val>
            <c:numRef>
              <c:f>Sheet1!$D$2:$D$17</c:f>
              <c:numCache>
                <c:formatCode>General</c:formatCode>
                <c:ptCount val="16"/>
                <c:pt idx="0">
                  <c:v>0.1312</c:v>
                </c:pt>
                <c:pt idx="1">
                  <c:v>0.3582</c:v>
                </c:pt>
                <c:pt idx="2">
                  <c:v>0.4996</c:v>
                </c:pt>
                <c:pt idx="3">
                  <c:v>0.8856</c:v>
                </c:pt>
                <c:pt idx="4">
                  <c:v>0.8678</c:v>
                </c:pt>
                <c:pt idx="5">
                  <c:v>0.6874</c:v>
                </c:pt>
                <c:pt idx="6">
                  <c:v>1.1644</c:v>
                </c:pt>
                <c:pt idx="7">
                  <c:v>-2.8792</c:v>
                </c:pt>
                <c:pt idx="8">
                  <c:v>1.9037</c:v>
                </c:pt>
                <c:pt idx="9">
                  <c:v>0.2839</c:v>
                </c:pt>
                <c:pt idx="10">
                  <c:v>1.1429</c:v>
                </c:pt>
                <c:pt idx="11">
                  <c:v>6.882</c:v>
                </c:pt>
                <c:pt idx="12">
                  <c:v>1.5195</c:v>
                </c:pt>
                <c:pt idx="13">
                  <c:v>0.1765</c:v>
                </c:pt>
                <c:pt idx="14">
                  <c:v>-0.2582</c:v>
                </c:pt>
                <c:pt idx="15">
                  <c:v>1.750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56</c:v>
                </c:pt>
                <c:pt idx="1">
                  <c:v>Av Price/Vol 12.03</c:v>
                </c:pt>
                <c:pt idx="2">
                  <c:v>Av Price/Vol 15.59</c:v>
                </c:pt>
                <c:pt idx="3">
                  <c:v>Av Price/Vol 13.95</c:v>
                </c:pt>
                <c:pt idx="4">
                  <c:v>Av Price/Vol 17.12</c:v>
                </c:pt>
                <c:pt idx="5">
                  <c:v>Av Price/Vol 23.35</c:v>
                </c:pt>
                <c:pt idx="6">
                  <c:v>Av Price/Vol 54.65</c:v>
                </c:pt>
                <c:pt idx="7">
                  <c:v>Av Price/Vol 23.68</c:v>
                </c:pt>
                <c:pt idx="8">
                  <c:v>Av Price/Vol 77.96</c:v>
                </c:pt>
                <c:pt idx="9">
                  <c:v>Av Price/Vol 52.98</c:v>
                </c:pt>
                <c:pt idx="10">
                  <c:v>Av Price/Vol 106.74</c:v>
                </c:pt>
                <c:pt idx="11">
                  <c:v>Av Price/Vol 225.28</c:v>
                </c:pt>
                <c:pt idx="12">
                  <c:v>Av Price/Vol 50.15</c:v>
                </c:pt>
                <c:pt idx="13">
                  <c:v>Av Price/Vol 44.67</c:v>
                </c:pt>
                <c:pt idx="14">
                  <c:v>Av Price/Vol 39.92</c:v>
                </c:pt>
                <c:pt idx="15">
                  <c:v>Av Price/Vol 65.73</c:v>
                </c:pt>
              </c:strCache>
            </c:strRef>
          </c:cat>
          <c:val>
            <c:numRef>
              <c:f>Sheet1!$E$2:$E$17</c:f>
              <c:numCache>
                <c:formatCode>General</c:formatCode>
                <c:ptCount val="16"/>
                <c:pt idx="0">
                  <c:v>2.4303772851030714</c:v>
                </c:pt>
                <c:pt idx="1">
                  <c:v>2.0049334651670603</c:v>
                </c:pt>
                <c:pt idx="2">
                  <c:v>2.6177901320361285</c:v>
                </c:pt>
                <c:pt idx="3">
                  <c:v>2.3245614035087696</c:v>
                </c:pt>
                <c:pt idx="4">
                  <c:v>2.8531159420289844</c:v>
                </c:pt>
                <c:pt idx="5">
                  <c:v>3.8910526315789475</c:v>
                </c:pt>
                <c:pt idx="6">
                  <c:v>9.108998732572868</c:v>
                </c:pt>
                <c:pt idx="7">
                  <c:v>4.362194189602445</c:v>
                </c:pt>
                <c:pt idx="8">
                  <c:v>12.97558299039779</c:v>
                </c:pt>
                <c:pt idx="9">
                  <c:v>8.823217901458912</c:v>
                </c:pt>
                <c:pt idx="10">
                  <c:v>17.844155105753938</c:v>
                </c:pt>
                <c:pt idx="11">
                  <c:v>37.39943693693683</c:v>
                </c:pt>
                <c:pt idx="12">
                  <c:v>8.324324324324325</c:v>
                </c:pt>
                <c:pt idx="13">
                  <c:v>7.442649572649568</c:v>
                </c:pt>
                <c:pt idx="14">
                  <c:v>6.643255780242083</c:v>
                </c:pt>
                <c:pt idx="15">
                  <c:v>10.95482295482295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15</c:v>
                </c:pt>
                <c:pt idx="1">
                  <c:v>Av Price/Vol 11.52</c:v>
                </c:pt>
                <c:pt idx="2">
                  <c:v>Av Price/Vol 15.21</c:v>
                </c:pt>
                <c:pt idx="3">
                  <c:v>Av Price/Vol 14.27</c:v>
                </c:pt>
                <c:pt idx="4">
                  <c:v>Av Price/Vol 16.50</c:v>
                </c:pt>
                <c:pt idx="5">
                  <c:v>Av Price/Vol 17.65</c:v>
                </c:pt>
                <c:pt idx="6">
                  <c:v>Av Price/Vol 47.88</c:v>
                </c:pt>
                <c:pt idx="7">
                  <c:v>Av Price/Vol 23.40</c:v>
                </c:pt>
                <c:pt idx="8">
                  <c:v>Av Price/Vol 77.27</c:v>
                </c:pt>
                <c:pt idx="9">
                  <c:v>Av Price/Vol 54.52</c:v>
                </c:pt>
                <c:pt idx="10">
                  <c:v>Av Price/Vol 106.99</c:v>
                </c:pt>
                <c:pt idx="11">
                  <c:v>Av Price/Vol 184.57</c:v>
                </c:pt>
                <c:pt idx="12">
                  <c:v>Av Price/Vol 51.30</c:v>
                </c:pt>
                <c:pt idx="13">
                  <c:v>Av Price/Vol 44.23</c:v>
                </c:pt>
                <c:pt idx="14">
                  <c:v>Av Price/Vol 39.79</c:v>
                </c:pt>
                <c:pt idx="15">
                  <c:v>Av Price/Vol 61.63</c:v>
                </c:pt>
              </c:strCache>
            </c:strRef>
          </c:cat>
          <c:val>
            <c:numRef>
              <c:f>Sheet1!$B$2:$B$17</c:f>
              <c:numCache>
                <c:formatCode>General</c:formatCode>
                <c:ptCount val="16"/>
                <c:pt idx="0">
                  <c:v>5.2391</c:v>
                </c:pt>
                <c:pt idx="1">
                  <c:v>5.0046</c:v>
                </c:pt>
                <c:pt idx="2">
                  <c:v>5.8286</c:v>
                </c:pt>
                <c:pt idx="3">
                  <c:v>4.9624</c:v>
                </c:pt>
                <c:pt idx="4">
                  <c:v>6.7669</c:v>
                </c:pt>
                <c:pt idx="5">
                  <c:v>5.976</c:v>
                </c:pt>
                <c:pt idx="6">
                  <c:v>16.4972</c:v>
                </c:pt>
                <c:pt idx="7">
                  <c:v>12.7698</c:v>
                </c:pt>
                <c:pt idx="8">
                  <c:v>25.1333</c:v>
                </c:pt>
                <c:pt idx="9">
                  <c:v>17.8021</c:v>
                </c:pt>
                <c:pt idx="10">
                  <c:v>35.0502</c:v>
                </c:pt>
                <c:pt idx="11">
                  <c:v>54.1675</c:v>
                </c:pt>
                <c:pt idx="12">
                  <c:v>17.3294</c:v>
                </c:pt>
                <c:pt idx="13">
                  <c:v>15.9488</c:v>
                </c:pt>
                <c:pt idx="14">
                  <c:v>14.5799</c:v>
                </c:pt>
                <c:pt idx="15">
                  <c:v>20.671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15</c:v>
                </c:pt>
                <c:pt idx="1">
                  <c:v>Av Price/Vol 11.52</c:v>
                </c:pt>
                <c:pt idx="2">
                  <c:v>Av Price/Vol 15.21</c:v>
                </c:pt>
                <c:pt idx="3">
                  <c:v>Av Price/Vol 14.27</c:v>
                </c:pt>
                <c:pt idx="4">
                  <c:v>Av Price/Vol 16.50</c:v>
                </c:pt>
                <c:pt idx="5">
                  <c:v>Av Price/Vol 17.65</c:v>
                </c:pt>
                <c:pt idx="6">
                  <c:v>Av Price/Vol 47.88</c:v>
                </c:pt>
                <c:pt idx="7">
                  <c:v>Av Price/Vol 23.40</c:v>
                </c:pt>
                <c:pt idx="8">
                  <c:v>Av Price/Vol 77.27</c:v>
                </c:pt>
                <c:pt idx="9">
                  <c:v>Av Price/Vol 54.52</c:v>
                </c:pt>
                <c:pt idx="10">
                  <c:v>Av Price/Vol 106.99</c:v>
                </c:pt>
                <c:pt idx="11">
                  <c:v>Av Price/Vol 184.57</c:v>
                </c:pt>
                <c:pt idx="12">
                  <c:v>Av Price/Vol 51.30</c:v>
                </c:pt>
                <c:pt idx="13">
                  <c:v>Av Price/Vol 44.23</c:v>
                </c:pt>
                <c:pt idx="14">
                  <c:v>Av Price/Vol 39.79</c:v>
                </c:pt>
                <c:pt idx="15">
                  <c:v>Av Price/Vol 61.63</c:v>
                </c:pt>
              </c:strCache>
            </c:strRef>
          </c:cat>
          <c:val>
            <c:numRef>
              <c:f>Sheet1!$C$2:$C$17</c:f>
              <c:numCache>
                <c:formatCode>General</c:formatCode>
                <c:ptCount val="16"/>
                <c:pt idx="0">
                  <c:v>6.0462</c:v>
                </c:pt>
                <c:pt idx="1">
                  <c:v>4.2942</c:v>
                </c:pt>
                <c:pt idx="2">
                  <c:v>6.3864</c:v>
                </c:pt>
                <c:pt idx="3">
                  <c:v>5.6907</c:v>
                </c:pt>
                <c:pt idx="4">
                  <c:v>6.4471</c:v>
                </c:pt>
                <c:pt idx="5">
                  <c:v>8.4311</c:v>
                </c:pt>
                <c:pt idx="6">
                  <c:v>21.7951</c:v>
                </c:pt>
                <c:pt idx="7">
                  <c:v>11.3965</c:v>
                </c:pt>
                <c:pt idx="8">
                  <c:v>36.6268</c:v>
                </c:pt>
                <c:pt idx="9">
                  <c:v>27.2203</c:v>
                </c:pt>
                <c:pt idx="10">
                  <c:v>52.5692</c:v>
                </c:pt>
                <c:pt idx="11">
                  <c:v>90.5036</c:v>
                </c:pt>
                <c:pt idx="12">
                  <c:v>22.6018</c:v>
                </c:pt>
                <c:pt idx="13">
                  <c:v>20.7134</c:v>
                </c:pt>
                <c:pt idx="14">
                  <c:v>18.6633</c:v>
                </c:pt>
                <c:pt idx="15">
                  <c:v>29.10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15</c:v>
                </c:pt>
                <c:pt idx="1">
                  <c:v>Av Price/Vol 11.52</c:v>
                </c:pt>
                <c:pt idx="2">
                  <c:v>Av Price/Vol 15.21</c:v>
                </c:pt>
                <c:pt idx="3">
                  <c:v>Av Price/Vol 14.27</c:v>
                </c:pt>
                <c:pt idx="4">
                  <c:v>Av Price/Vol 16.50</c:v>
                </c:pt>
                <c:pt idx="5">
                  <c:v>Av Price/Vol 17.65</c:v>
                </c:pt>
                <c:pt idx="6">
                  <c:v>Av Price/Vol 47.88</c:v>
                </c:pt>
                <c:pt idx="7">
                  <c:v>Av Price/Vol 23.40</c:v>
                </c:pt>
                <c:pt idx="8">
                  <c:v>Av Price/Vol 77.27</c:v>
                </c:pt>
                <c:pt idx="9">
                  <c:v>Av Price/Vol 54.52</c:v>
                </c:pt>
                <c:pt idx="10">
                  <c:v>Av Price/Vol 106.99</c:v>
                </c:pt>
                <c:pt idx="11">
                  <c:v>Av Price/Vol 184.57</c:v>
                </c:pt>
                <c:pt idx="12">
                  <c:v>Av Price/Vol 51.30</c:v>
                </c:pt>
                <c:pt idx="13">
                  <c:v>Av Price/Vol 44.23</c:v>
                </c:pt>
                <c:pt idx="14">
                  <c:v>Av Price/Vol 39.79</c:v>
                </c:pt>
                <c:pt idx="15">
                  <c:v>Av Price/Vol 61.63</c:v>
                </c:pt>
              </c:strCache>
            </c:strRef>
          </c:cat>
          <c:val>
            <c:numRef>
              <c:f>Sheet1!$D$2:$D$17</c:f>
              <c:numCache>
                <c:formatCode>General</c:formatCode>
                <c:ptCount val="16"/>
                <c:pt idx="0">
                  <c:v>0.3285</c:v>
                </c:pt>
                <c:pt idx="1">
                  <c:v>0.3029</c:v>
                </c:pt>
                <c:pt idx="2">
                  <c:v>0.456</c:v>
                </c:pt>
                <c:pt idx="3">
                  <c:v>1.2035</c:v>
                </c:pt>
                <c:pt idx="4">
                  <c:v>0.5342</c:v>
                </c:pt>
                <c:pt idx="5">
                  <c:v>0.4717</c:v>
                </c:pt>
                <c:pt idx="6">
                  <c:v>1.4971</c:v>
                </c:pt>
                <c:pt idx="7">
                  <c:v>-2.6177</c:v>
                </c:pt>
                <c:pt idx="8">
                  <c:v>2.3722</c:v>
                </c:pt>
                <c:pt idx="9">
                  <c:v>0.3117</c:v>
                </c:pt>
                <c:pt idx="10">
                  <c:v>1.353</c:v>
                </c:pt>
                <c:pt idx="11">
                  <c:v>6.6204</c:v>
                </c:pt>
                <c:pt idx="12">
                  <c:v>1.6155</c:v>
                </c:pt>
                <c:pt idx="13">
                  <c:v>0.1832</c:v>
                </c:pt>
                <c:pt idx="14">
                  <c:v>-0.1127</c:v>
                </c:pt>
                <c:pt idx="15">
                  <c:v>1.311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15</c:v>
                </c:pt>
                <c:pt idx="1">
                  <c:v>Av Price/Vol 11.52</c:v>
                </c:pt>
                <c:pt idx="2">
                  <c:v>Av Price/Vol 15.21</c:v>
                </c:pt>
                <c:pt idx="3">
                  <c:v>Av Price/Vol 14.27</c:v>
                </c:pt>
                <c:pt idx="4">
                  <c:v>Av Price/Vol 16.50</c:v>
                </c:pt>
                <c:pt idx="5">
                  <c:v>Av Price/Vol 17.65</c:v>
                </c:pt>
                <c:pt idx="6">
                  <c:v>Av Price/Vol 47.88</c:v>
                </c:pt>
                <c:pt idx="7">
                  <c:v>Av Price/Vol 23.40</c:v>
                </c:pt>
                <c:pt idx="8">
                  <c:v>Av Price/Vol 77.27</c:v>
                </c:pt>
                <c:pt idx="9">
                  <c:v>Av Price/Vol 54.52</c:v>
                </c:pt>
                <c:pt idx="10">
                  <c:v>Av Price/Vol 106.99</c:v>
                </c:pt>
                <c:pt idx="11">
                  <c:v>Av Price/Vol 184.57</c:v>
                </c:pt>
                <c:pt idx="12">
                  <c:v>Av Price/Vol 51.30</c:v>
                </c:pt>
                <c:pt idx="13">
                  <c:v>Av Price/Vol 44.23</c:v>
                </c:pt>
                <c:pt idx="14">
                  <c:v>Av Price/Vol 39.79</c:v>
                </c:pt>
                <c:pt idx="15">
                  <c:v>Av Price/Vol 61.63</c:v>
                </c:pt>
              </c:strCache>
            </c:strRef>
          </c:cat>
          <c:val>
            <c:numRef>
              <c:f>Sheet1!$E$2:$E$17</c:f>
              <c:numCache>
                <c:formatCode>General</c:formatCode>
                <c:ptCount val="16"/>
                <c:pt idx="0">
                  <c:v>2.3253681392235555</c:v>
                </c:pt>
                <c:pt idx="1">
                  <c:v>1.9207209589282541</c:v>
                </c:pt>
                <c:pt idx="2">
                  <c:v>2.539961713328538</c:v>
                </c:pt>
                <c:pt idx="3">
                  <c:v>2.378238341968912</c:v>
                </c:pt>
                <c:pt idx="4">
                  <c:v>2.7496663997864976</c:v>
                </c:pt>
                <c:pt idx="5">
                  <c:v>2.9786522633744816</c:v>
                </c:pt>
                <c:pt idx="6">
                  <c:v>7.979240806642946</c:v>
                </c:pt>
                <c:pt idx="7">
                  <c:v>4.311163522012578</c:v>
                </c:pt>
                <c:pt idx="8">
                  <c:v>12.879199578725641</c:v>
                </c:pt>
                <c:pt idx="9">
                  <c:v>9.079362870607465</c:v>
                </c:pt>
                <c:pt idx="10">
                  <c:v>17.84103085165347</c:v>
                </c:pt>
                <c:pt idx="11">
                  <c:v>30.736780258519442</c:v>
                </c:pt>
                <c:pt idx="12">
                  <c:v>8.367102396514158</c:v>
                </c:pt>
                <c:pt idx="13">
                  <c:v>7.371920135938828</c:v>
                </c:pt>
                <c:pt idx="14">
                  <c:v>6.628096521627516</c:v>
                </c:pt>
                <c:pt idx="15">
                  <c:v>10.2716666666666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42</c:v>
                </c:pt>
                <c:pt idx="1">
                  <c:v>Av Price/Vol 12.13</c:v>
                </c:pt>
                <c:pt idx="2">
                  <c:v>Av Price/Vol 15.99</c:v>
                </c:pt>
                <c:pt idx="3">
                  <c:v>Av Price/Vol 14.07</c:v>
                </c:pt>
                <c:pt idx="4">
                  <c:v>Av Price/Vol 17.40</c:v>
                </c:pt>
                <c:pt idx="5">
                  <c:v>Av Price/Vol 19.17</c:v>
                </c:pt>
                <c:pt idx="6">
                  <c:v>Av Price/Vol 50.63</c:v>
                </c:pt>
                <c:pt idx="7">
                  <c:v>Av Price/Vol 24.01</c:v>
                </c:pt>
                <c:pt idx="8">
                  <c:v>Av Price/Vol 77.86</c:v>
                </c:pt>
                <c:pt idx="9">
                  <c:v>Av Price/Vol 54.11</c:v>
                </c:pt>
                <c:pt idx="10">
                  <c:v>Av Price/Vol 105.47</c:v>
                </c:pt>
                <c:pt idx="11">
                  <c:v>Av Price/Vol 199.90</c:v>
                </c:pt>
                <c:pt idx="12">
                  <c:v>Av Price/Vol 53.92</c:v>
                </c:pt>
                <c:pt idx="13">
                  <c:v>Av Price/Vol 44.92</c:v>
                </c:pt>
                <c:pt idx="14">
                  <c:v>Av Price/Vol 40.27</c:v>
                </c:pt>
                <c:pt idx="15">
                  <c:v>Av Price/Vol 62.32</c:v>
                </c:pt>
              </c:strCache>
            </c:strRef>
          </c:cat>
          <c:val>
            <c:numRef>
              <c:f>Sheet1!$B$2:$B$17</c:f>
              <c:numCache>
                <c:formatCode>General</c:formatCode>
                <c:ptCount val="16"/>
                <c:pt idx="0">
                  <c:v>5.8733</c:v>
                </c:pt>
                <c:pt idx="1">
                  <c:v>5.2689</c:v>
                </c:pt>
                <c:pt idx="2">
                  <c:v>6.5863</c:v>
                </c:pt>
                <c:pt idx="3">
                  <c:v>5.0162</c:v>
                </c:pt>
                <c:pt idx="4">
                  <c:v>6.8901</c:v>
                </c:pt>
                <c:pt idx="5">
                  <c:v>6.5367</c:v>
                </c:pt>
                <c:pt idx="6">
                  <c:v>17.169</c:v>
                </c:pt>
                <c:pt idx="7">
                  <c:v>13.1603</c:v>
                </c:pt>
                <c:pt idx="8">
                  <c:v>25.6708</c:v>
                </c:pt>
                <c:pt idx="9">
                  <c:v>17.5942</c:v>
                </c:pt>
                <c:pt idx="10">
                  <c:v>35.1041</c:v>
                </c:pt>
                <c:pt idx="11">
                  <c:v>58.3658</c:v>
                </c:pt>
                <c:pt idx="12">
                  <c:v>18.6</c:v>
                </c:pt>
                <c:pt idx="13">
                  <c:v>15.9661</c:v>
                </c:pt>
                <c:pt idx="14">
                  <c:v>14.675</c:v>
                </c:pt>
                <c:pt idx="15">
                  <c:v>21.227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42</c:v>
                </c:pt>
                <c:pt idx="1">
                  <c:v>Av Price/Vol 12.13</c:v>
                </c:pt>
                <c:pt idx="2">
                  <c:v>Av Price/Vol 15.99</c:v>
                </c:pt>
                <c:pt idx="3">
                  <c:v>Av Price/Vol 14.07</c:v>
                </c:pt>
                <c:pt idx="4">
                  <c:v>Av Price/Vol 17.40</c:v>
                </c:pt>
                <c:pt idx="5">
                  <c:v>Av Price/Vol 19.17</c:v>
                </c:pt>
                <c:pt idx="6">
                  <c:v>Av Price/Vol 50.63</c:v>
                </c:pt>
                <c:pt idx="7">
                  <c:v>Av Price/Vol 24.01</c:v>
                </c:pt>
                <c:pt idx="8">
                  <c:v>Av Price/Vol 77.86</c:v>
                </c:pt>
                <c:pt idx="9">
                  <c:v>Av Price/Vol 54.11</c:v>
                </c:pt>
                <c:pt idx="10">
                  <c:v>Av Price/Vol 105.47</c:v>
                </c:pt>
                <c:pt idx="11">
                  <c:v>Av Price/Vol 199.90</c:v>
                </c:pt>
                <c:pt idx="12">
                  <c:v>Av Price/Vol 53.92</c:v>
                </c:pt>
                <c:pt idx="13">
                  <c:v>Av Price/Vol 44.92</c:v>
                </c:pt>
                <c:pt idx="14">
                  <c:v>Av Price/Vol 40.27</c:v>
                </c:pt>
                <c:pt idx="15">
                  <c:v>Av Price/Vol 62.32</c:v>
                </c:pt>
              </c:strCache>
            </c:strRef>
          </c:cat>
          <c:val>
            <c:numRef>
              <c:f>Sheet1!$C$2:$C$17</c:f>
              <c:numCache>
                <c:formatCode>General</c:formatCode>
                <c:ptCount val="16"/>
                <c:pt idx="0">
                  <c:v>5.6569</c:v>
                </c:pt>
                <c:pt idx="1">
                  <c:v>4.4295</c:v>
                </c:pt>
                <c:pt idx="2">
                  <c:v>6.3013</c:v>
                </c:pt>
                <c:pt idx="3">
                  <c:v>5.7637</c:v>
                </c:pt>
                <c:pt idx="4">
                  <c:v>6.5972</c:v>
                </c:pt>
                <c:pt idx="5">
                  <c:v>9.2063</c:v>
                </c:pt>
                <c:pt idx="6">
                  <c:v>22.9621</c:v>
                </c:pt>
                <c:pt idx="7">
                  <c:v>11.5965</c:v>
                </c:pt>
                <c:pt idx="8">
                  <c:v>37.1748</c:v>
                </c:pt>
                <c:pt idx="9">
                  <c:v>26.9529</c:v>
                </c:pt>
                <c:pt idx="10">
                  <c:v>51.2254</c:v>
                </c:pt>
                <c:pt idx="11">
                  <c:v>99.3368</c:v>
                </c:pt>
                <c:pt idx="12">
                  <c:v>24.4292</c:v>
                </c:pt>
                <c:pt idx="13">
                  <c:v>21.2278</c:v>
                </c:pt>
                <c:pt idx="14">
                  <c:v>18.7643</c:v>
                </c:pt>
                <c:pt idx="15">
                  <c:v>29.381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42</c:v>
                </c:pt>
                <c:pt idx="1">
                  <c:v>Av Price/Vol 12.13</c:v>
                </c:pt>
                <c:pt idx="2">
                  <c:v>Av Price/Vol 15.99</c:v>
                </c:pt>
                <c:pt idx="3">
                  <c:v>Av Price/Vol 14.07</c:v>
                </c:pt>
                <c:pt idx="4">
                  <c:v>Av Price/Vol 17.40</c:v>
                </c:pt>
                <c:pt idx="5">
                  <c:v>Av Price/Vol 19.17</c:v>
                </c:pt>
                <c:pt idx="6">
                  <c:v>Av Price/Vol 50.63</c:v>
                </c:pt>
                <c:pt idx="7">
                  <c:v>Av Price/Vol 24.01</c:v>
                </c:pt>
                <c:pt idx="8">
                  <c:v>Av Price/Vol 77.86</c:v>
                </c:pt>
                <c:pt idx="9">
                  <c:v>Av Price/Vol 54.11</c:v>
                </c:pt>
                <c:pt idx="10">
                  <c:v>Av Price/Vol 105.47</c:v>
                </c:pt>
                <c:pt idx="11">
                  <c:v>Av Price/Vol 199.90</c:v>
                </c:pt>
                <c:pt idx="12">
                  <c:v>Av Price/Vol 53.92</c:v>
                </c:pt>
                <c:pt idx="13">
                  <c:v>Av Price/Vol 44.92</c:v>
                </c:pt>
                <c:pt idx="14">
                  <c:v>Av Price/Vol 40.27</c:v>
                </c:pt>
                <c:pt idx="15">
                  <c:v>Av Price/Vol 62.32</c:v>
                </c:pt>
              </c:strCache>
            </c:strRef>
          </c:cat>
          <c:val>
            <c:numRef>
              <c:f>Sheet1!$D$2:$D$17</c:f>
              <c:numCache>
                <c:formatCode>General</c:formatCode>
                <c:ptCount val="16"/>
                <c:pt idx="0">
                  <c:v>0.4954</c:v>
                </c:pt>
                <c:pt idx="1">
                  <c:v>0.4054</c:v>
                </c:pt>
                <c:pt idx="2">
                  <c:v>0.4807</c:v>
                </c:pt>
                <c:pt idx="3">
                  <c:v>0.9431</c:v>
                </c:pt>
                <c:pt idx="4">
                  <c:v>1.0166</c:v>
                </c:pt>
                <c:pt idx="5">
                  <c:v>0.3745</c:v>
                </c:pt>
                <c:pt idx="6">
                  <c:v>1.3787</c:v>
                </c:pt>
                <c:pt idx="7">
                  <c:v>-2.8071</c:v>
                </c:pt>
                <c:pt idx="8">
                  <c:v>1.7067</c:v>
                </c:pt>
                <c:pt idx="9">
                  <c:v>0.4846</c:v>
                </c:pt>
                <c:pt idx="10">
                  <c:v>1.0618</c:v>
                </c:pt>
                <c:pt idx="11">
                  <c:v>5.217</c:v>
                </c:pt>
                <c:pt idx="12">
                  <c:v>1.0195</c:v>
                </c:pt>
                <c:pt idx="13">
                  <c:v>0.2122</c:v>
                </c:pt>
                <c:pt idx="14">
                  <c:v>0.1166</c:v>
                </c:pt>
                <c:pt idx="15">
                  <c:v>1.323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42</c:v>
                </c:pt>
                <c:pt idx="1">
                  <c:v>Av Price/Vol 12.13</c:v>
                </c:pt>
                <c:pt idx="2">
                  <c:v>Av Price/Vol 15.99</c:v>
                </c:pt>
                <c:pt idx="3">
                  <c:v>Av Price/Vol 14.07</c:v>
                </c:pt>
                <c:pt idx="4">
                  <c:v>Av Price/Vol 17.40</c:v>
                </c:pt>
                <c:pt idx="5">
                  <c:v>Av Price/Vol 19.17</c:v>
                </c:pt>
                <c:pt idx="6">
                  <c:v>Av Price/Vol 50.63</c:v>
                </c:pt>
                <c:pt idx="7">
                  <c:v>Av Price/Vol 24.01</c:v>
                </c:pt>
                <c:pt idx="8">
                  <c:v>Av Price/Vol 77.86</c:v>
                </c:pt>
                <c:pt idx="9">
                  <c:v>Av Price/Vol 54.11</c:v>
                </c:pt>
                <c:pt idx="10">
                  <c:v>Av Price/Vol 105.47</c:v>
                </c:pt>
                <c:pt idx="11">
                  <c:v>Av Price/Vol 199.90</c:v>
                </c:pt>
                <c:pt idx="12">
                  <c:v>Av Price/Vol 53.92</c:v>
                </c:pt>
                <c:pt idx="13">
                  <c:v>Av Price/Vol 44.92</c:v>
                </c:pt>
                <c:pt idx="14">
                  <c:v>Av Price/Vol 40.27</c:v>
                </c:pt>
                <c:pt idx="15">
                  <c:v>Av Price/Vol 62.32</c:v>
                </c:pt>
              </c:strCache>
            </c:strRef>
          </c:cat>
          <c:val>
            <c:numRef>
              <c:f>Sheet1!$E$2:$E$17</c:f>
              <c:numCache>
                <c:formatCode>General</c:formatCode>
                <c:ptCount val="16"/>
                <c:pt idx="0">
                  <c:v>2.4059362449799173</c:v>
                </c:pt>
                <c:pt idx="1">
                  <c:v>2.0208060526698652</c:v>
                </c:pt>
                <c:pt idx="2">
                  <c:v>2.6742584745762787</c:v>
                </c:pt>
                <c:pt idx="3">
                  <c:v>2.345753899480074</c:v>
                </c:pt>
                <c:pt idx="4">
                  <c:v>2.900787562647028</c:v>
                </c:pt>
                <c:pt idx="5">
                  <c:v>3.223521850899739</c:v>
                </c:pt>
                <c:pt idx="6">
                  <c:v>8.437649880095927</c:v>
                </c:pt>
                <c:pt idx="7">
                  <c:v>4.393403734312823</c:v>
                </c:pt>
                <c:pt idx="8">
                  <c:v>12.962115039921786</c:v>
                </c:pt>
                <c:pt idx="9">
                  <c:v>9.014767427088467</c:v>
                </c:pt>
                <c:pt idx="10">
                  <c:v>17.516556051209513</c:v>
                </c:pt>
                <c:pt idx="11">
                  <c:v>32.76289884589273</c:v>
                </c:pt>
                <c:pt idx="12">
                  <c:v>8.824510932105861</c:v>
                </c:pt>
                <c:pt idx="13">
                  <c:v>7.484242709313264</c:v>
                </c:pt>
                <c:pt idx="14">
                  <c:v>6.711188784475511</c:v>
                </c:pt>
                <c:pt idx="15">
                  <c:v>10.38660676080445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39</c:v>
                </c:pt>
                <c:pt idx="1">
                  <c:v>Av Price/Vol 11.88</c:v>
                </c:pt>
                <c:pt idx="2">
                  <c:v>Av Price/Vol 15.26</c:v>
                </c:pt>
                <c:pt idx="3">
                  <c:v>Av Price/Vol 13.92</c:v>
                </c:pt>
                <c:pt idx="4">
                  <c:v>Av Price/Vol 17.20</c:v>
                </c:pt>
                <c:pt idx="5">
                  <c:v>Av Price/Vol 22.72</c:v>
                </c:pt>
                <c:pt idx="6">
                  <c:v>Av Price/Vol 48.46</c:v>
                </c:pt>
                <c:pt idx="7">
                  <c:v>Av Price/Vol 21.52</c:v>
                </c:pt>
                <c:pt idx="8">
                  <c:v>Av Price/Vol 69.42</c:v>
                </c:pt>
                <c:pt idx="9">
                  <c:v>Av Price/Vol 50.81</c:v>
                </c:pt>
                <c:pt idx="10">
                  <c:v>Av Price/Vol 89.92</c:v>
                </c:pt>
                <c:pt idx="11">
                  <c:v>Av Price/Vol 165.10</c:v>
                </c:pt>
                <c:pt idx="12">
                  <c:v>Av Price/Vol 48.04</c:v>
                </c:pt>
                <c:pt idx="13">
                  <c:v>Av Price/Vol 43.83</c:v>
                </c:pt>
                <c:pt idx="14">
                  <c:v>Av Price/Vol 39.74</c:v>
                </c:pt>
                <c:pt idx="15">
                  <c:v>Av Price/Vol 59.00</c:v>
                </c:pt>
              </c:strCache>
            </c:strRef>
          </c:cat>
          <c:val>
            <c:numRef>
              <c:f>Sheet1!$B$2:$B$17</c:f>
              <c:numCache>
                <c:formatCode>General</c:formatCode>
                <c:ptCount val="16"/>
                <c:pt idx="0">
                  <c:v>5.1223</c:v>
                </c:pt>
                <c:pt idx="1">
                  <c:v>5.1955</c:v>
                </c:pt>
                <c:pt idx="2">
                  <c:v>6.0298</c:v>
                </c:pt>
                <c:pt idx="3">
                  <c:v>5.0443</c:v>
                </c:pt>
                <c:pt idx="4">
                  <c:v>6.7872</c:v>
                </c:pt>
                <c:pt idx="5">
                  <c:v>8.4031</c:v>
                </c:pt>
                <c:pt idx="6">
                  <c:v>17.0022</c:v>
                </c:pt>
                <c:pt idx="7">
                  <c:v>11.7563</c:v>
                </c:pt>
                <c:pt idx="8">
                  <c:v>23.028</c:v>
                </c:pt>
                <c:pt idx="9">
                  <c:v>16.6365</c:v>
                </c:pt>
                <c:pt idx="10">
                  <c:v>29.8308</c:v>
                </c:pt>
                <c:pt idx="11">
                  <c:v>50.5406</c:v>
                </c:pt>
                <c:pt idx="12">
                  <c:v>17.1826</c:v>
                </c:pt>
                <c:pt idx="13">
                  <c:v>15.8442</c:v>
                </c:pt>
                <c:pt idx="14">
                  <c:v>14.636</c:v>
                </c:pt>
                <c:pt idx="15">
                  <c:v>20.544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39</c:v>
                </c:pt>
                <c:pt idx="1">
                  <c:v>Av Price/Vol 11.88</c:v>
                </c:pt>
                <c:pt idx="2">
                  <c:v>Av Price/Vol 15.26</c:v>
                </c:pt>
                <c:pt idx="3">
                  <c:v>Av Price/Vol 13.92</c:v>
                </c:pt>
                <c:pt idx="4">
                  <c:v>Av Price/Vol 17.20</c:v>
                </c:pt>
                <c:pt idx="5">
                  <c:v>Av Price/Vol 22.72</c:v>
                </c:pt>
                <c:pt idx="6">
                  <c:v>Av Price/Vol 48.46</c:v>
                </c:pt>
                <c:pt idx="7">
                  <c:v>Av Price/Vol 21.52</c:v>
                </c:pt>
                <c:pt idx="8">
                  <c:v>Av Price/Vol 69.42</c:v>
                </c:pt>
                <c:pt idx="9">
                  <c:v>Av Price/Vol 50.81</c:v>
                </c:pt>
                <c:pt idx="10">
                  <c:v>Av Price/Vol 89.92</c:v>
                </c:pt>
                <c:pt idx="11">
                  <c:v>Av Price/Vol 165.10</c:v>
                </c:pt>
                <c:pt idx="12">
                  <c:v>Av Price/Vol 48.04</c:v>
                </c:pt>
                <c:pt idx="13">
                  <c:v>Av Price/Vol 43.83</c:v>
                </c:pt>
                <c:pt idx="14">
                  <c:v>Av Price/Vol 39.74</c:v>
                </c:pt>
                <c:pt idx="15">
                  <c:v>Av Price/Vol 59.00</c:v>
                </c:pt>
              </c:strCache>
            </c:strRef>
          </c:cat>
          <c:val>
            <c:numRef>
              <c:f>Sheet1!$C$2:$C$17</c:f>
              <c:numCache>
                <c:formatCode>General</c:formatCode>
                <c:ptCount val="16"/>
                <c:pt idx="0">
                  <c:v>4.9855</c:v>
                </c:pt>
                <c:pt idx="1">
                  <c:v>4.3479</c:v>
                </c:pt>
                <c:pt idx="2">
                  <c:v>6.3987</c:v>
                </c:pt>
                <c:pt idx="3">
                  <c:v>5.8227</c:v>
                </c:pt>
                <c:pt idx="4">
                  <c:v>6.8093</c:v>
                </c:pt>
                <c:pt idx="5">
                  <c:v>10.0062</c:v>
                </c:pt>
                <c:pt idx="6">
                  <c:v>22.4635</c:v>
                </c:pt>
                <c:pt idx="7">
                  <c:v>10.6767</c:v>
                </c:pt>
                <c:pt idx="8">
                  <c:v>33.7918</c:v>
                </c:pt>
                <c:pt idx="9">
                  <c:v>25.8539</c:v>
                </c:pt>
                <c:pt idx="10">
                  <c:v>44.7592</c:v>
                </c:pt>
                <c:pt idx="11">
                  <c:v>82.5925</c:v>
                </c:pt>
                <c:pt idx="12">
                  <c:v>22.3865</c:v>
                </c:pt>
                <c:pt idx="13">
                  <c:v>20.7634</c:v>
                </c:pt>
                <c:pt idx="14">
                  <c:v>18.7956</c:v>
                </c:pt>
                <c:pt idx="15">
                  <c:v>28.023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39</c:v>
                </c:pt>
                <c:pt idx="1">
                  <c:v>Av Price/Vol 11.88</c:v>
                </c:pt>
                <c:pt idx="2">
                  <c:v>Av Price/Vol 15.26</c:v>
                </c:pt>
                <c:pt idx="3">
                  <c:v>Av Price/Vol 13.92</c:v>
                </c:pt>
                <c:pt idx="4">
                  <c:v>Av Price/Vol 17.20</c:v>
                </c:pt>
                <c:pt idx="5">
                  <c:v>Av Price/Vol 22.72</c:v>
                </c:pt>
                <c:pt idx="6">
                  <c:v>Av Price/Vol 48.46</c:v>
                </c:pt>
                <c:pt idx="7">
                  <c:v>Av Price/Vol 21.52</c:v>
                </c:pt>
                <c:pt idx="8">
                  <c:v>Av Price/Vol 69.42</c:v>
                </c:pt>
                <c:pt idx="9">
                  <c:v>Av Price/Vol 50.81</c:v>
                </c:pt>
                <c:pt idx="10">
                  <c:v>Av Price/Vol 89.92</c:v>
                </c:pt>
                <c:pt idx="11">
                  <c:v>Av Price/Vol 165.10</c:v>
                </c:pt>
                <c:pt idx="12">
                  <c:v>Av Price/Vol 48.04</c:v>
                </c:pt>
                <c:pt idx="13">
                  <c:v>Av Price/Vol 43.83</c:v>
                </c:pt>
                <c:pt idx="14">
                  <c:v>Av Price/Vol 39.74</c:v>
                </c:pt>
                <c:pt idx="15">
                  <c:v>Av Price/Vol 59.00</c:v>
                </c:pt>
              </c:strCache>
            </c:strRef>
          </c:cat>
          <c:val>
            <c:numRef>
              <c:f>Sheet1!$D$2:$D$17</c:f>
              <c:numCache>
                <c:formatCode>General</c:formatCode>
                <c:ptCount val="16"/>
                <c:pt idx="0">
                  <c:v>0.2086</c:v>
                </c:pt>
                <c:pt idx="1">
                  <c:v>0.3469</c:v>
                </c:pt>
                <c:pt idx="2">
                  <c:v>0.3179</c:v>
                </c:pt>
                <c:pt idx="3">
                  <c:v>0.7151</c:v>
                </c:pt>
                <c:pt idx="4">
                  <c:v>0.6969</c:v>
                </c:pt>
                <c:pt idx="5">
                  <c:v>0.5527</c:v>
                </c:pt>
                <c:pt idx="6">
                  <c:v>0.7986</c:v>
                </c:pt>
                <c:pt idx="7">
                  <c:v>-2.5747</c:v>
                </c:pt>
                <c:pt idx="8">
                  <c:v>0.9184</c:v>
                </c:pt>
                <c:pt idx="9">
                  <c:v>-0.1361</c:v>
                </c:pt>
                <c:pt idx="10">
                  <c:v>0.3008</c:v>
                </c:pt>
                <c:pt idx="11">
                  <c:v>2.939</c:v>
                </c:pt>
                <c:pt idx="12">
                  <c:v>0.3522</c:v>
                </c:pt>
                <c:pt idx="13">
                  <c:v>-0.112</c:v>
                </c:pt>
                <c:pt idx="14">
                  <c:v>-0.3202</c:v>
                </c:pt>
                <c:pt idx="15">
                  <c:v>0.598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39</c:v>
                </c:pt>
                <c:pt idx="1">
                  <c:v>Av Price/Vol 11.88</c:v>
                </c:pt>
                <c:pt idx="2">
                  <c:v>Av Price/Vol 15.26</c:v>
                </c:pt>
                <c:pt idx="3">
                  <c:v>Av Price/Vol 13.92</c:v>
                </c:pt>
                <c:pt idx="4">
                  <c:v>Av Price/Vol 17.20</c:v>
                </c:pt>
                <c:pt idx="5">
                  <c:v>Av Price/Vol 22.72</c:v>
                </c:pt>
                <c:pt idx="6">
                  <c:v>Av Price/Vol 48.46</c:v>
                </c:pt>
                <c:pt idx="7">
                  <c:v>Av Price/Vol 21.52</c:v>
                </c:pt>
                <c:pt idx="8">
                  <c:v>Av Price/Vol 69.42</c:v>
                </c:pt>
                <c:pt idx="9">
                  <c:v>Av Price/Vol 50.81</c:v>
                </c:pt>
                <c:pt idx="10">
                  <c:v>Av Price/Vol 89.92</c:v>
                </c:pt>
                <c:pt idx="11">
                  <c:v>Av Price/Vol 165.10</c:v>
                </c:pt>
                <c:pt idx="12">
                  <c:v>Av Price/Vol 48.04</c:v>
                </c:pt>
                <c:pt idx="13">
                  <c:v>Av Price/Vol 43.83</c:v>
                </c:pt>
                <c:pt idx="14">
                  <c:v>Av Price/Vol 39.74</c:v>
                </c:pt>
                <c:pt idx="15">
                  <c:v>Av Price/Vol 59.00</c:v>
                </c:pt>
              </c:strCache>
            </c:strRef>
          </c:cat>
          <c:val>
            <c:numRef>
              <c:f>Sheet1!$E$2:$E$17</c:f>
              <c:numCache>
                <c:formatCode>General</c:formatCode>
                <c:ptCount val="16"/>
                <c:pt idx="0">
                  <c:v>2.0635435992578928</c:v>
                </c:pt>
                <c:pt idx="1">
                  <c:v>1.9783069409890872</c:v>
                </c:pt>
                <c:pt idx="2">
                  <c:v>2.5502363649192126</c:v>
                </c:pt>
                <c:pt idx="3">
                  <c:v>2.3193970420932852</c:v>
                </c:pt>
                <c:pt idx="4">
                  <c:v>2.8594334098995637</c:v>
                </c:pt>
                <c:pt idx="5">
                  <c:v>3.793888556021568</c:v>
                </c:pt>
                <c:pt idx="6">
                  <c:v>8.076805918189732</c:v>
                </c:pt>
                <c:pt idx="7">
                  <c:v>3.9716880341880363</c:v>
                </c:pt>
                <c:pt idx="8">
                  <c:v>11.560739266263031</c:v>
                </c:pt>
                <c:pt idx="9">
                  <c:v>8.473418918689685</c:v>
                </c:pt>
                <c:pt idx="10">
                  <c:v>14.981102157525369</c:v>
                </c:pt>
                <c:pt idx="11">
                  <c:v>27.354726368159234</c:v>
                </c:pt>
                <c:pt idx="12">
                  <c:v>7.984263233190272</c:v>
                </c:pt>
                <c:pt idx="13">
                  <c:v>7.299121786054379</c:v>
                </c:pt>
                <c:pt idx="14">
                  <c:v>6.622578008558101</c:v>
                </c:pt>
                <c:pt idx="15">
                  <c:v>9.83333333333333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A70BC01-2C72-4A89-9A22-B106F8103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28E2FA3-B423-4333-A9C7-DB3462CEB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CEDE79D-6F48-40B2-B5E1-94963DA89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78FA42A-870F-4133-BC9B-42057F0C1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7816455-EFF4-47CA-9892-64EC36257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2BBC407-B001-4B69-A662-BC6420E68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1C0F14C-0D61-47CB-8477-67B10A860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F79CF2F-AAED-4BA0-8AE1-DA14CB5DE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46.8013</c:v>
                </c:pt>
                <c:pt idx="1">
                  <c:v>41.2483</c:v>
                </c:pt>
                <c:pt idx="2">
                  <c:v>37.8769</c:v>
                </c:pt>
                <c:pt idx="3">
                  <c:v>41.2749</c:v>
                </c:pt>
                <c:pt idx="4">
                  <c:v>38.6659</c:v>
                </c:pt>
              </c:numCache>
            </c:numRef>
          </c:xVal>
          <c:yVal>
            <c:numRef>
              <c:f>Sheet1!$B$2:$B$6</c:f>
              <c:numCache>
                <c:formatCode>General</c:formatCode>
                <c:ptCount val="5"/>
                <c:pt idx="0">
                  <c:v>0.4039</c:v>
                </c:pt>
                <c:pt idx="1">
                  <c:v>0.4063</c:v>
                </c:pt>
                <c:pt idx="2">
                  <c:v>0.4091</c:v>
                </c:pt>
                <c:pt idx="3">
                  <c:v>0.407</c:v>
                </c:pt>
                <c:pt idx="4">
                  <c:v>0.4053</c:v>
                </c:pt>
              </c:numCache>
            </c:numRef>
          </c:yVal>
          <c:bubbleSize>
            <c:numRef>
              <c:f>Sheet1!$C$2:$C$6</c:f>
              <c:numCache>
                <c:formatCode>General</c:formatCode>
                <c:ptCount val="5"/>
                <c:pt idx="0">
                  <c:v>4605666.799300007</c:v>
                </c:pt>
                <c:pt idx="1">
                  <c:v>2820850.7430999973</c:v>
                </c:pt>
                <c:pt idx="2">
                  <c:v>24218891.512500003</c:v>
                </c:pt>
                <c:pt idx="3">
                  <c:v>6621358.006800001</c:v>
                </c:pt>
                <c:pt idx="4">
                  <c:v>10880326.40979999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161559999999994"/>
          <c:min val="30.3015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732781093536957"/>
        <c:crossBetween val="midCat"/>
      </c:valAx>
      <c:valAx>
        <c:axId val="1011451359"/>
        <c:scaling>
          <c:orientation val="minMax"/>
          <c:max val="0.85092"/>
          <c:min val="0.0831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9.5391952702335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03</c:v>
                </c:pt>
                <c:pt idx="1">
                  <c:v>Av Price/Vol 11.94</c:v>
                </c:pt>
                <c:pt idx="2">
                  <c:v>Av Price/Vol 15.47</c:v>
                </c:pt>
                <c:pt idx="3">
                  <c:v>Av Price/Vol 14.12</c:v>
                </c:pt>
                <c:pt idx="4">
                  <c:v>Av Price/Vol 17.13</c:v>
                </c:pt>
                <c:pt idx="5">
                  <c:v>Av Price/Vol 20.19</c:v>
                </c:pt>
                <c:pt idx="6">
                  <c:v>Av Price/Vol 48.01</c:v>
                </c:pt>
                <c:pt idx="7">
                  <c:v>Av Price/Vol 23.08</c:v>
                </c:pt>
                <c:pt idx="8">
                  <c:v>Av Price/Vol 75.73</c:v>
                </c:pt>
                <c:pt idx="9">
                  <c:v>Av Price/Vol 52.47</c:v>
                </c:pt>
                <c:pt idx="10">
                  <c:v>Av Price/Vol 97.59</c:v>
                </c:pt>
                <c:pt idx="11">
                  <c:v>Av Price/Vol 180.04</c:v>
                </c:pt>
                <c:pt idx="12">
                  <c:v>Av Price/Vol 48.94</c:v>
                </c:pt>
                <c:pt idx="13">
                  <c:v>Av Price/Vol 44.39</c:v>
                </c:pt>
                <c:pt idx="14">
                  <c:v>Av Price/Vol 39.99</c:v>
                </c:pt>
                <c:pt idx="15">
                  <c:v>Av Price/Vol 61.40</c:v>
                </c:pt>
              </c:strCache>
            </c:strRef>
          </c:cat>
          <c:val>
            <c:numRef>
              <c:f>Sheet1!$B$2:$B$17</c:f>
              <c:numCache>
                <c:formatCode>General</c:formatCode>
                <c:ptCount val="16"/>
                <c:pt idx="0">
                  <c:v>5.25</c:v>
                </c:pt>
                <c:pt idx="1">
                  <c:v>5.1917</c:v>
                </c:pt>
                <c:pt idx="2">
                  <c:v>6.1386</c:v>
                </c:pt>
                <c:pt idx="3">
                  <c:v>5.1067</c:v>
                </c:pt>
                <c:pt idx="4">
                  <c:v>6.8243</c:v>
                </c:pt>
                <c:pt idx="5">
                  <c:v>7.178</c:v>
                </c:pt>
                <c:pt idx="6">
                  <c:v>16.6475</c:v>
                </c:pt>
                <c:pt idx="7">
                  <c:v>12.8031</c:v>
                </c:pt>
                <c:pt idx="8">
                  <c:v>24.9293</c:v>
                </c:pt>
                <c:pt idx="9">
                  <c:v>17.1295</c:v>
                </c:pt>
                <c:pt idx="10">
                  <c:v>32.3425</c:v>
                </c:pt>
                <c:pt idx="11">
                  <c:v>54.2257</c:v>
                </c:pt>
                <c:pt idx="12">
                  <c:v>17.2838</c:v>
                </c:pt>
                <c:pt idx="13">
                  <c:v>15.8184</c:v>
                </c:pt>
                <c:pt idx="14">
                  <c:v>14.609</c:v>
                </c:pt>
                <c:pt idx="15">
                  <c:v>21.07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03</c:v>
                </c:pt>
                <c:pt idx="1">
                  <c:v>Av Price/Vol 11.94</c:v>
                </c:pt>
                <c:pt idx="2">
                  <c:v>Av Price/Vol 15.47</c:v>
                </c:pt>
                <c:pt idx="3">
                  <c:v>Av Price/Vol 14.12</c:v>
                </c:pt>
                <c:pt idx="4">
                  <c:v>Av Price/Vol 17.13</c:v>
                </c:pt>
                <c:pt idx="5">
                  <c:v>Av Price/Vol 20.19</c:v>
                </c:pt>
                <c:pt idx="6">
                  <c:v>Av Price/Vol 48.01</c:v>
                </c:pt>
                <c:pt idx="7">
                  <c:v>Av Price/Vol 23.08</c:v>
                </c:pt>
                <c:pt idx="8">
                  <c:v>Av Price/Vol 75.73</c:v>
                </c:pt>
                <c:pt idx="9">
                  <c:v>Av Price/Vol 52.47</c:v>
                </c:pt>
                <c:pt idx="10">
                  <c:v>Av Price/Vol 97.59</c:v>
                </c:pt>
                <c:pt idx="11">
                  <c:v>Av Price/Vol 180.04</c:v>
                </c:pt>
                <c:pt idx="12">
                  <c:v>Av Price/Vol 48.94</c:v>
                </c:pt>
                <c:pt idx="13">
                  <c:v>Av Price/Vol 44.39</c:v>
                </c:pt>
                <c:pt idx="14">
                  <c:v>Av Price/Vol 39.99</c:v>
                </c:pt>
                <c:pt idx="15">
                  <c:v>Av Price/Vol 61.40</c:v>
                </c:pt>
              </c:strCache>
            </c:strRef>
          </c:cat>
          <c:val>
            <c:numRef>
              <c:f>Sheet1!$C$2:$C$17</c:f>
              <c:numCache>
                <c:formatCode>General</c:formatCode>
                <c:ptCount val="16"/>
                <c:pt idx="0">
                  <c:v>5.2293</c:v>
                </c:pt>
                <c:pt idx="1">
                  <c:v>4.3624</c:v>
                </c:pt>
                <c:pt idx="2">
                  <c:v>6.394</c:v>
                </c:pt>
                <c:pt idx="3">
                  <c:v>5.8306</c:v>
                </c:pt>
                <c:pt idx="4">
                  <c:v>6.6983</c:v>
                </c:pt>
                <c:pt idx="5">
                  <c:v>9.3231</c:v>
                </c:pt>
                <c:pt idx="6">
                  <c:v>22.0458</c:v>
                </c:pt>
                <c:pt idx="7">
                  <c:v>11.359</c:v>
                </c:pt>
                <c:pt idx="8">
                  <c:v>36.5251</c:v>
                </c:pt>
                <c:pt idx="9">
                  <c:v>26.365</c:v>
                </c:pt>
                <c:pt idx="10">
                  <c:v>47.8732</c:v>
                </c:pt>
                <c:pt idx="11">
                  <c:v>89.3584</c:v>
                </c:pt>
                <c:pt idx="12">
                  <c:v>22.5008</c:v>
                </c:pt>
                <c:pt idx="13">
                  <c:v>20.9816</c:v>
                </c:pt>
                <c:pt idx="14">
                  <c:v>18.7973</c:v>
                </c:pt>
                <c:pt idx="15">
                  <c:v>28.907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03</c:v>
                </c:pt>
                <c:pt idx="1">
                  <c:v>Av Price/Vol 11.94</c:v>
                </c:pt>
                <c:pt idx="2">
                  <c:v>Av Price/Vol 15.47</c:v>
                </c:pt>
                <c:pt idx="3">
                  <c:v>Av Price/Vol 14.12</c:v>
                </c:pt>
                <c:pt idx="4">
                  <c:v>Av Price/Vol 17.13</c:v>
                </c:pt>
                <c:pt idx="5">
                  <c:v>Av Price/Vol 20.19</c:v>
                </c:pt>
                <c:pt idx="6">
                  <c:v>Av Price/Vol 48.01</c:v>
                </c:pt>
                <c:pt idx="7">
                  <c:v>Av Price/Vol 23.08</c:v>
                </c:pt>
                <c:pt idx="8">
                  <c:v>Av Price/Vol 75.73</c:v>
                </c:pt>
                <c:pt idx="9">
                  <c:v>Av Price/Vol 52.47</c:v>
                </c:pt>
                <c:pt idx="10">
                  <c:v>Av Price/Vol 97.59</c:v>
                </c:pt>
                <c:pt idx="11">
                  <c:v>Av Price/Vol 180.04</c:v>
                </c:pt>
                <c:pt idx="12">
                  <c:v>Av Price/Vol 48.94</c:v>
                </c:pt>
                <c:pt idx="13">
                  <c:v>Av Price/Vol 44.39</c:v>
                </c:pt>
                <c:pt idx="14">
                  <c:v>Av Price/Vol 39.99</c:v>
                </c:pt>
                <c:pt idx="15">
                  <c:v>Av Price/Vol 61.40</c:v>
                </c:pt>
              </c:strCache>
            </c:strRef>
          </c:cat>
          <c:val>
            <c:numRef>
              <c:f>Sheet1!$D$2:$D$17</c:f>
              <c:numCache>
                <c:formatCode>General</c:formatCode>
                <c:ptCount val="16"/>
                <c:pt idx="0">
                  <c:v>0.2891</c:v>
                </c:pt>
                <c:pt idx="1">
                  <c:v>0.3962</c:v>
                </c:pt>
                <c:pt idx="2">
                  <c:v>0.3889</c:v>
                </c:pt>
                <c:pt idx="3">
                  <c:v>0.799</c:v>
                </c:pt>
                <c:pt idx="4">
                  <c:v>0.7422</c:v>
                </c:pt>
                <c:pt idx="5">
                  <c:v>0.4554</c:v>
                </c:pt>
                <c:pt idx="6">
                  <c:v>1.1129</c:v>
                </c:pt>
                <c:pt idx="7">
                  <c:v>-2.7283</c:v>
                </c:pt>
                <c:pt idx="8">
                  <c:v>1.5083</c:v>
                </c:pt>
                <c:pt idx="9">
                  <c:v>0.2022</c:v>
                </c:pt>
                <c:pt idx="10">
                  <c:v>0.9332</c:v>
                </c:pt>
                <c:pt idx="11">
                  <c:v>3.9874</c:v>
                </c:pt>
                <c:pt idx="12">
                  <c:v>0.6918</c:v>
                </c:pt>
                <c:pt idx="13">
                  <c:v>0.1536</c:v>
                </c:pt>
                <c:pt idx="14">
                  <c:v>-0.0931</c:v>
                </c:pt>
                <c:pt idx="15">
                  <c:v>1.14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03</c:v>
                </c:pt>
                <c:pt idx="1">
                  <c:v>Av Price/Vol 11.94</c:v>
                </c:pt>
                <c:pt idx="2">
                  <c:v>Av Price/Vol 15.47</c:v>
                </c:pt>
                <c:pt idx="3">
                  <c:v>Av Price/Vol 14.12</c:v>
                </c:pt>
                <c:pt idx="4">
                  <c:v>Av Price/Vol 17.13</c:v>
                </c:pt>
                <c:pt idx="5">
                  <c:v>Av Price/Vol 20.19</c:v>
                </c:pt>
                <c:pt idx="6">
                  <c:v>Av Price/Vol 48.01</c:v>
                </c:pt>
                <c:pt idx="7">
                  <c:v>Av Price/Vol 23.08</c:v>
                </c:pt>
                <c:pt idx="8">
                  <c:v>Av Price/Vol 75.73</c:v>
                </c:pt>
                <c:pt idx="9">
                  <c:v>Av Price/Vol 52.47</c:v>
                </c:pt>
                <c:pt idx="10">
                  <c:v>Av Price/Vol 97.59</c:v>
                </c:pt>
                <c:pt idx="11">
                  <c:v>Av Price/Vol 180.04</c:v>
                </c:pt>
                <c:pt idx="12">
                  <c:v>Av Price/Vol 48.94</c:v>
                </c:pt>
                <c:pt idx="13">
                  <c:v>Av Price/Vol 44.39</c:v>
                </c:pt>
                <c:pt idx="14">
                  <c:v>Av Price/Vol 39.99</c:v>
                </c:pt>
                <c:pt idx="15">
                  <c:v>Av Price/Vol 61.40</c:v>
                </c:pt>
              </c:strCache>
            </c:strRef>
          </c:cat>
          <c:val>
            <c:numRef>
              <c:f>Sheet1!$E$2:$E$17</c:f>
              <c:numCache>
                <c:formatCode>General</c:formatCode>
                <c:ptCount val="16"/>
                <c:pt idx="0">
                  <c:v>2.156002493587186</c:v>
                </c:pt>
                <c:pt idx="1">
                  <c:v>1.9901806967554299</c:v>
                </c:pt>
                <c:pt idx="2">
                  <c:v>2.585729207279806</c:v>
                </c:pt>
                <c:pt idx="3">
                  <c:v>2.3495293735800056</c:v>
                </c:pt>
                <c:pt idx="4">
                  <c:v>2.8531585590210957</c:v>
                </c:pt>
                <c:pt idx="5">
                  <c:v>3.3921394549195227</c:v>
                </c:pt>
                <c:pt idx="6">
                  <c:v>8.0017127332861</c:v>
                </c:pt>
                <c:pt idx="7">
                  <c:v>4.287461013424945</c:v>
                </c:pt>
                <c:pt idx="8">
                  <c:v>12.614652391250374</c:v>
                </c:pt>
                <c:pt idx="9">
                  <c:v>8.743210855272498</c:v>
                </c:pt>
                <c:pt idx="10">
                  <c:v>16.25599055218336</c:v>
                </c:pt>
                <c:pt idx="11">
                  <c:v>29.758328533026386</c:v>
                </c:pt>
                <c:pt idx="12">
                  <c:v>8.104904574499596</c:v>
                </c:pt>
                <c:pt idx="13">
                  <c:v>7.392374820894815</c:v>
                </c:pt>
                <c:pt idx="14">
                  <c:v>6.663537839399202</c:v>
                </c:pt>
                <c:pt idx="15">
                  <c:v>10.23321834123900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76</c:v>
                </c:pt>
                <c:pt idx="1">
                  <c:v>Av Price/Vol 11.97</c:v>
                </c:pt>
                <c:pt idx="2">
                  <c:v>Av Price/Vol 15.57</c:v>
                </c:pt>
                <c:pt idx="3">
                  <c:v>Av Price/Vol 14.11</c:v>
                </c:pt>
                <c:pt idx="4">
                  <c:v>Av Price/Vol 17.01</c:v>
                </c:pt>
                <c:pt idx="5">
                  <c:v>Av Price/Vol 20.83</c:v>
                </c:pt>
                <c:pt idx="6">
                  <c:v>Av Price/Vol 46.61</c:v>
                </c:pt>
                <c:pt idx="7">
                  <c:v>Av Price/Vol 23.02</c:v>
                </c:pt>
                <c:pt idx="8">
                  <c:v>Av Price/Vol 74.97</c:v>
                </c:pt>
                <c:pt idx="9">
                  <c:v>Av Price/Vol 52.07</c:v>
                </c:pt>
                <c:pt idx="10">
                  <c:v>Av Price/Vol 93.41</c:v>
                </c:pt>
                <c:pt idx="11">
                  <c:v>Av Price/Vol 162.98</c:v>
                </c:pt>
                <c:pt idx="12">
                  <c:v>Av Price/Vol 47.92</c:v>
                </c:pt>
                <c:pt idx="13">
                  <c:v>Av Price/Vol 44.26</c:v>
                </c:pt>
                <c:pt idx="14">
                  <c:v>Av Price/Vol 40.03</c:v>
                </c:pt>
                <c:pt idx="15">
                  <c:v>Av Price/Vol 59.36</c:v>
                </c:pt>
              </c:strCache>
            </c:strRef>
          </c:cat>
          <c:val>
            <c:numRef>
              <c:f>Sheet1!$B$2:$B$17</c:f>
              <c:numCache>
                <c:formatCode>General</c:formatCode>
                <c:ptCount val="16"/>
                <c:pt idx="0">
                  <c:v>5.3217</c:v>
                </c:pt>
                <c:pt idx="1">
                  <c:v>5.2147</c:v>
                </c:pt>
                <c:pt idx="2">
                  <c:v>6.2126</c:v>
                </c:pt>
                <c:pt idx="3">
                  <c:v>5.1509</c:v>
                </c:pt>
                <c:pt idx="4">
                  <c:v>6.8612</c:v>
                </c:pt>
                <c:pt idx="5">
                  <c:v>7.4817</c:v>
                </c:pt>
                <c:pt idx="6">
                  <c:v>16.5068</c:v>
                </c:pt>
                <c:pt idx="7">
                  <c:v>12.9142</c:v>
                </c:pt>
                <c:pt idx="8">
                  <c:v>24.9264</c:v>
                </c:pt>
                <c:pt idx="9">
                  <c:v>17.0505</c:v>
                </c:pt>
                <c:pt idx="10">
                  <c:v>31.2975</c:v>
                </c:pt>
                <c:pt idx="11">
                  <c:v>50.7271</c:v>
                </c:pt>
                <c:pt idx="12">
                  <c:v>17.1123</c:v>
                </c:pt>
                <c:pt idx="13">
                  <c:v>15.7673</c:v>
                </c:pt>
                <c:pt idx="14">
                  <c:v>14.6018</c:v>
                </c:pt>
                <c:pt idx="15">
                  <c:v>20.599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76</c:v>
                </c:pt>
                <c:pt idx="1">
                  <c:v>Av Price/Vol 11.97</c:v>
                </c:pt>
                <c:pt idx="2">
                  <c:v>Av Price/Vol 15.57</c:v>
                </c:pt>
                <c:pt idx="3">
                  <c:v>Av Price/Vol 14.11</c:v>
                </c:pt>
                <c:pt idx="4">
                  <c:v>Av Price/Vol 17.01</c:v>
                </c:pt>
                <c:pt idx="5">
                  <c:v>Av Price/Vol 20.83</c:v>
                </c:pt>
                <c:pt idx="6">
                  <c:v>Av Price/Vol 46.61</c:v>
                </c:pt>
                <c:pt idx="7">
                  <c:v>Av Price/Vol 23.02</c:v>
                </c:pt>
                <c:pt idx="8">
                  <c:v>Av Price/Vol 74.97</c:v>
                </c:pt>
                <c:pt idx="9">
                  <c:v>Av Price/Vol 52.07</c:v>
                </c:pt>
                <c:pt idx="10">
                  <c:v>Av Price/Vol 93.41</c:v>
                </c:pt>
                <c:pt idx="11">
                  <c:v>Av Price/Vol 162.98</c:v>
                </c:pt>
                <c:pt idx="12">
                  <c:v>Av Price/Vol 47.92</c:v>
                </c:pt>
                <c:pt idx="13">
                  <c:v>Av Price/Vol 44.26</c:v>
                </c:pt>
                <c:pt idx="14">
                  <c:v>Av Price/Vol 40.03</c:v>
                </c:pt>
                <c:pt idx="15">
                  <c:v>Av Price/Vol 59.36</c:v>
                </c:pt>
              </c:strCache>
            </c:strRef>
          </c:cat>
          <c:val>
            <c:numRef>
              <c:f>Sheet1!$C$2:$C$17</c:f>
              <c:numCache>
                <c:formatCode>General</c:formatCode>
                <c:ptCount val="16"/>
                <c:pt idx="0">
                  <c:v>5.0104</c:v>
                </c:pt>
                <c:pt idx="1">
                  <c:v>4.3534</c:v>
                </c:pt>
                <c:pt idx="2">
                  <c:v>6.4224</c:v>
                </c:pt>
                <c:pt idx="3">
                  <c:v>5.8725</c:v>
                </c:pt>
                <c:pt idx="4">
                  <c:v>6.5793</c:v>
                </c:pt>
                <c:pt idx="5">
                  <c:v>9.4865</c:v>
                </c:pt>
                <c:pt idx="6">
                  <c:v>21.6447</c:v>
                </c:pt>
                <c:pt idx="7">
                  <c:v>11.4682</c:v>
                </c:pt>
                <c:pt idx="8">
                  <c:v>36.4951</c:v>
                </c:pt>
                <c:pt idx="9">
                  <c:v>26.1693</c:v>
                </c:pt>
                <c:pt idx="10">
                  <c:v>45.694</c:v>
                </c:pt>
                <c:pt idx="11">
                  <c:v>81.5604</c:v>
                </c:pt>
                <c:pt idx="12">
                  <c:v>22.1887</c:v>
                </c:pt>
                <c:pt idx="13">
                  <c:v>20.8928</c:v>
                </c:pt>
                <c:pt idx="14">
                  <c:v>18.8302</c:v>
                </c:pt>
                <c:pt idx="15">
                  <c:v>28.105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76</c:v>
                </c:pt>
                <c:pt idx="1">
                  <c:v>Av Price/Vol 11.97</c:v>
                </c:pt>
                <c:pt idx="2">
                  <c:v>Av Price/Vol 15.57</c:v>
                </c:pt>
                <c:pt idx="3">
                  <c:v>Av Price/Vol 14.11</c:v>
                </c:pt>
                <c:pt idx="4">
                  <c:v>Av Price/Vol 17.01</c:v>
                </c:pt>
                <c:pt idx="5">
                  <c:v>Av Price/Vol 20.83</c:v>
                </c:pt>
                <c:pt idx="6">
                  <c:v>Av Price/Vol 46.61</c:v>
                </c:pt>
                <c:pt idx="7">
                  <c:v>Av Price/Vol 23.02</c:v>
                </c:pt>
                <c:pt idx="8">
                  <c:v>Av Price/Vol 74.97</c:v>
                </c:pt>
                <c:pt idx="9">
                  <c:v>Av Price/Vol 52.07</c:v>
                </c:pt>
                <c:pt idx="10">
                  <c:v>Av Price/Vol 93.41</c:v>
                </c:pt>
                <c:pt idx="11">
                  <c:v>Av Price/Vol 162.98</c:v>
                </c:pt>
                <c:pt idx="12">
                  <c:v>Av Price/Vol 47.92</c:v>
                </c:pt>
                <c:pt idx="13">
                  <c:v>Av Price/Vol 44.26</c:v>
                </c:pt>
                <c:pt idx="14">
                  <c:v>Av Price/Vol 40.03</c:v>
                </c:pt>
                <c:pt idx="15">
                  <c:v>Av Price/Vol 59.36</c:v>
                </c:pt>
              </c:strCache>
            </c:strRef>
          </c:cat>
          <c:val>
            <c:numRef>
              <c:f>Sheet1!$D$2:$D$17</c:f>
              <c:numCache>
                <c:formatCode>General</c:formatCode>
                <c:ptCount val="16"/>
                <c:pt idx="0">
                  <c:v>0.2209</c:v>
                </c:pt>
                <c:pt idx="1">
                  <c:v>0.4068</c:v>
                </c:pt>
                <c:pt idx="2">
                  <c:v>0.3807</c:v>
                </c:pt>
                <c:pt idx="3">
                  <c:v>0.7345</c:v>
                </c:pt>
                <c:pt idx="4">
                  <c:v>0.7365</c:v>
                </c:pt>
                <c:pt idx="5">
                  <c:v>0.4252</c:v>
                </c:pt>
                <c:pt idx="6">
                  <c:v>0.687</c:v>
                </c:pt>
                <c:pt idx="7">
                  <c:v>-2.8294</c:v>
                </c:pt>
                <c:pt idx="8">
                  <c:v>1.0361</c:v>
                </c:pt>
                <c:pt idx="9">
                  <c:v>0.1633</c:v>
                </c:pt>
                <c:pt idx="10">
                  <c:v>0.8423</c:v>
                </c:pt>
                <c:pt idx="11">
                  <c:v>2.3409</c:v>
                </c:pt>
                <c:pt idx="12">
                  <c:v>0.5097</c:v>
                </c:pt>
                <c:pt idx="13">
                  <c:v>0.1718</c:v>
                </c:pt>
                <c:pt idx="14">
                  <c:v>-0.087</c:v>
                </c:pt>
                <c:pt idx="15">
                  <c:v>0.753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2.76</c:v>
                </c:pt>
                <c:pt idx="1">
                  <c:v>Av Price/Vol 11.97</c:v>
                </c:pt>
                <c:pt idx="2">
                  <c:v>Av Price/Vol 15.57</c:v>
                </c:pt>
                <c:pt idx="3">
                  <c:v>Av Price/Vol 14.11</c:v>
                </c:pt>
                <c:pt idx="4">
                  <c:v>Av Price/Vol 17.01</c:v>
                </c:pt>
                <c:pt idx="5">
                  <c:v>Av Price/Vol 20.83</c:v>
                </c:pt>
                <c:pt idx="6">
                  <c:v>Av Price/Vol 46.61</c:v>
                </c:pt>
                <c:pt idx="7">
                  <c:v>Av Price/Vol 23.02</c:v>
                </c:pt>
                <c:pt idx="8">
                  <c:v>Av Price/Vol 74.97</c:v>
                </c:pt>
                <c:pt idx="9">
                  <c:v>Av Price/Vol 52.07</c:v>
                </c:pt>
                <c:pt idx="10">
                  <c:v>Av Price/Vol 93.41</c:v>
                </c:pt>
                <c:pt idx="11">
                  <c:v>Av Price/Vol 162.98</c:v>
                </c:pt>
                <c:pt idx="12">
                  <c:v>Av Price/Vol 47.92</c:v>
                </c:pt>
                <c:pt idx="13">
                  <c:v>Av Price/Vol 44.26</c:v>
                </c:pt>
                <c:pt idx="14">
                  <c:v>Av Price/Vol 40.03</c:v>
                </c:pt>
                <c:pt idx="15">
                  <c:v>Av Price/Vol 59.36</c:v>
                </c:pt>
              </c:strCache>
            </c:strRef>
          </c:cat>
          <c:val>
            <c:numRef>
              <c:f>Sheet1!$E$2:$E$17</c:f>
              <c:numCache>
                <c:formatCode>General</c:formatCode>
                <c:ptCount val="16"/>
                <c:pt idx="0">
                  <c:v>2.1109232164301615</c:v>
                </c:pt>
                <c:pt idx="1">
                  <c:v>1.9949836214523116</c:v>
                </c:pt>
                <c:pt idx="2">
                  <c:v>2.6032821010008775</c:v>
                </c:pt>
                <c:pt idx="3">
                  <c:v>2.3515751211631635</c:v>
                </c:pt>
                <c:pt idx="4">
                  <c:v>2.835414065751145</c:v>
                </c:pt>
                <c:pt idx="5">
                  <c:v>3.4786991062562125</c:v>
                </c:pt>
                <c:pt idx="6">
                  <c:v>7.767696909272184</c:v>
                </c:pt>
                <c:pt idx="7">
                  <c:v>4.310623956660053</c:v>
                </c:pt>
                <c:pt idx="8">
                  <c:v>12.495976342834995</c:v>
                </c:pt>
                <c:pt idx="9">
                  <c:v>8.677302323513299</c:v>
                </c:pt>
                <c:pt idx="10">
                  <c:v>15.570131446368077</c:v>
                </c:pt>
                <c:pt idx="11">
                  <c:v>27.006825627957753</c:v>
                </c:pt>
                <c:pt idx="12">
                  <c:v>7.962585034013611</c:v>
                </c:pt>
                <c:pt idx="13">
                  <c:v>7.367352809114892</c:v>
                </c:pt>
                <c:pt idx="14">
                  <c:v>6.668985580571718</c:v>
                </c:pt>
                <c:pt idx="15">
                  <c:v>9.89327632461434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62</c:v>
                </c:pt>
                <c:pt idx="1">
                  <c:v>Av Price/Vol 12.20</c:v>
                </c:pt>
                <c:pt idx="2">
                  <c:v>Av Price/Vol 15.76</c:v>
                </c:pt>
                <c:pt idx="3">
                  <c:v>Av Price/Vol 13.45</c:v>
                </c:pt>
                <c:pt idx="4">
                  <c:v>Av Price/Vol 17.20</c:v>
                </c:pt>
                <c:pt idx="5">
                  <c:v>Av Price/Vol 23.24</c:v>
                </c:pt>
                <c:pt idx="6">
                  <c:v>Av Price/Vol 45.10</c:v>
                </c:pt>
                <c:pt idx="7">
                  <c:v>Av Price/Vol 27.25</c:v>
                </c:pt>
                <c:pt idx="8">
                  <c:v>Av Price/Vol 93.71</c:v>
                </c:pt>
                <c:pt idx="9">
                  <c:v>Av Price/Vol 55.95</c:v>
                </c:pt>
                <c:pt idx="10">
                  <c:v>Av Price/Vol 111.73</c:v>
                </c:pt>
                <c:pt idx="11">
                  <c:v>Av Price/Vol 215.57</c:v>
                </c:pt>
                <c:pt idx="12">
                  <c:v>Av Price/Vol 51.89</c:v>
                </c:pt>
                <c:pt idx="13">
                  <c:v>Av Price/Vol 45.17</c:v>
                </c:pt>
                <c:pt idx="14">
                  <c:v>Av Price/Vol 40.24</c:v>
                </c:pt>
                <c:pt idx="15">
                  <c:v>Av Price/Vol 67.65</c:v>
                </c:pt>
              </c:strCache>
            </c:strRef>
          </c:cat>
          <c:val>
            <c:numRef>
              <c:f>Sheet1!$B$2:$B$17</c:f>
              <c:numCache>
                <c:formatCode>General</c:formatCode>
                <c:ptCount val="16"/>
                <c:pt idx="0">
                  <c:v>5.8116</c:v>
                </c:pt>
                <c:pt idx="1">
                  <c:v>5.2722</c:v>
                </c:pt>
                <c:pt idx="2">
                  <c:v>6.4704</c:v>
                </c:pt>
                <c:pt idx="3">
                  <c:v>4.8294</c:v>
                </c:pt>
                <c:pt idx="4">
                  <c:v>6.8735</c:v>
                </c:pt>
                <c:pt idx="5">
                  <c:v>8.6189</c:v>
                </c:pt>
                <c:pt idx="6">
                  <c:v>15.4956</c:v>
                </c:pt>
                <c:pt idx="7">
                  <c:v>15.6255</c:v>
                </c:pt>
                <c:pt idx="8">
                  <c:v>30.2837</c:v>
                </c:pt>
                <c:pt idx="9">
                  <c:v>18.2807</c:v>
                </c:pt>
                <c:pt idx="10">
                  <c:v>36.3686</c:v>
                </c:pt>
                <c:pt idx="11">
                  <c:v>64.1948</c:v>
                </c:pt>
                <c:pt idx="12">
                  <c:v>17.8699</c:v>
                </c:pt>
                <c:pt idx="13">
                  <c:v>15.8131</c:v>
                </c:pt>
                <c:pt idx="14">
                  <c:v>14.4934</c:v>
                </c:pt>
                <c:pt idx="15">
                  <c:v>22.900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62</c:v>
                </c:pt>
                <c:pt idx="1">
                  <c:v>Av Price/Vol 12.20</c:v>
                </c:pt>
                <c:pt idx="2">
                  <c:v>Av Price/Vol 15.76</c:v>
                </c:pt>
                <c:pt idx="3">
                  <c:v>Av Price/Vol 13.45</c:v>
                </c:pt>
                <c:pt idx="4">
                  <c:v>Av Price/Vol 17.20</c:v>
                </c:pt>
                <c:pt idx="5">
                  <c:v>Av Price/Vol 23.24</c:v>
                </c:pt>
                <c:pt idx="6">
                  <c:v>Av Price/Vol 45.10</c:v>
                </c:pt>
                <c:pt idx="7">
                  <c:v>Av Price/Vol 27.25</c:v>
                </c:pt>
                <c:pt idx="8">
                  <c:v>Av Price/Vol 93.71</c:v>
                </c:pt>
                <c:pt idx="9">
                  <c:v>Av Price/Vol 55.95</c:v>
                </c:pt>
                <c:pt idx="10">
                  <c:v>Av Price/Vol 111.73</c:v>
                </c:pt>
                <c:pt idx="11">
                  <c:v>Av Price/Vol 215.57</c:v>
                </c:pt>
                <c:pt idx="12">
                  <c:v>Av Price/Vol 51.89</c:v>
                </c:pt>
                <c:pt idx="13">
                  <c:v>Av Price/Vol 45.17</c:v>
                </c:pt>
                <c:pt idx="14">
                  <c:v>Av Price/Vol 40.24</c:v>
                </c:pt>
                <c:pt idx="15">
                  <c:v>Av Price/Vol 67.65</c:v>
                </c:pt>
              </c:strCache>
            </c:strRef>
          </c:cat>
          <c:val>
            <c:numRef>
              <c:f>Sheet1!$C$2:$C$17</c:f>
              <c:numCache>
                <c:formatCode>General</c:formatCode>
                <c:ptCount val="16"/>
                <c:pt idx="0">
                  <c:v>5.5176</c:v>
                </c:pt>
                <c:pt idx="1">
                  <c:v>4.4207</c:v>
                </c:pt>
                <c:pt idx="2">
                  <c:v>6.1771</c:v>
                </c:pt>
                <c:pt idx="3">
                  <c:v>5.4863</c:v>
                </c:pt>
                <c:pt idx="4">
                  <c:v>6.6144</c:v>
                </c:pt>
                <c:pt idx="5">
                  <c:v>10.2006</c:v>
                </c:pt>
                <c:pt idx="6">
                  <c:v>20.2445</c:v>
                </c:pt>
                <c:pt idx="7">
                  <c:v>13.1446</c:v>
                </c:pt>
                <c:pt idx="8">
                  <c:v>44.9833</c:v>
                </c:pt>
                <c:pt idx="9">
                  <c:v>27.8862</c:v>
                </c:pt>
                <c:pt idx="10">
                  <c:v>55.1761</c:v>
                </c:pt>
                <c:pt idx="11">
                  <c:v>107.4986</c:v>
                </c:pt>
                <c:pt idx="12">
                  <c:v>23.4279</c:v>
                </c:pt>
                <c:pt idx="13">
                  <c:v>21.6604</c:v>
                </c:pt>
                <c:pt idx="14">
                  <c:v>18.8184</c:v>
                </c:pt>
                <c:pt idx="15">
                  <c:v>31.888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62</c:v>
                </c:pt>
                <c:pt idx="1">
                  <c:v>Av Price/Vol 12.20</c:v>
                </c:pt>
                <c:pt idx="2">
                  <c:v>Av Price/Vol 15.76</c:v>
                </c:pt>
                <c:pt idx="3">
                  <c:v>Av Price/Vol 13.45</c:v>
                </c:pt>
                <c:pt idx="4">
                  <c:v>Av Price/Vol 17.20</c:v>
                </c:pt>
                <c:pt idx="5">
                  <c:v>Av Price/Vol 23.24</c:v>
                </c:pt>
                <c:pt idx="6">
                  <c:v>Av Price/Vol 45.10</c:v>
                </c:pt>
                <c:pt idx="7">
                  <c:v>Av Price/Vol 27.25</c:v>
                </c:pt>
                <c:pt idx="8">
                  <c:v>Av Price/Vol 93.71</c:v>
                </c:pt>
                <c:pt idx="9">
                  <c:v>Av Price/Vol 55.95</c:v>
                </c:pt>
                <c:pt idx="10">
                  <c:v>Av Price/Vol 111.73</c:v>
                </c:pt>
                <c:pt idx="11">
                  <c:v>Av Price/Vol 215.57</c:v>
                </c:pt>
                <c:pt idx="12">
                  <c:v>Av Price/Vol 51.89</c:v>
                </c:pt>
                <c:pt idx="13">
                  <c:v>Av Price/Vol 45.17</c:v>
                </c:pt>
                <c:pt idx="14">
                  <c:v>Av Price/Vol 40.24</c:v>
                </c:pt>
                <c:pt idx="15">
                  <c:v>Av Price/Vol 67.65</c:v>
                </c:pt>
              </c:strCache>
            </c:strRef>
          </c:cat>
          <c:val>
            <c:numRef>
              <c:f>Sheet1!$D$2:$D$17</c:f>
              <c:numCache>
                <c:formatCode>General</c:formatCode>
                <c:ptCount val="16"/>
                <c:pt idx="0">
                  <c:v>0.8604</c:v>
                </c:pt>
                <c:pt idx="1">
                  <c:v>0.4671</c:v>
                </c:pt>
                <c:pt idx="2">
                  <c:v>0.5145</c:v>
                </c:pt>
                <c:pt idx="3">
                  <c:v>0.8741</c:v>
                </c:pt>
                <c:pt idx="4">
                  <c:v>0.8439</c:v>
                </c:pt>
                <c:pt idx="5">
                  <c:v>0.5443</c:v>
                </c:pt>
                <c:pt idx="6">
                  <c:v>1.8414</c:v>
                </c:pt>
                <c:pt idx="7">
                  <c:v>-3.2236</c:v>
                </c:pt>
                <c:pt idx="8">
                  <c:v>2.6343</c:v>
                </c:pt>
                <c:pt idx="9">
                  <c:v>0.3939</c:v>
                </c:pt>
                <c:pt idx="10">
                  <c:v>0.9736</c:v>
                </c:pt>
                <c:pt idx="11">
                  <c:v>3.6487</c:v>
                </c:pt>
                <c:pt idx="12">
                  <c:v>1.2121</c:v>
                </c:pt>
                <c:pt idx="13">
                  <c:v>0.1597</c:v>
                </c:pt>
                <c:pt idx="14">
                  <c:v>0.1995</c:v>
                </c:pt>
                <c:pt idx="15">
                  <c:v>1.57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4.62</c:v>
                </c:pt>
                <c:pt idx="1">
                  <c:v>Av Price/Vol 12.20</c:v>
                </c:pt>
                <c:pt idx="2">
                  <c:v>Av Price/Vol 15.76</c:v>
                </c:pt>
                <c:pt idx="3">
                  <c:v>Av Price/Vol 13.45</c:v>
                </c:pt>
                <c:pt idx="4">
                  <c:v>Av Price/Vol 17.20</c:v>
                </c:pt>
                <c:pt idx="5">
                  <c:v>Av Price/Vol 23.24</c:v>
                </c:pt>
                <c:pt idx="6">
                  <c:v>Av Price/Vol 45.10</c:v>
                </c:pt>
                <c:pt idx="7">
                  <c:v>Av Price/Vol 27.25</c:v>
                </c:pt>
                <c:pt idx="8">
                  <c:v>Av Price/Vol 93.71</c:v>
                </c:pt>
                <c:pt idx="9">
                  <c:v>Av Price/Vol 55.95</c:v>
                </c:pt>
                <c:pt idx="10">
                  <c:v>Av Price/Vol 111.73</c:v>
                </c:pt>
                <c:pt idx="11">
                  <c:v>Av Price/Vol 215.57</c:v>
                </c:pt>
                <c:pt idx="12">
                  <c:v>Av Price/Vol 51.89</c:v>
                </c:pt>
                <c:pt idx="13">
                  <c:v>Av Price/Vol 45.17</c:v>
                </c:pt>
                <c:pt idx="14">
                  <c:v>Av Price/Vol 40.24</c:v>
                </c:pt>
                <c:pt idx="15">
                  <c:v>Av Price/Vol 67.65</c:v>
                </c:pt>
              </c:strCache>
            </c:strRef>
          </c:cat>
          <c:val>
            <c:numRef>
              <c:f>Sheet1!$E$2:$E$17</c:f>
              <c:numCache>
                <c:formatCode>General</c:formatCode>
                <c:ptCount val="16"/>
                <c:pt idx="0">
                  <c:v>2.4431972789115597</c:v>
                </c:pt>
                <c:pt idx="1">
                  <c:v>2.0320076748648184</c:v>
                </c:pt>
                <c:pt idx="2">
                  <c:v>2.6329781677635</c:v>
                </c:pt>
                <c:pt idx="3">
                  <c:v>2.2408477842003847</c:v>
                </c:pt>
                <c:pt idx="4">
                  <c:v>2.866356700047688</c:v>
                </c:pt>
                <c:pt idx="5">
                  <c:v>3.8727647867950483</c:v>
                </c:pt>
                <c:pt idx="6">
                  <c:v>7.516317016317014</c:v>
                </c:pt>
                <c:pt idx="7">
                  <c:v>5.109270088802256</c:v>
                </c:pt>
                <c:pt idx="8">
                  <c:v>15.622035767745956</c:v>
                </c:pt>
                <c:pt idx="9">
                  <c:v>9.316538848197597</c:v>
                </c:pt>
                <c:pt idx="10">
                  <c:v>18.57794477455435</c:v>
                </c:pt>
                <c:pt idx="11">
                  <c:v>35.40779349714564</c:v>
                </c:pt>
                <c:pt idx="12">
                  <c:v>8.53522504892368</c:v>
                </c:pt>
                <c:pt idx="13">
                  <c:v>7.527531083481338</c:v>
                </c:pt>
                <c:pt idx="14">
                  <c:v>6.703572516758077</c:v>
                </c:pt>
                <c:pt idx="15">
                  <c:v>11.27543859649123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5.16</c:v>
                </c:pt>
                <c:pt idx="1">
                  <c:v>Av Price/Vol 11.50</c:v>
                </c:pt>
                <c:pt idx="2">
                  <c:v>Av Price/Vol 15.72</c:v>
                </c:pt>
                <c:pt idx="3">
                  <c:v>Av Price/Vol 14.07</c:v>
                </c:pt>
                <c:pt idx="4">
                  <c:v>Av Price/Vol 16.86</c:v>
                </c:pt>
                <c:pt idx="5">
                  <c:v>Av Price/Vol 23.25</c:v>
                </c:pt>
                <c:pt idx="6">
                  <c:v>Av Price/Vol 47.35</c:v>
                </c:pt>
                <c:pt idx="7">
                  <c:v>Av Price/Vol 23.30</c:v>
                </c:pt>
                <c:pt idx="8">
                  <c:v>Av Price/Vol 73.64</c:v>
                </c:pt>
                <c:pt idx="9">
                  <c:v>Av Price/Vol 53.69</c:v>
                </c:pt>
                <c:pt idx="10">
                  <c:v>Av Price/Vol 98.81</c:v>
                </c:pt>
                <c:pt idx="11">
                  <c:v>Av Price/Vol 187.10</c:v>
                </c:pt>
                <c:pt idx="12">
                  <c:v>Av Price/Vol 49.00</c:v>
                </c:pt>
                <c:pt idx="13">
                  <c:v>Av Price/Vol 44.31</c:v>
                </c:pt>
                <c:pt idx="14">
                  <c:v>Av Price/Vol 39.97</c:v>
                </c:pt>
                <c:pt idx="15">
                  <c:v>Av Price/Vol 61.43</c:v>
                </c:pt>
              </c:strCache>
            </c:strRef>
          </c:cat>
          <c:val>
            <c:numRef>
              <c:f>Sheet1!$B$2:$B$17</c:f>
              <c:numCache>
                <c:formatCode>General</c:formatCode>
                <c:ptCount val="16"/>
                <c:pt idx="0">
                  <c:v>5.306</c:v>
                </c:pt>
                <c:pt idx="1">
                  <c:v>4.9022</c:v>
                </c:pt>
                <c:pt idx="2">
                  <c:v>6.4601</c:v>
                </c:pt>
                <c:pt idx="3">
                  <c:v>4.9467</c:v>
                </c:pt>
                <c:pt idx="4">
                  <c:v>6.828</c:v>
                </c:pt>
                <c:pt idx="5">
                  <c:v>8.5784</c:v>
                </c:pt>
                <c:pt idx="6">
                  <c:v>16.439</c:v>
                </c:pt>
                <c:pt idx="7">
                  <c:v>12.5098</c:v>
                </c:pt>
                <c:pt idx="8">
                  <c:v>24.1475</c:v>
                </c:pt>
                <c:pt idx="9">
                  <c:v>17.659</c:v>
                </c:pt>
                <c:pt idx="10">
                  <c:v>32.4895</c:v>
                </c:pt>
                <c:pt idx="11">
                  <c:v>54.1948</c:v>
                </c:pt>
                <c:pt idx="12">
                  <c:v>17.0835</c:v>
                </c:pt>
                <c:pt idx="13">
                  <c:v>15.809</c:v>
                </c:pt>
                <c:pt idx="14">
                  <c:v>14.5792</c:v>
                </c:pt>
                <c:pt idx="15">
                  <c:v>20.786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5.16</c:v>
                </c:pt>
                <c:pt idx="1">
                  <c:v>Av Price/Vol 11.50</c:v>
                </c:pt>
                <c:pt idx="2">
                  <c:v>Av Price/Vol 15.72</c:v>
                </c:pt>
                <c:pt idx="3">
                  <c:v>Av Price/Vol 14.07</c:v>
                </c:pt>
                <c:pt idx="4">
                  <c:v>Av Price/Vol 16.86</c:v>
                </c:pt>
                <c:pt idx="5">
                  <c:v>Av Price/Vol 23.25</c:v>
                </c:pt>
                <c:pt idx="6">
                  <c:v>Av Price/Vol 47.35</c:v>
                </c:pt>
                <c:pt idx="7">
                  <c:v>Av Price/Vol 23.30</c:v>
                </c:pt>
                <c:pt idx="8">
                  <c:v>Av Price/Vol 73.64</c:v>
                </c:pt>
                <c:pt idx="9">
                  <c:v>Av Price/Vol 53.69</c:v>
                </c:pt>
                <c:pt idx="10">
                  <c:v>Av Price/Vol 98.81</c:v>
                </c:pt>
                <c:pt idx="11">
                  <c:v>Av Price/Vol 187.10</c:v>
                </c:pt>
                <c:pt idx="12">
                  <c:v>Av Price/Vol 49.00</c:v>
                </c:pt>
                <c:pt idx="13">
                  <c:v>Av Price/Vol 44.31</c:v>
                </c:pt>
                <c:pt idx="14">
                  <c:v>Av Price/Vol 39.97</c:v>
                </c:pt>
                <c:pt idx="15">
                  <c:v>Av Price/Vol 61.43</c:v>
                </c:pt>
              </c:strCache>
            </c:strRef>
          </c:cat>
          <c:val>
            <c:numRef>
              <c:f>Sheet1!$C$2:$C$17</c:f>
              <c:numCache>
                <c:formatCode>General</c:formatCode>
                <c:ptCount val="16"/>
                <c:pt idx="0">
                  <c:v>7.0856</c:v>
                </c:pt>
                <c:pt idx="1">
                  <c:v>4.3396</c:v>
                </c:pt>
                <c:pt idx="2">
                  <c:v>6.2194</c:v>
                </c:pt>
                <c:pt idx="3">
                  <c:v>5.5738</c:v>
                </c:pt>
                <c:pt idx="4">
                  <c:v>6.5522</c:v>
                </c:pt>
                <c:pt idx="5">
                  <c:v>10.0519</c:v>
                </c:pt>
                <c:pt idx="6">
                  <c:v>21.5764</c:v>
                </c:pt>
                <c:pt idx="7">
                  <c:v>10.9892</c:v>
                </c:pt>
                <c:pt idx="8">
                  <c:v>35.0725</c:v>
                </c:pt>
                <c:pt idx="9">
                  <c:v>26.6462</c:v>
                </c:pt>
                <c:pt idx="10">
                  <c:v>47.8202</c:v>
                </c:pt>
                <c:pt idx="11">
                  <c:v>92.0849</c:v>
                </c:pt>
                <c:pt idx="12">
                  <c:v>22.0187</c:v>
                </c:pt>
                <c:pt idx="13">
                  <c:v>20.4837</c:v>
                </c:pt>
                <c:pt idx="14">
                  <c:v>18.7754</c:v>
                </c:pt>
                <c:pt idx="15">
                  <c:v>28.072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5.16</c:v>
                </c:pt>
                <c:pt idx="1">
                  <c:v>Av Price/Vol 11.50</c:v>
                </c:pt>
                <c:pt idx="2">
                  <c:v>Av Price/Vol 15.72</c:v>
                </c:pt>
                <c:pt idx="3">
                  <c:v>Av Price/Vol 14.07</c:v>
                </c:pt>
                <c:pt idx="4">
                  <c:v>Av Price/Vol 16.86</c:v>
                </c:pt>
                <c:pt idx="5">
                  <c:v>Av Price/Vol 23.25</c:v>
                </c:pt>
                <c:pt idx="6">
                  <c:v>Av Price/Vol 47.35</c:v>
                </c:pt>
                <c:pt idx="7">
                  <c:v>Av Price/Vol 23.30</c:v>
                </c:pt>
                <c:pt idx="8">
                  <c:v>Av Price/Vol 73.64</c:v>
                </c:pt>
                <c:pt idx="9">
                  <c:v>Av Price/Vol 53.69</c:v>
                </c:pt>
                <c:pt idx="10">
                  <c:v>Av Price/Vol 98.81</c:v>
                </c:pt>
                <c:pt idx="11">
                  <c:v>Av Price/Vol 187.10</c:v>
                </c:pt>
                <c:pt idx="12">
                  <c:v>Av Price/Vol 49.00</c:v>
                </c:pt>
                <c:pt idx="13">
                  <c:v>Av Price/Vol 44.31</c:v>
                </c:pt>
                <c:pt idx="14">
                  <c:v>Av Price/Vol 39.97</c:v>
                </c:pt>
                <c:pt idx="15">
                  <c:v>Av Price/Vol 61.43</c:v>
                </c:pt>
              </c:strCache>
            </c:strRef>
          </c:cat>
          <c:val>
            <c:numRef>
              <c:f>Sheet1!$D$2:$D$17</c:f>
              <c:numCache>
                <c:formatCode>General</c:formatCode>
                <c:ptCount val="16"/>
                <c:pt idx="0">
                  <c:v>0.2359</c:v>
                </c:pt>
                <c:pt idx="1">
                  <c:v>0.337</c:v>
                </c:pt>
                <c:pt idx="2">
                  <c:v>0.4683</c:v>
                </c:pt>
                <c:pt idx="3">
                  <c:v>1.1503</c:v>
                </c:pt>
                <c:pt idx="4">
                  <c:v>0.6674</c:v>
                </c:pt>
                <c:pt idx="5">
                  <c:v>0.7455</c:v>
                </c:pt>
                <c:pt idx="6">
                  <c:v>1.4455</c:v>
                </c:pt>
                <c:pt idx="7">
                  <c:v>-2.439</c:v>
                </c:pt>
                <c:pt idx="8">
                  <c:v>1.8477</c:v>
                </c:pt>
                <c:pt idx="9">
                  <c:v>0.4023</c:v>
                </c:pt>
                <c:pt idx="10">
                  <c:v>1.6696</c:v>
                </c:pt>
                <c:pt idx="11">
                  <c:v>6.9754</c:v>
                </c:pt>
                <c:pt idx="12">
                  <c:v>1.5465</c:v>
                </c:pt>
                <c:pt idx="13">
                  <c:v>0.6037</c:v>
                </c:pt>
                <c:pt idx="14">
                  <c:v>-0.0494</c:v>
                </c:pt>
                <c:pt idx="15">
                  <c:v>2.335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5.16</c:v>
                </c:pt>
                <c:pt idx="1">
                  <c:v>Av Price/Vol 11.50</c:v>
                </c:pt>
                <c:pt idx="2">
                  <c:v>Av Price/Vol 15.72</c:v>
                </c:pt>
                <c:pt idx="3">
                  <c:v>Av Price/Vol 14.07</c:v>
                </c:pt>
                <c:pt idx="4">
                  <c:v>Av Price/Vol 16.86</c:v>
                </c:pt>
                <c:pt idx="5">
                  <c:v>Av Price/Vol 23.25</c:v>
                </c:pt>
                <c:pt idx="6">
                  <c:v>Av Price/Vol 47.35</c:v>
                </c:pt>
                <c:pt idx="7">
                  <c:v>Av Price/Vol 23.30</c:v>
                </c:pt>
                <c:pt idx="8">
                  <c:v>Av Price/Vol 73.64</c:v>
                </c:pt>
                <c:pt idx="9">
                  <c:v>Av Price/Vol 53.69</c:v>
                </c:pt>
                <c:pt idx="10">
                  <c:v>Av Price/Vol 98.81</c:v>
                </c:pt>
                <c:pt idx="11">
                  <c:v>Av Price/Vol 187.10</c:v>
                </c:pt>
                <c:pt idx="12">
                  <c:v>Av Price/Vol 49.00</c:v>
                </c:pt>
                <c:pt idx="13">
                  <c:v>Av Price/Vol 44.31</c:v>
                </c:pt>
                <c:pt idx="14">
                  <c:v>Av Price/Vol 39.97</c:v>
                </c:pt>
                <c:pt idx="15">
                  <c:v>Av Price/Vol 61.43</c:v>
                </c:pt>
              </c:strCache>
            </c:strRef>
          </c:cat>
          <c:val>
            <c:numRef>
              <c:f>Sheet1!$E$2:$E$17</c:f>
              <c:numCache>
                <c:formatCode>General</c:formatCode>
                <c:ptCount val="16"/>
                <c:pt idx="0">
                  <c:v>2.5265159444560723</c:v>
                </c:pt>
                <c:pt idx="1">
                  <c:v>1.9157619979830371</c:v>
                </c:pt>
                <c:pt idx="2">
                  <c:v>2.6338538761851646</c:v>
                </c:pt>
                <c:pt idx="3">
                  <c:v>2.345648604269291</c:v>
                </c:pt>
                <c:pt idx="4">
                  <c:v>2.8095119107113105</c:v>
                </c:pt>
                <c:pt idx="5">
                  <c:v>3.875138427464007</c:v>
                </c:pt>
                <c:pt idx="6">
                  <c:v>7.892156862745096</c:v>
                </c:pt>
                <c:pt idx="7">
                  <c:v>4.211999022482894</c:v>
                </c:pt>
                <c:pt idx="8">
                  <c:v>12.229810465595373</c:v>
                </c:pt>
                <c:pt idx="9">
                  <c:v>8.950190608806812</c:v>
                </c:pt>
                <c:pt idx="10">
                  <c:v>16.472222222222232</c:v>
                </c:pt>
                <c:pt idx="11">
                  <c:v>31.09595327492711</c:v>
                </c:pt>
                <c:pt idx="12">
                  <c:v>8.16625207296848</c:v>
                </c:pt>
                <c:pt idx="13">
                  <c:v>7.385443217218904</c:v>
                </c:pt>
                <c:pt idx="14">
                  <c:v>6.661036664805503</c:v>
                </c:pt>
                <c:pt idx="15">
                  <c:v>10.23888888888888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1.81</c:v>
                </c:pt>
                <c:pt idx="1">
                  <c:v>Av Price/Vol 11.89</c:v>
                </c:pt>
                <c:pt idx="2">
                  <c:v>Av Price/Vol 15.35</c:v>
                </c:pt>
                <c:pt idx="3">
                  <c:v>Av Price/Vol 14.10</c:v>
                </c:pt>
                <c:pt idx="4">
                  <c:v>Av Price/Vol 17.06</c:v>
                </c:pt>
                <c:pt idx="5">
                  <c:v>Av Price/Vol 19.11</c:v>
                </c:pt>
                <c:pt idx="6">
                  <c:v>Av Price/Vol 48.55</c:v>
                </c:pt>
                <c:pt idx="7">
                  <c:v>Av Price/Vol 23.11</c:v>
                </c:pt>
                <c:pt idx="8">
                  <c:v>Av Price/Vol 71.40</c:v>
                </c:pt>
                <c:pt idx="9">
                  <c:v>Av Price/Vol 52.29</c:v>
                </c:pt>
                <c:pt idx="10">
                  <c:v>Av Price/Vol 96.43</c:v>
                </c:pt>
                <c:pt idx="11">
                  <c:v>Av Price/Vol 172.92</c:v>
                </c:pt>
                <c:pt idx="12">
                  <c:v>Av Price/Vol 48.44</c:v>
                </c:pt>
                <c:pt idx="13">
                  <c:v>Av Price/Vol 44.68</c:v>
                </c:pt>
                <c:pt idx="14">
                  <c:v>Av Price/Vol 40.00</c:v>
                </c:pt>
                <c:pt idx="15">
                  <c:v>Av Price/Vol 58.91</c:v>
                </c:pt>
              </c:strCache>
            </c:strRef>
          </c:cat>
          <c:val>
            <c:numRef>
              <c:f>Sheet1!$B$2:$B$17</c:f>
              <c:numCache>
                <c:formatCode>General</c:formatCode>
                <c:ptCount val="16"/>
                <c:pt idx="0">
                  <c:v>5.0273</c:v>
                </c:pt>
                <c:pt idx="1">
                  <c:v>5.1805</c:v>
                </c:pt>
                <c:pt idx="2">
                  <c:v>6.0479</c:v>
                </c:pt>
                <c:pt idx="3">
                  <c:v>5.1531</c:v>
                </c:pt>
                <c:pt idx="4">
                  <c:v>6.8584</c:v>
                </c:pt>
                <c:pt idx="5">
                  <c:v>6.6448</c:v>
                </c:pt>
                <c:pt idx="6">
                  <c:v>16.862</c:v>
                </c:pt>
                <c:pt idx="7">
                  <c:v>12.8935</c:v>
                </c:pt>
                <c:pt idx="8">
                  <c:v>23.5235</c:v>
                </c:pt>
                <c:pt idx="9">
                  <c:v>17.0685</c:v>
                </c:pt>
                <c:pt idx="10">
                  <c:v>32.0565</c:v>
                </c:pt>
                <c:pt idx="11">
                  <c:v>51.4669</c:v>
                </c:pt>
                <c:pt idx="12">
                  <c:v>17.0869</c:v>
                </c:pt>
                <c:pt idx="13">
                  <c:v>15.8578</c:v>
                </c:pt>
                <c:pt idx="14">
                  <c:v>14.6186</c:v>
                </c:pt>
                <c:pt idx="15">
                  <c:v>20.399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1.81</c:v>
                </c:pt>
                <c:pt idx="1">
                  <c:v>Av Price/Vol 11.89</c:v>
                </c:pt>
                <c:pt idx="2">
                  <c:v>Av Price/Vol 15.35</c:v>
                </c:pt>
                <c:pt idx="3">
                  <c:v>Av Price/Vol 14.10</c:v>
                </c:pt>
                <c:pt idx="4">
                  <c:v>Av Price/Vol 17.06</c:v>
                </c:pt>
                <c:pt idx="5">
                  <c:v>Av Price/Vol 19.11</c:v>
                </c:pt>
                <c:pt idx="6">
                  <c:v>Av Price/Vol 48.55</c:v>
                </c:pt>
                <c:pt idx="7">
                  <c:v>Av Price/Vol 23.11</c:v>
                </c:pt>
                <c:pt idx="8">
                  <c:v>Av Price/Vol 71.40</c:v>
                </c:pt>
                <c:pt idx="9">
                  <c:v>Av Price/Vol 52.29</c:v>
                </c:pt>
                <c:pt idx="10">
                  <c:v>Av Price/Vol 96.43</c:v>
                </c:pt>
                <c:pt idx="11">
                  <c:v>Av Price/Vol 172.92</c:v>
                </c:pt>
                <c:pt idx="12">
                  <c:v>Av Price/Vol 48.44</c:v>
                </c:pt>
                <c:pt idx="13">
                  <c:v>Av Price/Vol 44.68</c:v>
                </c:pt>
                <c:pt idx="14">
                  <c:v>Av Price/Vol 40.00</c:v>
                </c:pt>
                <c:pt idx="15">
                  <c:v>Av Price/Vol 58.91</c:v>
                </c:pt>
              </c:strCache>
            </c:strRef>
          </c:cat>
          <c:val>
            <c:numRef>
              <c:f>Sheet1!$C$2:$C$17</c:f>
              <c:numCache>
                <c:formatCode>General</c:formatCode>
                <c:ptCount val="16"/>
                <c:pt idx="0">
                  <c:v>4.6088</c:v>
                </c:pt>
                <c:pt idx="1">
                  <c:v>4.3166</c:v>
                </c:pt>
                <c:pt idx="2">
                  <c:v>6.4266</c:v>
                </c:pt>
                <c:pt idx="3">
                  <c:v>5.874</c:v>
                </c:pt>
                <c:pt idx="4">
                  <c:v>6.5788</c:v>
                </c:pt>
                <c:pt idx="5">
                  <c:v>8.9333</c:v>
                </c:pt>
                <c:pt idx="6">
                  <c:v>22.3869</c:v>
                </c:pt>
                <c:pt idx="7">
                  <c:v>11.537</c:v>
                </c:pt>
                <c:pt idx="8">
                  <c:v>34.3397</c:v>
                </c:pt>
                <c:pt idx="9">
                  <c:v>26.3045</c:v>
                </c:pt>
                <c:pt idx="10">
                  <c:v>47.2398</c:v>
                </c:pt>
                <c:pt idx="11">
                  <c:v>85.2526</c:v>
                </c:pt>
                <c:pt idx="12">
                  <c:v>22.278</c:v>
                </c:pt>
                <c:pt idx="13">
                  <c:v>21.2169</c:v>
                </c:pt>
                <c:pt idx="14">
                  <c:v>18.7997</c:v>
                </c:pt>
                <c:pt idx="15">
                  <c:v>27.845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1.81</c:v>
                </c:pt>
                <c:pt idx="1">
                  <c:v>Av Price/Vol 11.89</c:v>
                </c:pt>
                <c:pt idx="2">
                  <c:v>Av Price/Vol 15.35</c:v>
                </c:pt>
                <c:pt idx="3">
                  <c:v>Av Price/Vol 14.10</c:v>
                </c:pt>
                <c:pt idx="4">
                  <c:v>Av Price/Vol 17.06</c:v>
                </c:pt>
                <c:pt idx="5">
                  <c:v>Av Price/Vol 19.11</c:v>
                </c:pt>
                <c:pt idx="6">
                  <c:v>Av Price/Vol 48.55</c:v>
                </c:pt>
                <c:pt idx="7">
                  <c:v>Av Price/Vol 23.11</c:v>
                </c:pt>
                <c:pt idx="8">
                  <c:v>Av Price/Vol 71.40</c:v>
                </c:pt>
                <c:pt idx="9">
                  <c:v>Av Price/Vol 52.29</c:v>
                </c:pt>
                <c:pt idx="10">
                  <c:v>Av Price/Vol 96.43</c:v>
                </c:pt>
                <c:pt idx="11">
                  <c:v>Av Price/Vol 172.92</c:v>
                </c:pt>
                <c:pt idx="12">
                  <c:v>Av Price/Vol 48.44</c:v>
                </c:pt>
                <c:pt idx="13">
                  <c:v>Av Price/Vol 44.68</c:v>
                </c:pt>
                <c:pt idx="14">
                  <c:v>Av Price/Vol 40.00</c:v>
                </c:pt>
                <c:pt idx="15">
                  <c:v>Av Price/Vol 58.91</c:v>
                </c:pt>
              </c:strCache>
            </c:strRef>
          </c:cat>
          <c:val>
            <c:numRef>
              <c:f>Sheet1!$D$2:$D$17</c:f>
              <c:numCache>
                <c:formatCode>General</c:formatCode>
                <c:ptCount val="16"/>
                <c:pt idx="0">
                  <c:v>0.1949</c:v>
                </c:pt>
                <c:pt idx="1">
                  <c:v>0.4129</c:v>
                </c:pt>
                <c:pt idx="2">
                  <c:v>0.3487</c:v>
                </c:pt>
                <c:pt idx="3">
                  <c:v>0.721</c:v>
                </c:pt>
                <c:pt idx="4">
                  <c:v>0.7764</c:v>
                </c:pt>
                <c:pt idx="5">
                  <c:v>0.3792</c:v>
                </c:pt>
                <c:pt idx="6">
                  <c:v>1.2062</c:v>
                </c:pt>
                <c:pt idx="7">
                  <c:v>-2.7876</c:v>
                </c:pt>
                <c:pt idx="8">
                  <c:v>1.5569</c:v>
                </c:pt>
                <c:pt idx="9">
                  <c:v>0.1754</c:v>
                </c:pt>
                <c:pt idx="10">
                  <c:v>1.0273</c:v>
                </c:pt>
                <c:pt idx="11">
                  <c:v>4.2823</c:v>
                </c:pt>
                <c:pt idx="12">
                  <c:v>0.8613</c:v>
                </c:pt>
                <c:pt idx="13">
                  <c:v>0.1395</c:v>
                </c:pt>
                <c:pt idx="14">
                  <c:v>-0.0905</c:v>
                </c:pt>
                <c:pt idx="15">
                  <c:v>0.847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1.81</c:v>
                </c:pt>
                <c:pt idx="1">
                  <c:v>Av Price/Vol 11.89</c:v>
                </c:pt>
                <c:pt idx="2">
                  <c:v>Av Price/Vol 15.35</c:v>
                </c:pt>
                <c:pt idx="3">
                  <c:v>Av Price/Vol 14.10</c:v>
                </c:pt>
                <c:pt idx="4">
                  <c:v>Av Price/Vol 17.06</c:v>
                </c:pt>
                <c:pt idx="5">
                  <c:v>Av Price/Vol 19.11</c:v>
                </c:pt>
                <c:pt idx="6">
                  <c:v>Av Price/Vol 48.55</c:v>
                </c:pt>
                <c:pt idx="7">
                  <c:v>Av Price/Vol 23.11</c:v>
                </c:pt>
                <c:pt idx="8">
                  <c:v>Av Price/Vol 71.40</c:v>
                </c:pt>
                <c:pt idx="9">
                  <c:v>Av Price/Vol 52.29</c:v>
                </c:pt>
                <c:pt idx="10">
                  <c:v>Av Price/Vol 96.43</c:v>
                </c:pt>
                <c:pt idx="11">
                  <c:v>Av Price/Vol 172.92</c:v>
                </c:pt>
                <c:pt idx="12">
                  <c:v>Av Price/Vol 48.44</c:v>
                </c:pt>
                <c:pt idx="13">
                  <c:v>Av Price/Vol 44.68</c:v>
                </c:pt>
                <c:pt idx="14">
                  <c:v>Av Price/Vol 40.00</c:v>
                </c:pt>
                <c:pt idx="15">
                  <c:v>Av Price/Vol 58.91</c:v>
                </c:pt>
              </c:strCache>
            </c:strRef>
          </c:cat>
          <c:val>
            <c:numRef>
              <c:f>Sheet1!$E$2:$E$17</c:f>
              <c:numCache>
                <c:formatCode>General</c:formatCode>
                <c:ptCount val="16"/>
                <c:pt idx="0">
                  <c:v>1.9671559034572843</c:v>
                </c:pt>
                <c:pt idx="1">
                  <c:v>1.9821021202361757</c:v>
                </c:pt>
                <c:pt idx="2">
                  <c:v>2.565633007975587</c:v>
                </c:pt>
                <c:pt idx="3">
                  <c:v>2.3496143958868894</c:v>
                </c:pt>
                <c:pt idx="4">
                  <c:v>2.842729970326406</c:v>
                </c:pt>
                <c:pt idx="5">
                  <c:v>3.1918600806718254</c:v>
                </c:pt>
                <c:pt idx="6">
                  <c:v>8.091029023746698</c:v>
                </c:pt>
                <c:pt idx="7">
                  <c:v>4.3285848465873515</c:v>
                </c:pt>
                <c:pt idx="8">
                  <c:v>11.89649504781419</c:v>
                </c:pt>
                <c:pt idx="9">
                  <c:v>8.712753185555071</c:v>
                </c:pt>
                <c:pt idx="10">
                  <c:v>16.09219718587029</c:v>
                </c:pt>
                <c:pt idx="11">
                  <c:v>28.475443262411275</c:v>
                </c:pt>
                <c:pt idx="12">
                  <c:v>8.045229244114006</c:v>
                </c:pt>
                <c:pt idx="13">
                  <c:v>7.443462586828451</c:v>
                </c:pt>
                <c:pt idx="14">
                  <c:v>6.666226622662264</c:v>
                </c:pt>
                <c:pt idx="15">
                  <c:v>9.81848404255319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98</c:v>
                </c:pt>
                <c:pt idx="1">
                  <c:v>Av Price/Vol 12.00</c:v>
                </c:pt>
                <c:pt idx="2">
                  <c:v>Av Price/Vol 15.83</c:v>
                </c:pt>
                <c:pt idx="3">
                  <c:v>Av Price/Vol 14.13</c:v>
                </c:pt>
                <c:pt idx="4">
                  <c:v>Av Price/Vol 17.04</c:v>
                </c:pt>
                <c:pt idx="5">
                  <c:v>Av Price/Vol 23.15</c:v>
                </c:pt>
                <c:pt idx="6">
                  <c:v>Av Price/Vol 48.99</c:v>
                </c:pt>
                <c:pt idx="7">
                  <c:v>Av Price/Vol 24.48</c:v>
                </c:pt>
                <c:pt idx="8">
                  <c:v>Av Price/Vol 86.60</c:v>
                </c:pt>
                <c:pt idx="9">
                  <c:v>Av Price/Vol 53.78</c:v>
                </c:pt>
                <c:pt idx="10">
                  <c:v>Av Price/Vol 103.52</c:v>
                </c:pt>
                <c:pt idx="11">
                  <c:v>Av Price/Vol 208.25</c:v>
                </c:pt>
                <c:pt idx="12">
                  <c:v>Av Price/Vol 51.50</c:v>
                </c:pt>
                <c:pt idx="13">
                  <c:v>Av Price/Vol 44.71</c:v>
                </c:pt>
                <c:pt idx="14">
                  <c:v>Av Price/Vol 39.92</c:v>
                </c:pt>
                <c:pt idx="15">
                  <c:v>Av Price/Vol 64.63</c:v>
                </c:pt>
              </c:strCache>
            </c:strRef>
          </c:cat>
          <c:val>
            <c:numRef>
              <c:f>Sheet1!$B$2:$B$17</c:f>
              <c:numCache>
                <c:formatCode>General</c:formatCode>
                <c:ptCount val="16"/>
                <c:pt idx="0">
                  <c:v>5.3356</c:v>
                </c:pt>
                <c:pt idx="1">
                  <c:v>5.1917</c:v>
                </c:pt>
                <c:pt idx="2">
                  <c:v>6.5667</c:v>
                </c:pt>
                <c:pt idx="3">
                  <c:v>5.1142</c:v>
                </c:pt>
                <c:pt idx="4">
                  <c:v>6.8591</c:v>
                </c:pt>
                <c:pt idx="5">
                  <c:v>8.6285</c:v>
                </c:pt>
                <c:pt idx="6">
                  <c:v>17.1255</c:v>
                </c:pt>
                <c:pt idx="7">
                  <c:v>13.8617</c:v>
                </c:pt>
                <c:pt idx="8">
                  <c:v>28.6752</c:v>
                </c:pt>
                <c:pt idx="9">
                  <c:v>17.6414</c:v>
                </c:pt>
                <c:pt idx="10">
                  <c:v>34.3106</c:v>
                </c:pt>
                <c:pt idx="11">
                  <c:v>63.5653</c:v>
                </c:pt>
                <c:pt idx="12">
                  <c:v>18.1325</c:v>
                </c:pt>
                <c:pt idx="13">
                  <c:v>15.9261</c:v>
                </c:pt>
                <c:pt idx="14">
                  <c:v>14.6271</c:v>
                </c:pt>
                <c:pt idx="15">
                  <c:v>22.143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98</c:v>
                </c:pt>
                <c:pt idx="1">
                  <c:v>Av Price/Vol 12.00</c:v>
                </c:pt>
                <c:pt idx="2">
                  <c:v>Av Price/Vol 15.83</c:v>
                </c:pt>
                <c:pt idx="3">
                  <c:v>Av Price/Vol 14.13</c:v>
                </c:pt>
                <c:pt idx="4">
                  <c:v>Av Price/Vol 17.04</c:v>
                </c:pt>
                <c:pt idx="5">
                  <c:v>Av Price/Vol 23.15</c:v>
                </c:pt>
                <c:pt idx="6">
                  <c:v>Av Price/Vol 48.99</c:v>
                </c:pt>
                <c:pt idx="7">
                  <c:v>Av Price/Vol 24.48</c:v>
                </c:pt>
                <c:pt idx="8">
                  <c:v>Av Price/Vol 86.60</c:v>
                </c:pt>
                <c:pt idx="9">
                  <c:v>Av Price/Vol 53.78</c:v>
                </c:pt>
                <c:pt idx="10">
                  <c:v>Av Price/Vol 103.52</c:v>
                </c:pt>
                <c:pt idx="11">
                  <c:v>Av Price/Vol 208.25</c:v>
                </c:pt>
                <c:pt idx="12">
                  <c:v>Av Price/Vol 51.50</c:v>
                </c:pt>
                <c:pt idx="13">
                  <c:v>Av Price/Vol 44.71</c:v>
                </c:pt>
                <c:pt idx="14">
                  <c:v>Av Price/Vol 39.92</c:v>
                </c:pt>
                <c:pt idx="15">
                  <c:v>Av Price/Vol 64.63</c:v>
                </c:pt>
              </c:strCache>
            </c:strRef>
          </c:cat>
          <c:val>
            <c:numRef>
              <c:f>Sheet1!$C$2:$C$17</c:f>
              <c:numCache>
                <c:formatCode>General</c:formatCode>
                <c:ptCount val="16"/>
                <c:pt idx="0">
                  <c:v>5.9406</c:v>
                </c:pt>
                <c:pt idx="1">
                  <c:v>4.4378</c:v>
                </c:pt>
                <c:pt idx="2">
                  <c:v>6.2902</c:v>
                </c:pt>
                <c:pt idx="3">
                  <c:v>5.8537</c:v>
                </c:pt>
                <c:pt idx="4">
                  <c:v>6.5629</c:v>
                </c:pt>
                <c:pt idx="5">
                  <c:v>10.1699</c:v>
                </c:pt>
                <c:pt idx="6">
                  <c:v>22.8124</c:v>
                </c:pt>
                <c:pt idx="7">
                  <c:v>12.0295</c:v>
                </c:pt>
                <c:pt idx="8">
                  <c:v>42.1974</c:v>
                </c:pt>
                <c:pt idx="9">
                  <c:v>27.073</c:v>
                </c:pt>
                <c:pt idx="10">
                  <c:v>51.1354</c:v>
                </c:pt>
                <c:pt idx="11">
                  <c:v>105.2181</c:v>
                </c:pt>
                <c:pt idx="12">
                  <c:v>23.7228</c:v>
                </c:pt>
                <c:pt idx="13">
                  <c:v>21.358</c:v>
                </c:pt>
                <c:pt idx="14">
                  <c:v>18.8123</c:v>
                </c:pt>
                <c:pt idx="15">
                  <c:v>30.708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98</c:v>
                </c:pt>
                <c:pt idx="1">
                  <c:v>Av Price/Vol 12.00</c:v>
                </c:pt>
                <c:pt idx="2">
                  <c:v>Av Price/Vol 15.83</c:v>
                </c:pt>
                <c:pt idx="3">
                  <c:v>Av Price/Vol 14.13</c:v>
                </c:pt>
                <c:pt idx="4">
                  <c:v>Av Price/Vol 17.04</c:v>
                </c:pt>
                <c:pt idx="5">
                  <c:v>Av Price/Vol 23.15</c:v>
                </c:pt>
                <c:pt idx="6">
                  <c:v>Av Price/Vol 48.99</c:v>
                </c:pt>
                <c:pt idx="7">
                  <c:v>Av Price/Vol 24.48</c:v>
                </c:pt>
                <c:pt idx="8">
                  <c:v>Av Price/Vol 86.60</c:v>
                </c:pt>
                <c:pt idx="9">
                  <c:v>Av Price/Vol 53.78</c:v>
                </c:pt>
                <c:pt idx="10">
                  <c:v>Av Price/Vol 103.52</c:v>
                </c:pt>
                <c:pt idx="11">
                  <c:v>Av Price/Vol 208.25</c:v>
                </c:pt>
                <c:pt idx="12">
                  <c:v>Av Price/Vol 51.50</c:v>
                </c:pt>
                <c:pt idx="13">
                  <c:v>Av Price/Vol 44.71</c:v>
                </c:pt>
                <c:pt idx="14">
                  <c:v>Av Price/Vol 39.92</c:v>
                </c:pt>
                <c:pt idx="15">
                  <c:v>Av Price/Vol 64.63</c:v>
                </c:pt>
              </c:strCache>
            </c:strRef>
          </c:cat>
          <c:val>
            <c:numRef>
              <c:f>Sheet1!$D$2:$D$17</c:f>
              <c:numCache>
                <c:formatCode>General</c:formatCode>
                <c:ptCount val="16"/>
                <c:pt idx="0">
                  <c:v>0.2515</c:v>
                </c:pt>
                <c:pt idx="1">
                  <c:v>0.3715</c:v>
                </c:pt>
                <c:pt idx="2">
                  <c:v>0.3714</c:v>
                </c:pt>
                <c:pt idx="3">
                  <c:v>0.8073</c:v>
                </c:pt>
                <c:pt idx="4">
                  <c:v>0.7763</c:v>
                </c:pt>
                <c:pt idx="5">
                  <c:v>0.4958</c:v>
                </c:pt>
                <c:pt idx="6">
                  <c:v>0.6797</c:v>
                </c:pt>
                <c:pt idx="7">
                  <c:v>-3.0895</c:v>
                </c:pt>
                <c:pt idx="8">
                  <c:v>1.0525</c:v>
                </c:pt>
                <c:pt idx="9">
                  <c:v>0.0561</c:v>
                </c:pt>
                <c:pt idx="10">
                  <c:v>0.4916</c:v>
                </c:pt>
                <c:pt idx="11">
                  <c:v>2.1208</c:v>
                </c:pt>
                <c:pt idx="12">
                  <c:v>0.4719</c:v>
                </c:pt>
                <c:pt idx="13">
                  <c:v>-0.0699</c:v>
                </c:pt>
                <c:pt idx="14">
                  <c:v>-0.1776</c:v>
                </c:pt>
                <c:pt idx="15">
                  <c:v>0.972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98</c:v>
                </c:pt>
                <c:pt idx="1">
                  <c:v>Av Price/Vol 12.00</c:v>
                </c:pt>
                <c:pt idx="2">
                  <c:v>Av Price/Vol 15.83</c:v>
                </c:pt>
                <c:pt idx="3">
                  <c:v>Av Price/Vol 14.13</c:v>
                </c:pt>
                <c:pt idx="4">
                  <c:v>Av Price/Vol 17.04</c:v>
                </c:pt>
                <c:pt idx="5">
                  <c:v>Av Price/Vol 23.15</c:v>
                </c:pt>
                <c:pt idx="6">
                  <c:v>Av Price/Vol 48.99</c:v>
                </c:pt>
                <c:pt idx="7">
                  <c:v>Av Price/Vol 24.48</c:v>
                </c:pt>
                <c:pt idx="8">
                  <c:v>Av Price/Vol 86.60</c:v>
                </c:pt>
                <c:pt idx="9">
                  <c:v>Av Price/Vol 53.78</c:v>
                </c:pt>
                <c:pt idx="10">
                  <c:v>Av Price/Vol 103.52</c:v>
                </c:pt>
                <c:pt idx="11">
                  <c:v>Av Price/Vol 208.25</c:v>
                </c:pt>
                <c:pt idx="12">
                  <c:v>Av Price/Vol 51.50</c:v>
                </c:pt>
                <c:pt idx="13">
                  <c:v>Av Price/Vol 44.71</c:v>
                </c:pt>
                <c:pt idx="14">
                  <c:v>Av Price/Vol 39.92</c:v>
                </c:pt>
                <c:pt idx="15">
                  <c:v>Av Price/Vol 64.63</c:v>
                </c:pt>
              </c:strCache>
            </c:strRef>
          </c:cat>
          <c:val>
            <c:numRef>
              <c:f>Sheet1!$E$2:$E$17</c:f>
              <c:numCache>
                <c:formatCode>General</c:formatCode>
                <c:ptCount val="16"/>
                <c:pt idx="0">
                  <c:v>2.3065558633425676</c:v>
                </c:pt>
                <c:pt idx="1">
                  <c:v>2.000255061374145</c:v>
                </c:pt>
                <c:pt idx="2">
                  <c:v>2.646255890186441</c:v>
                </c:pt>
                <c:pt idx="3">
                  <c:v>2.3550446998722836</c:v>
                </c:pt>
                <c:pt idx="4">
                  <c:v>2.839675536559583</c:v>
                </c:pt>
                <c:pt idx="5">
                  <c:v>3.8588420328320048</c:v>
                </c:pt>
                <c:pt idx="6">
                  <c:v>8.165520403484638</c:v>
                </c:pt>
                <c:pt idx="7">
                  <c:v>4.560667393222273</c:v>
                </c:pt>
                <c:pt idx="8">
                  <c:v>14.413178205054134</c:v>
                </c:pt>
                <c:pt idx="9">
                  <c:v>8.958401050083838</c:v>
                </c:pt>
                <c:pt idx="10">
                  <c:v>17.208396714329247</c:v>
                </c:pt>
                <c:pt idx="11">
                  <c:v>34.324085491163146</c:v>
                </c:pt>
                <c:pt idx="12">
                  <c:v>8.481192387749038</c:v>
                </c:pt>
                <c:pt idx="13">
                  <c:v>7.443812347722151</c:v>
                </c:pt>
                <c:pt idx="14">
                  <c:v>6.652550741504868</c:v>
                </c:pt>
                <c:pt idx="15">
                  <c:v>10.77123069936421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46</c:v>
                </c:pt>
                <c:pt idx="1">
                  <c:v>Av Price/Vol 11.90</c:v>
                </c:pt>
                <c:pt idx="2">
                  <c:v>Av Price/Vol 15.48</c:v>
                </c:pt>
                <c:pt idx="3">
                  <c:v>Av Price/Vol 13.95</c:v>
                </c:pt>
                <c:pt idx="4">
                  <c:v>Av Price/Vol 17.42</c:v>
                </c:pt>
                <c:pt idx="5">
                  <c:v>Av Price/Vol 19.08</c:v>
                </c:pt>
                <c:pt idx="6">
                  <c:v>Av Price/Vol 49.47</c:v>
                </c:pt>
                <c:pt idx="7">
                  <c:v>Av Price/Vol 22.02</c:v>
                </c:pt>
                <c:pt idx="8">
                  <c:v>Av Price/Vol 70.82</c:v>
                </c:pt>
                <c:pt idx="9">
                  <c:v>Av Price/Vol 52.09</c:v>
                </c:pt>
                <c:pt idx="10">
                  <c:v>Av Price/Vol 96.24</c:v>
                </c:pt>
                <c:pt idx="11">
                  <c:v>Av Price/Vol 169.10</c:v>
                </c:pt>
                <c:pt idx="12">
                  <c:v>Av Price/Vol 48.70</c:v>
                </c:pt>
                <c:pt idx="13">
                  <c:v>Av Price/Vol 44.02</c:v>
                </c:pt>
                <c:pt idx="14">
                  <c:v>Av Price/Vol 40.06</c:v>
                </c:pt>
                <c:pt idx="15">
                  <c:v>Av Price/Vol 61.73</c:v>
                </c:pt>
              </c:strCache>
            </c:strRef>
          </c:cat>
          <c:val>
            <c:numRef>
              <c:f>Sheet1!$B$2:$B$17</c:f>
              <c:numCache>
                <c:formatCode>General</c:formatCode>
                <c:ptCount val="16"/>
                <c:pt idx="0">
                  <c:v>5.4379</c:v>
                </c:pt>
                <c:pt idx="1">
                  <c:v>5.1866</c:v>
                </c:pt>
                <c:pt idx="2">
                  <c:v>6.1319</c:v>
                </c:pt>
                <c:pt idx="3">
                  <c:v>5.0667</c:v>
                </c:pt>
                <c:pt idx="4">
                  <c:v>6.7318</c:v>
                </c:pt>
                <c:pt idx="5">
                  <c:v>6.5873</c:v>
                </c:pt>
                <c:pt idx="6">
                  <c:v>17.2074</c:v>
                </c:pt>
                <c:pt idx="7">
                  <c:v>12.1015</c:v>
                </c:pt>
                <c:pt idx="8">
                  <c:v>23.3746</c:v>
                </c:pt>
                <c:pt idx="9">
                  <c:v>17.0508</c:v>
                </c:pt>
                <c:pt idx="10">
                  <c:v>31.9889</c:v>
                </c:pt>
                <c:pt idx="11">
                  <c:v>51.2065</c:v>
                </c:pt>
                <c:pt idx="12">
                  <c:v>17.1963</c:v>
                </c:pt>
                <c:pt idx="13">
                  <c:v>15.7977</c:v>
                </c:pt>
                <c:pt idx="14">
                  <c:v>14.6083</c:v>
                </c:pt>
                <c:pt idx="15">
                  <c:v>21.202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46</c:v>
                </c:pt>
                <c:pt idx="1">
                  <c:v>Av Price/Vol 11.90</c:v>
                </c:pt>
                <c:pt idx="2">
                  <c:v>Av Price/Vol 15.48</c:v>
                </c:pt>
                <c:pt idx="3">
                  <c:v>Av Price/Vol 13.95</c:v>
                </c:pt>
                <c:pt idx="4">
                  <c:v>Av Price/Vol 17.42</c:v>
                </c:pt>
                <c:pt idx="5">
                  <c:v>Av Price/Vol 19.08</c:v>
                </c:pt>
                <c:pt idx="6">
                  <c:v>Av Price/Vol 49.47</c:v>
                </c:pt>
                <c:pt idx="7">
                  <c:v>Av Price/Vol 22.02</c:v>
                </c:pt>
                <c:pt idx="8">
                  <c:v>Av Price/Vol 70.82</c:v>
                </c:pt>
                <c:pt idx="9">
                  <c:v>Av Price/Vol 52.09</c:v>
                </c:pt>
                <c:pt idx="10">
                  <c:v>Av Price/Vol 96.24</c:v>
                </c:pt>
                <c:pt idx="11">
                  <c:v>Av Price/Vol 169.10</c:v>
                </c:pt>
                <c:pt idx="12">
                  <c:v>Av Price/Vol 48.70</c:v>
                </c:pt>
                <c:pt idx="13">
                  <c:v>Av Price/Vol 44.02</c:v>
                </c:pt>
                <c:pt idx="14">
                  <c:v>Av Price/Vol 40.06</c:v>
                </c:pt>
                <c:pt idx="15">
                  <c:v>Av Price/Vol 61.73</c:v>
                </c:pt>
              </c:strCache>
            </c:strRef>
          </c:cat>
          <c:val>
            <c:numRef>
              <c:f>Sheet1!$C$2:$C$17</c:f>
              <c:numCache>
                <c:formatCode>General</c:formatCode>
                <c:ptCount val="16"/>
                <c:pt idx="0">
                  <c:v>5.3833</c:v>
                </c:pt>
                <c:pt idx="1">
                  <c:v>4.3248</c:v>
                </c:pt>
                <c:pt idx="2">
                  <c:v>6.3834</c:v>
                </c:pt>
                <c:pt idx="3">
                  <c:v>5.8175</c:v>
                </c:pt>
                <c:pt idx="4">
                  <c:v>7.0907</c:v>
                </c:pt>
                <c:pt idx="5">
                  <c:v>9.0382</c:v>
                </c:pt>
                <c:pt idx="6">
                  <c:v>22.7845</c:v>
                </c:pt>
                <c:pt idx="7">
                  <c:v>11.0103</c:v>
                </c:pt>
                <c:pt idx="8">
                  <c:v>34.1245</c:v>
                </c:pt>
                <c:pt idx="9">
                  <c:v>26.1351</c:v>
                </c:pt>
                <c:pt idx="10">
                  <c:v>47.1595</c:v>
                </c:pt>
                <c:pt idx="11">
                  <c:v>83.2553</c:v>
                </c:pt>
                <c:pt idx="12">
                  <c:v>22.3794</c:v>
                </c:pt>
                <c:pt idx="13">
                  <c:v>20.7451</c:v>
                </c:pt>
                <c:pt idx="14">
                  <c:v>18.7909</c:v>
                </c:pt>
                <c:pt idx="15">
                  <c:v>28.9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46</c:v>
                </c:pt>
                <c:pt idx="1">
                  <c:v>Av Price/Vol 11.90</c:v>
                </c:pt>
                <c:pt idx="2">
                  <c:v>Av Price/Vol 15.48</c:v>
                </c:pt>
                <c:pt idx="3">
                  <c:v>Av Price/Vol 13.95</c:v>
                </c:pt>
                <c:pt idx="4">
                  <c:v>Av Price/Vol 17.42</c:v>
                </c:pt>
                <c:pt idx="5">
                  <c:v>Av Price/Vol 19.08</c:v>
                </c:pt>
                <c:pt idx="6">
                  <c:v>Av Price/Vol 49.47</c:v>
                </c:pt>
                <c:pt idx="7">
                  <c:v>Av Price/Vol 22.02</c:v>
                </c:pt>
                <c:pt idx="8">
                  <c:v>Av Price/Vol 70.82</c:v>
                </c:pt>
                <c:pt idx="9">
                  <c:v>Av Price/Vol 52.09</c:v>
                </c:pt>
                <c:pt idx="10">
                  <c:v>Av Price/Vol 96.24</c:v>
                </c:pt>
                <c:pt idx="11">
                  <c:v>Av Price/Vol 169.10</c:v>
                </c:pt>
                <c:pt idx="12">
                  <c:v>Av Price/Vol 48.70</c:v>
                </c:pt>
                <c:pt idx="13">
                  <c:v>Av Price/Vol 44.02</c:v>
                </c:pt>
                <c:pt idx="14">
                  <c:v>Av Price/Vol 40.06</c:v>
                </c:pt>
                <c:pt idx="15">
                  <c:v>Av Price/Vol 61.73</c:v>
                </c:pt>
              </c:strCache>
            </c:strRef>
          </c:cat>
          <c:val>
            <c:numRef>
              <c:f>Sheet1!$D$2:$D$17</c:f>
              <c:numCache>
                <c:formatCode>General</c:formatCode>
                <c:ptCount val="16"/>
                <c:pt idx="0">
                  <c:v>0.3216</c:v>
                </c:pt>
                <c:pt idx="1">
                  <c:v>0.4043</c:v>
                </c:pt>
                <c:pt idx="2">
                  <c:v>0.4179</c:v>
                </c:pt>
                <c:pt idx="3">
                  <c:v>0.7442</c:v>
                </c:pt>
                <c:pt idx="4">
                  <c:v>0.6671</c:v>
                </c:pt>
                <c:pt idx="5">
                  <c:v>0.3934</c:v>
                </c:pt>
                <c:pt idx="6">
                  <c:v>1.0684</c:v>
                </c:pt>
                <c:pt idx="7">
                  <c:v>-2.6095</c:v>
                </c:pt>
                <c:pt idx="8">
                  <c:v>1.4498</c:v>
                </c:pt>
                <c:pt idx="9">
                  <c:v>0.2247</c:v>
                </c:pt>
                <c:pt idx="10">
                  <c:v>0.9798</c:v>
                </c:pt>
                <c:pt idx="11">
                  <c:v>4.9231</c:v>
                </c:pt>
                <c:pt idx="12">
                  <c:v>0.7189</c:v>
                </c:pt>
                <c:pt idx="13">
                  <c:v>0.0955</c:v>
                </c:pt>
                <c:pt idx="14">
                  <c:v>-0.03</c:v>
                </c:pt>
                <c:pt idx="15">
                  <c:v>1.24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46</c:v>
                </c:pt>
                <c:pt idx="1">
                  <c:v>Av Price/Vol 11.90</c:v>
                </c:pt>
                <c:pt idx="2">
                  <c:v>Av Price/Vol 15.48</c:v>
                </c:pt>
                <c:pt idx="3">
                  <c:v>Av Price/Vol 13.95</c:v>
                </c:pt>
                <c:pt idx="4">
                  <c:v>Av Price/Vol 17.42</c:v>
                </c:pt>
                <c:pt idx="5">
                  <c:v>Av Price/Vol 19.08</c:v>
                </c:pt>
                <c:pt idx="6">
                  <c:v>Av Price/Vol 49.47</c:v>
                </c:pt>
                <c:pt idx="7">
                  <c:v>Av Price/Vol 22.02</c:v>
                </c:pt>
                <c:pt idx="8">
                  <c:v>Av Price/Vol 70.82</c:v>
                </c:pt>
                <c:pt idx="9">
                  <c:v>Av Price/Vol 52.09</c:v>
                </c:pt>
                <c:pt idx="10">
                  <c:v>Av Price/Vol 96.24</c:v>
                </c:pt>
                <c:pt idx="11">
                  <c:v>Av Price/Vol 169.10</c:v>
                </c:pt>
                <c:pt idx="12">
                  <c:v>Av Price/Vol 48.70</c:v>
                </c:pt>
                <c:pt idx="13">
                  <c:v>Av Price/Vol 44.02</c:v>
                </c:pt>
                <c:pt idx="14">
                  <c:v>Av Price/Vol 40.06</c:v>
                </c:pt>
                <c:pt idx="15">
                  <c:v>Av Price/Vol 61.73</c:v>
                </c:pt>
              </c:strCache>
            </c:strRef>
          </c:cat>
          <c:val>
            <c:numRef>
              <c:f>Sheet1!$E$2:$E$17</c:f>
              <c:numCache>
                <c:formatCode>General</c:formatCode>
                <c:ptCount val="16"/>
                <c:pt idx="0">
                  <c:v>2.2295104285792076</c:v>
                </c:pt>
                <c:pt idx="1">
                  <c:v>1.9831393793472425</c:v>
                </c:pt>
                <c:pt idx="2">
                  <c:v>2.5871147149020297</c:v>
                </c:pt>
                <c:pt idx="3">
                  <c:v>2.3256726457399064</c:v>
                </c:pt>
                <c:pt idx="4">
                  <c:v>2.8979495861550024</c:v>
                </c:pt>
                <c:pt idx="5">
                  <c:v>3.203789636504252</c:v>
                </c:pt>
                <c:pt idx="6">
                  <c:v>8.244523386619303</c:v>
                </c:pt>
                <c:pt idx="7">
                  <c:v>4.1004595907041255</c:v>
                </c:pt>
                <c:pt idx="8">
                  <c:v>11.801825614999656</c:v>
                </c:pt>
                <c:pt idx="9">
                  <c:v>8.683448637243961</c:v>
                </c:pt>
                <c:pt idx="10">
                  <c:v>16.04255445497515</c:v>
                </c:pt>
                <c:pt idx="11">
                  <c:v>28.081808227749118</c:v>
                </c:pt>
                <c:pt idx="12">
                  <c:v>8.074074074074074</c:v>
                </c:pt>
                <c:pt idx="13">
                  <c:v>7.328595994335424</c:v>
                </c:pt>
                <c:pt idx="14">
                  <c:v>6.673905317031557</c:v>
                </c:pt>
                <c:pt idx="15">
                  <c:v>10.28770685579196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38</c:v>
                </c:pt>
                <c:pt idx="1">
                  <c:v>Av Price/Vol 12.02</c:v>
                </c:pt>
                <c:pt idx="2">
                  <c:v>Av Price/Vol 15.58</c:v>
                </c:pt>
                <c:pt idx="3">
                  <c:v>Av Price/Vol 14.62</c:v>
                </c:pt>
                <c:pt idx="4">
                  <c:v>Av Price/Vol 16.94</c:v>
                </c:pt>
                <c:pt idx="5">
                  <c:v>Av Price/Vol 22.15</c:v>
                </c:pt>
                <c:pt idx="6">
                  <c:v>Av Price/Vol 46.45</c:v>
                </c:pt>
                <c:pt idx="7">
                  <c:v>Av Price/Vol 23.25</c:v>
                </c:pt>
                <c:pt idx="8">
                  <c:v>Av Price/Vol 71.44</c:v>
                </c:pt>
                <c:pt idx="9">
                  <c:v>Av Price/Vol 51.91</c:v>
                </c:pt>
                <c:pt idx="10">
                  <c:v>Av Price/Vol 95.07</c:v>
                </c:pt>
                <c:pt idx="11">
                  <c:v>Av Price/Vol 181.48</c:v>
                </c:pt>
                <c:pt idx="12">
                  <c:v>Av Price/Vol 48.15</c:v>
                </c:pt>
                <c:pt idx="13">
                  <c:v>Av Price/Vol 44.06</c:v>
                </c:pt>
                <c:pt idx="14">
                  <c:v>Av Price/Vol 39.95</c:v>
                </c:pt>
                <c:pt idx="15">
                  <c:v>Av Price/Vol 63.67</c:v>
                </c:pt>
              </c:strCache>
            </c:strRef>
          </c:cat>
          <c:val>
            <c:numRef>
              <c:f>Sheet1!$B$2:$B$17</c:f>
              <c:numCache>
                <c:formatCode>General</c:formatCode>
                <c:ptCount val="16"/>
                <c:pt idx="0">
                  <c:v>5.5028</c:v>
                </c:pt>
                <c:pt idx="1">
                  <c:v>5.2344</c:v>
                </c:pt>
                <c:pt idx="2">
                  <c:v>6.2354</c:v>
                </c:pt>
                <c:pt idx="3">
                  <c:v>5.3341</c:v>
                </c:pt>
                <c:pt idx="4">
                  <c:v>6.868</c:v>
                </c:pt>
                <c:pt idx="5">
                  <c:v>8.1412</c:v>
                </c:pt>
                <c:pt idx="6">
                  <c:v>16.3702</c:v>
                </c:pt>
                <c:pt idx="7">
                  <c:v>12.9521</c:v>
                </c:pt>
                <c:pt idx="8">
                  <c:v>23.6832</c:v>
                </c:pt>
                <c:pt idx="9">
                  <c:v>16.9604</c:v>
                </c:pt>
                <c:pt idx="10">
                  <c:v>31.6366</c:v>
                </c:pt>
                <c:pt idx="11">
                  <c:v>55.0874</c:v>
                </c:pt>
                <c:pt idx="12">
                  <c:v>17.0828</c:v>
                </c:pt>
                <c:pt idx="13">
                  <c:v>15.7312</c:v>
                </c:pt>
                <c:pt idx="14">
                  <c:v>14.6038</c:v>
                </c:pt>
                <c:pt idx="15">
                  <c:v>21.99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38</c:v>
                </c:pt>
                <c:pt idx="1">
                  <c:v>Av Price/Vol 12.02</c:v>
                </c:pt>
                <c:pt idx="2">
                  <c:v>Av Price/Vol 15.58</c:v>
                </c:pt>
                <c:pt idx="3">
                  <c:v>Av Price/Vol 14.62</c:v>
                </c:pt>
                <c:pt idx="4">
                  <c:v>Av Price/Vol 16.94</c:v>
                </c:pt>
                <c:pt idx="5">
                  <c:v>Av Price/Vol 22.15</c:v>
                </c:pt>
                <c:pt idx="6">
                  <c:v>Av Price/Vol 46.45</c:v>
                </c:pt>
                <c:pt idx="7">
                  <c:v>Av Price/Vol 23.25</c:v>
                </c:pt>
                <c:pt idx="8">
                  <c:v>Av Price/Vol 71.44</c:v>
                </c:pt>
                <c:pt idx="9">
                  <c:v>Av Price/Vol 51.91</c:v>
                </c:pt>
                <c:pt idx="10">
                  <c:v>Av Price/Vol 95.07</c:v>
                </c:pt>
                <c:pt idx="11">
                  <c:v>Av Price/Vol 181.48</c:v>
                </c:pt>
                <c:pt idx="12">
                  <c:v>Av Price/Vol 48.15</c:v>
                </c:pt>
                <c:pt idx="13">
                  <c:v>Av Price/Vol 44.06</c:v>
                </c:pt>
                <c:pt idx="14">
                  <c:v>Av Price/Vol 39.95</c:v>
                </c:pt>
                <c:pt idx="15">
                  <c:v>Av Price/Vol 63.67</c:v>
                </c:pt>
              </c:strCache>
            </c:strRef>
          </c:cat>
          <c:val>
            <c:numRef>
              <c:f>Sheet1!$C$2:$C$17</c:f>
              <c:numCache>
                <c:formatCode>General</c:formatCode>
                <c:ptCount val="16"/>
                <c:pt idx="0">
                  <c:v>5.2963</c:v>
                </c:pt>
                <c:pt idx="1">
                  <c:v>4.3862</c:v>
                </c:pt>
                <c:pt idx="2">
                  <c:v>6.3637</c:v>
                </c:pt>
                <c:pt idx="3">
                  <c:v>6.0238</c:v>
                </c:pt>
                <c:pt idx="4">
                  <c:v>6.5852</c:v>
                </c:pt>
                <c:pt idx="5">
                  <c:v>9.8391</c:v>
                </c:pt>
                <c:pt idx="6">
                  <c:v>21.4923</c:v>
                </c:pt>
                <c:pt idx="7">
                  <c:v>11.3278</c:v>
                </c:pt>
                <c:pt idx="8">
                  <c:v>34.5126</c:v>
                </c:pt>
                <c:pt idx="9">
                  <c:v>26.1327</c:v>
                </c:pt>
                <c:pt idx="10">
                  <c:v>46.9255</c:v>
                </c:pt>
                <c:pt idx="11">
                  <c:v>90.8323</c:v>
                </c:pt>
                <c:pt idx="12">
                  <c:v>22.1321</c:v>
                </c:pt>
                <c:pt idx="13">
                  <c:v>20.7514</c:v>
                </c:pt>
                <c:pt idx="14">
                  <c:v>18.8143</c:v>
                </c:pt>
                <c:pt idx="15">
                  <c:v>30.08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38</c:v>
                </c:pt>
                <c:pt idx="1">
                  <c:v>Av Price/Vol 12.02</c:v>
                </c:pt>
                <c:pt idx="2">
                  <c:v>Av Price/Vol 15.58</c:v>
                </c:pt>
                <c:pt idx="3">
                  <c:v>Av Price/Vol 14.62</c:v>
                </c:pt>
                <c:pt idx="4">
                  <c:v>Av Price/Vol 16.94</c:v>
                </c:pt>
                <c:pt idx="5">
                  <c:v>Av Price/Vol 22.15</c:v>
                </c:pt>
                <c:pt idx="6">
                  <c:v>Av Price/Vol 46.45</c:v>
                </c:pt>
                <c:pt idx="7">
                  <c:v>Av Price/Vol 23.25</c:v>
                </c:pt>
                <c:pt idx="8">
                  <c:v>Av Price/Vol 71.44</c:v>
                </c:pt>
                <c:pt idx="9">
                  <c:v>Av Price/Vol 51.91</c:v>
                </c:pt>
                <c:pt idx="10">
                  <c:v>Av Price/Vol 95.07</c:v>
                </c:pt>
                <c:pt idx="11">
                  <c:v>Av Price/Vol 181.48</c:v>
                </c:pt>
                <c:pt idx="12">
                  <c:v>Av Price/Vol 48.15</c:v>
                </c:pt>
                <c:pt idx="13">
                  <c:v>Av Price/Vol 44.06</c:v>
                </c:pt>
                <c:pt idx="14">
                  <c:v>Av Price/Vol 39.95</c:v>
                </c:pt>
                <c:pt idx="15">
                  <c:v>Av Price/Vol 63.67</c:v>
                </c:pt>
              </c:strCache>
            </c:strRef>
          </c:cat>
          <c:val>
            <c:numRef>
              <c:f>Sheet1!$D$2:$D$17</c:f>
              <c:numCache>
                <c:formatCode>General</c:formatCode>
                <c:ptCount val="16"/>
                <c:pt idx="0">
                  <c:v>0.3015</c:v>
                </c:pt>
                <c:pt idx="1">
                  <c:v>0.3921</c:v>
                </c:pt>
                <c:pt idx="2">
                  <c:v>0.4184</c:v>
                </c:pt>
                <c:pt idx="3">
                  <c:v>0.7511</c:v>
                </c:pt>
                <c:pt idx="4">
                  <c:v>0.6605</c:v>
                </c:pt>
                <c:pt idx="5">
                  <c:v>0.5123</c:v>
                </c:pt>
                <c:pt idx="6">
                  <c:v>0.8476</c:v>
                </c:pt>
                <c:pt idx="7">
                  <c:v>-2.7513</c:v>
                </c:pt>
                <c:pt idx="8">
                  <c:v>1.301</c:v>
                </c:pt>
                <c:pt idx="9">
                  <c:v>0.1509</c:v>
                </c:pt>
                <c:pt idx="10">
                  <c:v>0.726</c:v>
                </c:pt>
                <c:pt idx="11">
                  <c:v>3.9778</c:v>
                </c:pt>
                <c:pt idx="12">
                  <c:v>0.6026</c:v>
                </c:pt>
                <c:pt idx="13">
                  <c:v>0.2081</c:v>
                </c:pt>
                <c:pt idx="14">
                  <c:v>-0.1307</c:v>
                </c:pt>
                <c:pt idx="15">
                  <c:v>0.980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v Price/Vol 13.38</c:v>
                </c:pt>
                <c:pt idx="1">
                  <c:v>Av Price/Vol 12.02</c:v>
                </c:pt>
                <c:pt idx="2">
                  <c:v>Av Price/Vol 15.58</c:v>
                </c:pt>
                <c:pt idx="3">
                  <c:v>Av Price/Vol 14.62</c:v>
                </c:pt>
                <c:pt idx="4">
                  <c:v>Av Price/Vol 16.94</c:v>
                </c:pt>
                <c:pt idx="5">
                  <c:v>Av Price/Vol 22.15</c:v>
                </c:pt>
                <c:pt idx="6">
                  <c:v>Av Price/Vol 46.45</c:v>
                </c:pt>
                <c:pt idx="7">
                  <c:v>Av Price/Vol 23.25</c:v>
                </c:pt>
                <c:pt idx="8">
                  <c:v>Av Price/Vol 71.44</c:v>
                </c:pt>
                <c:pt idx="9">
                  <c:v>Av Price/Vol 51.91</c:v>
                </c:pt>
                <c:pt idx="10">
                  <c:v>Av Price/Vol 95.07</c:v>
                </c:pt>
                <c:pt idx="11">
                  <c:v>Av Price/Vol 181.48</c:v>
                </c:pt>
                <c:pt idx="12">
                  <c:v>Av Price/Vol 48.15</c:v>
                </c:pt>
                <c:pt idx="13">
                  <c:v>Av Price/Vol 44.06</c:v>
                </c:pt>
                <c:pt idx="14">
                  <c:v>Av Price/Vol 39.95</c:v>
                </c:pt>
                <c:pt idx="15">
                  <c:v>Av Price/Vol 63.67</c:v>
                </c:pt>
              </c:strCache>
            </c:strRef>
          </c:cat>
          <c:val>
            <c:numRef>
              <c:f>Sheet1!$E$2:$E$17</c:f>
              <c:numCache>
                <c:formatCode>General</c:formatCode>
                <c:ptCount val="16"/>
                <c:pt idx="0">
                  <c:v>2.2224822587951034</c:v>
                </c:pt>
                <c:pt idx="1">
                  <c:v>2.002565903724953</c:v>
                </c:pt>
                <c:pt idx="2">
                  <c:v>2.603889096418046</c:v>
                </c:pt>
                <c:pt idx="3">
                  <c:v>2.4229957805907167</c:v>
                </c:pt>
                <c:pt idx="4">
                  <c:v>2.8227461087527788</c:v>
                </c:pt>
                <c:pt idx="5">
                  <c:v>3.698519330956955</c:v>
                </c:pt>
                <c:pt idx="6">
                  <c:v>7.742026748971192</c:v>
                </c:pt>
                <c:pt idx="7">
                  <c:v>4.306860261157663</c:v>
                </c:pt>
                <c:pt idx="8">
                  <c:v>11.913264508055695</c:v>
                </c:pt>
                <c:pt idx="9">
                  <c:v>8.650859489921224</c:v>
                </c:pt>
                <c:pt idx="10">
                  <c:v>15.863411261236</c:v>
                </c:pt>
                <c:pt idx="11">
                  <c:v>30.095950383071894</c:v>
                </c:pt>
                <c:pt idx="12">
                  <c:v>7.986239414934559</c:v>
                </c:pt>
                <c:pt idx="13">
                  <c:v>7.338144710323864</c:v>
                </c:pt>
                <c:pt idx="14">
                  <c:v>6.657473995789303</c:v>
                </c:pt>
                <c:pt idx="15">
                  <c:v>10.61230714029421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93.48</c:v>
                </c:pt>
                <c:pt idx="2">
                  <c:v>Av Price/Unit 21.25</c:v>
                </c:pt>
                <c:pt idx="3">
                  <c:v>Av Price/Unit 45.96</c:v>
                </c:pt>
                <c:pt idx="4">
                  <c:v>Av Price/Unit 59.90</c:v>
                </c:pt>
                <c:pt idx="5">
                  <c:v>Av Price/Unit 98.35</c:v>
                </c:pt>
                <c:pt idx="6">
                  <c:v>Av Price/Unit 29.22</c:v>
                </c:pt>
                <c:pt idx="7">
                  <c:v>Av Price/Unit 29.84</c:v>
                </c:pt>
                <c:pt idx="8">
                  <c:v>Av Price/Unit 29.47</c:v>
                </c:pt>
                <c:pt idx="9">
                  <c:v>Av Price/Unit 30.38</c:v>
                </c:pt>
                <c:pt idx="10">
                  <c:v>Av Price/Unit 41.77</c:v>
                </c:pt>
                <c:pt idx="11">
                  <c:v>Av Price/Unit 29.52</c:v>
                </c:pt>
              </c:strCache>
            </c:strRef>
          </c:cat>
          <c:val>
            <c:numRef>
              <c:f>Sheet1!$B$2:$B$13</c:f>
              <c:numCache>
                <c:formatCode>General</c:formatCode>
                <c:ptCount val="12"/>
                <c:pt idx="0">
                  <c:v>18.173055143522113</c:v>
                </c:pt>
                <c:pt idx="1">
                  <c:v>29.846510463733654</c:v>
                </c:pt>
                <c:pt idx="2">
                  <c:v>3.6134988670970882</c:v>
                </c:pt>
                <c:pt idx="3">
                  <c:v>15.806317351298063</c:v>
                </c:pt>
                <c:pt idx="4">
                  <c:v>20.131353289473683</c:v>
                </c:pt>
                <c:pt idx="5">
                  <c:v>31.741321492007113</c:v>
                </c:pt>
                <c:pt idx="6">
                  <c:v>10.12196360770578</c:v>
                </c:pt>
                <c:pt idx="7">
                  <c:v>11.450670696557244</c:v>
                </c:pt>
                <c:pt idx="8">
                  <c:v>10.766153137410642</c:v>
                </c:pt>
                <c:pt idx="9">
                  <c:v>11.449227761688043</c:v>
                </c:pt>
                <c:pt idx="10">
                  <c:v>14.943870006863419</c:v>
                </c:pt>
                <c:pt idx="11">
                  <c:v>11.00984930898321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93.48</c:v>
                </c:pt>
                <c:pt idx="2">
                  <c:v>Av Price/Unit 21.25</c:v>
                </c:pt>
                <c:pt idx="3">
                  <c:v>Av Price/Unit 45.96</c:v>
                </c:pt>
                <c:pt idx="4">
                  <c:v>Av Price/Unit 59.90</c:v>
                </c:pt>
                <c:pt idx="5">
                  <c:v>Av Price/Unit 98.35</c:v>
                </c:pt>
                <c:pt idx="6">
                  <c:v>Av Price/Unit 29.22</c:v>
                </c:pt>
                <c:pt idx="7">
                  <c:v>Av Price/Unit 29.84</c:v>
                </c:pt>
                <c:pt idx="8">
                  <c:v>Av Price/Unit 29.47</c:v>
                </c:pt>
                <c:pt idx="9">
                  <c:v>Av Price/Unit 30.38</c:v>
                </c:pt>
                <c:pt idx="10">
                  <c:v>Av Price/Unit 41.77</c:v>
                </c:pt>
                <c:pt idx="11">
                  <c:v>Av Price/Unit 29.52</c:v>
                </c:pt>
              </c:strCache>
            </c:strRef>
          </c:cat>
          <c:val>
            <c:numRef>
              <c:f>Sheet1!$C$2:$C$13</c:f>
              <c:numCache>
                <c:formatCode>General</c:formatCode>
                <c:ptCount val="12"/>
                <c:pt idx="0">
                  <c:v>27.89839377812258</c:v>
                </c:pt>
                <c:pt idx="1">
                  <c:v>47.89374554102259</c:v>
                </c:pt>
                <c:pt idx="2">
                  <c:v>13.388868595444023</c:v>
                </c:pt>
                <c:pt idx="3">
                  <c:v>22.31655392704568</c:v>
                </c:pt>
                <c:pt idx="4">
                  <c:v>29.20798125</c:v>
                </c:pt>
                <c:pt idx="5">
                  <c:v>49.745495559502665</c:v>
                </c:pt>
                <c:pt idx="6">
                  <c:v>15.242434290718037</c:v>
                </c:pt>
                <c:pt idx="7">
                  <c:v>14.10447229783827</c:v>
                </c:pt>
                <c:pt idx="8">
                  <c:v>14.194727720413027</c:v>
                </c:pt>
                <c:pt idx="9">
                  <c:v>13.874155730244103</c:v>
                </c:pt>
                <c:pt idx="10">
                  <c:v>20.57936966369252</c:v>
                </c:pt>
                <c:pt idx="11">
                  <c:v>13.74073652517275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93.48</c:v>
                </c:pt>
                <c:pt idx="2">
                  <c:v>Av Price/Unit 21.25</c:v>
                </c:pt>
                <c:pt idx="3">
                  <c:v>Av Price/Unit 45.96</c:v>
                </c:pt>
                <c:pt idx="4">
                  <c:v>Av Price/Unit 59.90</c:v>
                </c:pt>
                <c:pt idx="5">
                  <c:v>Av Price/Unit 98.35</c:v>
                </c:pt>
                <c:pt idx="6">
                  <c:v>Av Price/Unit 29.22</c:v>
                </c:pt>
                <c:pt idx="7">
                  <c:v>Av Price/Unit 29.84</c:v>
                </c:pt>
                <c:pt idx="8">
                  <c:v>Av Price/Unit 29.47</c:v>
                </c:pt>
                <c:pt idx="9">
                  <c:v>Av Price/Unit 30.38</c:v>
                </c:pt>
                <c:pt idx="10">
                  <c:v>Av Price/Unit 41.77</c:v>
                </c:pt>
                <c:pt idx="11">
                  <c:v>Av Price/Unit 29.52</c:v>
                </c:pt>
              </c:strCache>
            </c:strRef>
          </c:cat>
          <c:val>
            <c:numRef>
              <c:f>Sheet1!$D$2:$D$13</c:f>
              <c:numCache>
                <c:formatCode>General</c:formatCode>
                <c:ptCount val="12"/>
                <c:pt idx="0">
                  <c:v>-1.088104670287045</c:v>
                </c:pt>
                <c:pt idx="1">
                  <c:v>0.15973078345886904</c:v>
                </c:pt>
                <c:pt idx="2">
                  <c:v>0.7075647257075524</c:v>
                </c:pt>
                <c:pt idx="3">
                  <c:v>0.17735471574103912</c:v>
                </c:pt>
                <c:pt idx="4">
                  <c:v>0.5760789943609126</c:v>
                </c:pt>
                <c:pt idx="5">
                  <c:v>0.4692220248667809</c:v>
                </c:pt>
                <c:pt idx="6">
                  <c:v>-1.012675773496781</c:v>
                </c:pt>
                <c:pt idx="7">
                  <c:v>-0.6915854817187075</c:v>
                </c:pt>
                <c:pt idx="8">
                  <c:v>-0.40663054011119826</c:v>
                </c:pt>
                <c:pt idx="9">
                  <c:v>-0.005151523927732882</c:v>
                </c:pt>
                <c:pt idx="10">
                  <c:v>-0.7148434225577702</c:v>
                </c:pt>
                <c:pt idx="11">
                  <c:v>-0.1520336788417182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93.48</c:v>
                </c:pt>
                <c:pt idx="2">
                  <c:v>Av Price/Unit 21.25</c:v>
                </c:pt>
                <c:pt idx="3">
                  <c:v>Av Price/Unit 45.96</c:v>
                </c:pt>
                <c:pt idx="4">
                  <c:v>Av Price/Unit 59.90</c:v>
                </c:pt>
                <c:pt idx="5">
                  <c:v>Av Price/Unit 98.35</c:v>
                </c:pt>
                <c:pt idx="6">
                  <c:v>Av Price/Unit 29.22</c:v>
                </c:pt>
                <c:pt idx="7">
                  <c:v>Av Price/Unit 29.84</c:v>
                </c:pt>
                <c:pt idx="8">
                  <c:v>Av Price/Unit 29.47</c:v>
                </c:pt>
                <c:pt idx="9">
                  <c:v>Av Price/Unit 30.38</c:v>
                </c:pt>
                <c:pt idx="10">
                  <c:v>Av Price/Unit 41.77</c:v>
                </c:pt>
                <c:pt idx="11">
                  <c:v>Av Price/Unit 29.52</c:v>
                </c:pt>
              </c:strCache>
            </c:strRef>
          </c:cat>
          <c:val>
            <c:numRef>
              <c:f>Sheet1!$E$2:$E$13</c:f>
              <c:numCache>
                <c:formatCode>General</c:formatCode>
                <c:ptCount val="12"/>
                <c:pt idx="0">
                  <c:v>8.9966640806827</c:v>
                </c:pt>
                <c:pt idx="1">
                  <c:v>15.579997357643009</c:v>
                </c:pt>
                <c:pt idx="2">
                  <c:v>3.5419864376497365</c:v>
                </c:pt>
                <c:pt idx="3">
                  <c:v>7.660039434768321</c:v>
                </c:pt>
                <c:pt idx="4">
                  <c:v>9.983082706766917</c:v>
                </c:pt>
                <c:pt idx="5">
                  <c:v>16.391207815275298</c:v>
                </c:pt>
                <c:pt idx="6">
                  <c:v>4.870344424985399</c:v>
                </c:pt>
                <c:pt idx="7">
                  <c:v>4.972711502535359</c:v>
                </c:pt>
                <c:pt idx="8">
                  <c:v>4.910841938046068</c:v>
                </c:pt>
                <c:pt idx="9">
                  <c:v>5.063646393600884</c:v>
                </c:pt>
                <c:pt idx="10">
                  <c:v>6.961679249599633</c:v>
                </c:pt>
                <c:pt idx="11">
                  <c:v>4.91971043106284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54.26</c:v>
                </c:pt>
                <c:pt idx="2">
                  <c:v>Av Price/Unit 46.07</c:v>
                </c:pt>
                <c:pt idx="3">
                  <c:v>Av Price/Unit 21.33</c:v>
                </c:pt>
                <c:pt idx="4">
                  <c:v>Av Price/Unit 41.92</c:v>
                </c:pt>
                <c:pt idx="5">
                  <c:v>Av Price/Unit 29.46</c:v>
                </c:pt>
                <c:pt idx="6">
                  <c:v>Av Price/Unit 30.55</c:v>
                </c:pt>
                <c:pt idx="7">
                  <c:v>Av Price/Unit 98.14</c:v>
                </c:pt>
                <c:pt idx="8">
                  <c:v>Av Price/Unit 37.26</c:v>
                </c:pt>
                <c:pt idx="9">
                  <c:v>Av Price/Unit 29.91</c:v>
                </c:pt>
                <c:pt idx="10">
                  <c:v>Av Price/Unit 57.52</c:v>
                </c:pt>
                <c:pt idx="11">
                  <c:v>Av Price/Unit 60.46</c:v>
                </c:pt>
              </c:strCache>
            </c:strRef>
          </c:cat>
          <c:val>
            <c:numRef>
              <c:f>Sheet1!$B$2:$B$13</c:f>
              <c:numCache>
                <c:formatCode>General</c:formatCode>
                <c:ptCount val="12"/>
                <c:pt idx="0">
                  <c:v>29.951883288312622</c:v>
                </c:pt>
                <c:pt idx="1">
                  <c:v>18.185763407214257</c:v>
                </c:pt>
                <c:pt idx="2">
                  <c:v>15.853434293948126</c:v>
                </c:pt>
                <c:pt idx="3">
                  <c:v>3.5979885625966</c:v>
                </c:pt>
                <c:pt idx="4">
                  <c:v>14.506429684975767</c:v>
                </c:pt>
                <c:pt idx="5">
                  <c:v>10.093124851419766</c:v>
                </c:pt>
                <c:pt idx="6">
                  <c:v>11.309679907264297</c:v>
                </c:pt>
                <c:pt idx="7">
                  <c:v>31.53569957142857</c:v>
                </c:pt>
                <c:pt idx="8">
                  <c:v>12.770112376779847</c:v>
                </c:pt>
                <c:pt idx="9">
                  <c:v>10.704660296096902</c:v>
                </c:pt>
                <c:pt idx="10">
                  <c:v>19.508916358839052</c:v>
                </c:pt>
                <c:pt idx="11">
                  <c:v>20.1550974041297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54.26</c:v>
                </c:pt>
                <c:pt idx="2">
                  <c:v>Av Price/Unit 46.07</c:v>
                </c:pt>
                <c:pt idx="3">
                  <c:v>Av Price/Unit 21.33</c:v>
                </c:pt>
                <c:pt idx="4">
                  <c:v>Av Price/Unit 41.92</c:v>
                </c:pt>
                <c:pt idx="5">
                  <c:v>Av Price/Unit 29.46</c:v>
                </c:pt>
                <c:pt idx="6">
                  <c:v>Av Price/Unit 30.55</c:v>
                </c:pt>
                <c:pt idx="7">
                  <c:v>Av Price/Unit 98.14</c:v>
                </c:pt>
                <c:pt idx="8">
                  <c:v>Av Price/Unit 37.26</c:v>
                </c:pt>
                <c:pt idx="9">
                  <c:v>Av Price/Unit 29.91</c:v>
                </c:pt>
                <c:pt idx="10">
                  <c:v>Av Price/Unit 57.52</c:v>
                </c:pt>
                <c:pt idx="11">
                  <c:v>Av Price/Unit 60.46</c:v>
                </c:pt>
              </c:strCache>
            </c:strRef>
          </c:cat>
          <c:val>
            <c:numRef>
              <c:f>Sheet1!$C$2:$C$13</c:f>
              <c:numCache>
                <c:formatCode>General</c:formatCode>
                <c:ptCount val="12"/>
                <c:pt idx="0">
                  <c:v>47.84206861156132</c:v>
                </c:pt>
                <c:pt idx="1">
                  <c:v>27.858919382877012</c:v>
                </c:pt>
                <c:pt idx="2">
                  <c:v>22.31404726224784</c:v>
                </c:pt>
                <c:pt idx="3">
                  <c:v>13.413333075734156</c:v>
                </c:pt>
                <c:pt idx="4">
                  <c:v>20.562884046849756</c:v>
                </c:pt>
                <c:pt idx="5">
                  <c:v>15.276373101474794</c:v>
                </c:pt>
                <c:pt idx="6">
                  <c:v>13.901641973945685</c:v>
                </c:pt>
                <c:pt idx="7">
                  <c:v>49.832152857142866</c:v>
                </c:pt>
                <c:pt idx="8">
                  <c:v>18.348776807228916</c:v>
                </c:pt>
                <c:pt idx="9">
                  <c:v>14.230059219380886</c:v>
                </c:pt>
                <c:pt idx="10">
                  <c:v>27.61438179419525</c:v>
                </c:pt>
                <c:pt idx="11">
                  <c:v>29.21421545722713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54.26</c:v>
                </c:pt>
                <c:pt idx="2">
                  <c:v>Av Price/Unit 46.07</c:v>
                </c:pt>
                <c:pt idx="3">
                  <c:v>Av Price/Unit 21.33</c:v>
                </c:pt>
                <c:pt idx="4">
                  <c:v>Av Price/Unit 41.92</c:v>
                </c:pt>
                <c:pt idx="5">
                  <c:v>Av Price/Unit 29.46</c:v>
                </c:pt>
                <c:pt idx="6">
                  <c:v>Av Price/Unit 30.55</c:v>
                </c:pt>
                <c:pt idx="7">
                  <c:v>Av Price/Unit 98.14</c:v>
                </c:pt>
                <c:pt idx="8">
                  <c:v>Av Price/Unit 37.26</c:v>
                </c:pt>
                <c:pt idx="9">
                  <c:v>Av Price/Unit 29.91</c:v>
                </c:pt>
                <c:pt idx="10">
                  <c:v>Av Price/Unit 57.52</c:v>
                </c:pt>
                <c:pt idx="11">
                  <c:v>Av Price/Unit 60.46</c:v>
                </c:pt>
              </c:strCache>
            </c:strRef>
          </c:cat>
          <c:val>
            <c:numRef>
              <c:f>Sheet1!$D$2:$D$13</c:f>
              <c:numCache>
                <c:formatCode>General</c:formatCode>
                <c:ptCount val="12"/>
                <c:pt idx="0">
                  <c:v>-0.04483730716124512</c:v>
                </c:pt>
                <c:pt idx="1">
                  <c:v>-0.8273590612777042</c:v>
                </c:pt>
                <c:pt idx="2">
                  <c:v>0.22752840217739134</c:v>
                </c:pt>
                <c:pt idx="3">
                  <c:v>0.7653112542217677</c:v>
                </c:pt>
                <c:pt idx="4">
                  <c:v>-0.1362900376952041</c:v>
                </c:pt>
                <c:pt idx="5">
                  <c:v>-0.8223925159586152</c:v>
                </c:pt>
                <c:pt idx="6">
                  <c:v>0.24757265032751974</c:v>
                </c:pt>
                <c:pt idx="7">
                  <c:v>0.4172666190476235</c:v>
                </c:pt>
                <c:pt idx="8">
                  <c:v>-0.07174606608250045</c:v>
                </c:pt>
                <c:pt idx="9">
                  <c:v>-0.006263249588755571</c:v>
                </c:pt>
                <c:pt idx="10">
                  <c:v>0.8120445910290286</c:v>
                </c:pt>
                <c:pt idx="11">
                  <c:v>1.015151248770898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54.26</c:v>
                </c:pt>
                <c:pt idx="2">
                  <c:v>Av Price/Unit 46.07</c:v>
                </c:pt>
                <c:pt idx="3">
                  <c:v>Av Price/Unit 21.33</c:v>
                </c:pt>
                <c:pt idx="4">
                  <c:v>Av Price/Unit 41.92</c:v>
                </c:pt>
                <c:pt idx="5">
                  <c:v>Av Price/Unit 29.46</c:v>
                </c:pt>
                <c:pt idx="6">
                  <c:v>Av Price/Unit 30.55</c:v>
                </c:pt>
                <c:pt idx="7">
                  <c:v>Av Price/Unit 98.14</c:v>
                </c:pt>
                <c:pt idx="8">
                  <c:v>Av Price/Unit 37.26</c:v>
                </c:pt>
                <c:pt idx="9">
                  <c:v>Av Price/Unit 29.91</c:v>
                </c:pt>
                <c:pt idx="10">
                  <c:v>Av Price/Unit 57.52</c:v>
                </c:pt>
                <c:pt idx="11">
                  <c:v>Av Price/Unit 60.46</c:v>
                </c:pt>
              </c:strCache>
            </c:strRef>
          </c:cat>
          <c:val>
            <c:numRef>
              <c:f>Sheet1!$E$2:$E$13</c:f>
              <c:numCache>
                <c:formatCode>General</c:formatCode>
                <c:ptCount val="12"/>
                <c:pt idx="0">
                  <c:v>15.549822918542512</c:v>
                </c:pt>
                <c:pt idx="1">
                  <c:v>9.043459365493264</c:v>
                </c:pt>
                <c:pt idx="2">
                  <c:v>7.67899455651617</c:v>
                </c:pt>
                <c:pt idx="3">
                  <c:v>3.5553265785105026</c:v>
                </c:pt>
                <c:pt idx="4">
                  <c:v>6.9866047388260615</c:v>
                </c:pt>
                <c:pt idx="5">
                  <c:v>4.909421087387189</c:v>
                </c:pt>
                <c:pt idx="6">
                  <c:v>5.091778906307501</c:v>
                </c:pt>
                <c:pt idx="7">
                  <c:v>16.357023809523806</c:v>
                </c:pt>
                <c:pt idx="8">
                  <c:v>6.209428623585245</c:v>
                </c:pt>
                <c:pt idx="9">
                  <c:v>4.9856811724241075</c:v>
                </c:pt>
                <c:pt idx="10">
                  <c:v>9.58707124010554</c:v>
                </c:pt>
                <c:pt idx="11">
                  <c:v>10.07689282202556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93.53</c:v>
                </c:pt>
                <c:pt idx="3">
                  <c:v>Av Price/Unit 45.89</c:v>
                </c:pt>
                <c:pt idx="4">
                  <c:v>Av Price/Unit 29.33</c:v>
                </c:pt>
                <c:pt idx="5">
                  <c:v>Av Price/Unit 41.97</c:v>
                </c:pt>
                <c:pt idx="6">
                  <c:v>Av Price/Unit 59.86</c:v>
                </c:pt>
                <c:pt idx="7">
                  <c:v>Av Price/Unit 97.95</c:v>
                </c:pt>
                <c:pt idx="8">
                  <c:v>Av Price/Unit 30.18</c:v>
                </c:pt>
                <c:pt idx="9">
                  <c:v>Av Price/Unit 29.36</c:v>
                </c:pt>
                <c:pt idx="10">
                  <c:v>Av Price/Unit 37.38</c:v>
                </c:pt>
                <c:pt idx="11">
                  <c:v>Av Price/Unit 45.54</c:v>
                </c:pt>
              </c:strCache>
            </c:strRef>
          </c:cat>
          <c:val>
            <c:numRef>
              <c:f>Sheet1!$B$2:$B$13</c:f>
              <c:numCache>
                <c:formatCode>General</c:formatCode>
                <c:ptCount val="12"/>
                <c:pt idx="0">
                  <c:v>18.173772398809042</c:v>
                </c:pt>
                <c:pt idx="1">
                  <c:v>3.616107404499053</c:v>
                </c:pt>
                <c:pt idx="2">
                  <c:v>30.08951263447013</c:v>
                </c:pt>
                <c:pt idx="3">
                  <c:v>15.797059640928332</c:v>
                </c:pt>
                <c:pt idx="4">
                  <c:v>10.166313997036239</c:v>
                </c:pt>
                <c:pt idx="5">
                  <c:v>14.839611304347825</c:v>
                </c:pt>
                <c:pt idx="6">
                  <c:v>20.14546042848141</c:v>
                </c:pt>
                <c:pt idx="7">
                  <c:v>31.696168976719008</c:v>
                </c:pt>
                <c:pt idx="8">
                  <c:v>11.4451852336048</c:v>
                </c:pt>
                <c:pt idx="9">
                  <c:v>10.749768686868688</c:v>
                </c:pt>
                <c:pt idx="10">
                  <c:v>12.803870080695217</c:v>
                </c:pt>
                <c:pt idx="11">
                  <c:v>15.0843383642828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93.53</c:v>
                </c:pt>
                <c:pt idx="3">
                  <c:v>Av Price/Unit 45.89</c:v>
                </c:pt>
                <c:pt idx="4">
                  <c:v>Av Price/Unit 29.33</c:v>
                </c:pt>
                <c:pt idx="5">
                  <c:v>Av Price/Unit 41.97</c:v>
                </c:pt>
                <c:pt idx="6">
                  <c:v>Av Price/Unit 59.86</c:v>
                </c:pt>
                <c:pt idx="7">
                  <c:v>Av Price/Unit 97.95</c:v>
                </c:pt>
                <c:pt idx="8">
                  <c:v>Av Price/Unit 30.18</c:v>
                </c:pt>
                <c:pt idx="9">
                  <c:v>Av Price/Unit 29.36</c:v>
                </c:pt>
                <c:pt idx="10">
                  <c:v>Av Price/Unit 37.38</c:v>
                </c:pt>
                <c:pt idx="11">
                  <c:v>Av Price/Unit 45.54</c:v>
                </c:pt>
              </c:strCache>
            </c:strRef>
          </c:cat>
          <c:val>
            <c:numRef>
              <c:f>Sheet1!$C$2:$C$13</c:f>
              <c:numCache>
                <c:formatCode>General</c:formatCode>
                <c:ptCount val="12"/>
                <c:pt idx="0">
                  <c:v>27.896165840508573</c:v>
                </c:pt>
                <c:pt idx="1">
                  <c:v>13.384754136449722</c:v>
                </c:pt>
                <c:pt idx="2">
                  <c:v>47.77457244220645</c:v>
                </c:pt>
                <c:pt idx="3">
                  <c:v>22.31704644577434</c:v>
                </c:pt>
                <c:pt idx="4">
                  <c:v>15.19024065741614</c:v>
                </c:pt>
                <c:pt idx="5">
                  <c:v>20.575440512820514</c:v>
                </c:pt>
                <c:pt idx="6">
                  <c:v>29.211685192186522</c:v>
                </c:pt>
                <c:pt idx="7">
                  <c:v>49.764524634542504</c:v>
                </c:pt>
                <c:pt idx="8">
                  <c:v>14.098683154736392</c:v>
                </c:pt>
                <c:pt idx="9">
                  <c:v>14.204141616161616</c:v>
                </c:pt>
                <c:pt idx="10">
                  <c:v>18.337667411545624</c:v>
                </c:pt>
                <c:pt idx="11">
                  <c:v>22.3264965626234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93.53</c:v>
                </c:pt>
                <c:pt idx="3">
                  <c:v>Av Price/Unit 45.89</c:v>
                </c:pt>
                <c:pt idx="4">
                  <c:v>Av Price/Unit 29.33</c:v>
                </c:pt>
                <c:pt idx="5">
                  <c:v>Av Price/Unit 41.97</c:v>
                </c:pt>
                <c:pt idx="6">
                  <c:v>Av Price/Unit 59.86</c:v>
                </c:pt>
                <c:pt idx="7">
                  <c:v>Av Price/Unit 97.95</c:v>
                </c:pt>
                <c:pt idx="8">
                  <c:v>Av Price/Unit 30.18</c:v>
                </c:pt>
                <c:pt idx="9">
                  <c:v>Av Price/Unit 29.36</c:v>
                </c:pt>
                <c:pt idx="10">
                  <c:v>Av Price/Unit 37.38</c:v>
                </c:pt>
                <c:pt idx="11">
                  <c:v>Av Price/Unit 45.54</c:v>
                </c:pt>
              </c:strCache>
            </c:strRef>
          </c:cat>
          <c:val>
            <c:numRef>
              <c:f>Sheet1!$D$2:$D$13</c:f>
              <c:numCache>
                <c:formatCode>General</c:formatCode>
                <c:ptCount val="12"/>
                <c:pt idx="0">
                  <c:v>-0.9278177087524497</c:v>
                </c:pt>
                <c:pt idx="1">
                  <c:v>0.6760519423529914</c:v>
                </c:pt>
                <c:pt idx="2">
                  <c:v>0.07804508278020705</c:v>
                </c:pt>
                <c:pt idx="3">
                  <c:v>0.12352630759500016</c:v>
                </c:pt>
                <c:pt idx="4">
                  <c:v>-0.9127089496609635</c:v>
                </c:pt>
                <c:pt idx="5">
                  <c:v>-0.4369767521367507</c:v>
                </c:pt>
                <c:pt idx="6">
                  <c:v>0.5265447805083099</c:v>
                </c:pt>
                <c:pt idx="7">
                  <c:v>0.16175720988991316</c:v>
                </c:pt>
                <c:pt idx="8">
                  <c:v>-0.3915251964566373</c:v>
                </c:pt>
                <c:pt idx="9">
                  <c:v>-0.48978177328843486</c:v>
                </c:pt>
                <c:pt idx="10">
                  <c:v>0.005007097041172415</c:v>
                </c:pt>
                <c:pt idx="11">
                  <c:v>0.536287422626109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93.53</c:v>
                </c:pt>
                <c:pt idx="3">
                  <c:v>Av Price/Unit 45.89</c:v>
                </c:pt>
                <c:pt idx="4">
                  <c:v>Av Price/Unit 29.33</c:v>
                </c:pt>
                <c:pt idx="5">
                  <c:v>Av Price/Unit 41.97</c:v>
                </c:pt>
                <c:pt idx="6">
                  <c:v>Av Price/Unit 59.86</c:v>
                </c:pt>
                <c:pt idx="7">
                  <c:v>Av Price/Unit 97.95</c:v>
                </c:pt>
                <c:pt idx="8">
                  <c:v>Av Price/Unit 30.18</c:v>
                </c:pt>
                <c:pt idx="9">
                  <c:v>Av Price/Unit 29.36</c:v>
                </c:pt>
                <c:pt idx="10">
                  <c:v>Av Price/Unit 37.38</c:v>
                </c:pt>
                <c:pt idx="11">
                  <c:v>Av Price/Unit 45.54</c:v>
                </c:pt>
              </c:strCache>
            </c:strRef>
          </c:cat>
          <c:val>
            <c:numRef>
              <c:f>Sheet1!$E$2:$E$13</c:f>
              <c:numCache>
                <c:formatCode>General</c:formatCode>
                <c:ptCount val="12"/>
                <c:pt idx="0">
                  <c:v>9.028419302057346</c:v>
                </c:pt>
                <c:pt idx="1">
                  <c:v>3.5353826966603537</c:v>
                </c:pt>
                <c:pt idx="2">
                  <c:v>15.588426031891352</c:v>
                </c:pt>
                <c:pt idx="3">
                  <c:v>7.647521043156716</c:v>
                </c:pt>
                <c:pt idx="4">
                  <c:v>4.8887691409582805</c:v>
                </c:pt>
                <c:pt idx="5">
                  <c:v>6.995615013006313</c:v>
                </c:pt>
                <c:pt idx="6">
                  <c:v>9.976738080235233</c:v>
                </c:pt>
                <c:pt idx="7">
                  <c:v>16.324490164230287</c:v>
                </c:pt>
                <c:pt idx="8">
                  <c:v>5.030468638376909</c:v>
                </c:pt>
                <c:pt idx="9">
                  <c:v>4.892817059483723</c:v>
                </c:pt>
                <c:pt idx="10">
                  <c:v>6.229308917856402</c:v>
                </c:pt>
                <c:pt idx="11">
                  <c:v>7.589424469906485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93.31</c:v>
                </c:pt>
                <c:pt idx="4">
                  <c:v>Av Price/Unit 29.67</c:v>
                </c:pt>
                <c:pt idx="5">
                  <c:v>Av Price/Unit 42.06</c:v>
                </c:pt>
                <c:pt idx="6">
                  <c:v>Av Price/Unit 29.28</c:v>
                </c:pt>
                <c:pt idx="7">
                  <c:v>Av Price/Unit 37.08</c:v>
                </c:pt>
                <c:pt idx="8">
                  <c:v>Av Price/Unit 30.45</c:v>
                </c:pt>
                <c:pt idx="9">
                  <c:v>Av Price/Unit 30.11</c:v>
                </c:pt>
                <c:pt idx="10">
                  <c:v>Av Price/Unit 97.82</c:v>
                </c:pt>
                <c:pt idx="11">
                  <c:v>Av Price/Unit 29.03</c:v>
                </c:pt>
              </c:strCache>
            </c:strRef>
          </c:cat>
          <c:val>
            <c:numRef>
              <c:f>Sheet1!$B$2:$B$13</c:f>
              <c:numCache>
                <c:formatCode>General</c:formatCode>
                <c:ptCount val="12"/>
                <c:pt idx="0">
                  <c:v>18.18837454161782</c:v>
                </c:pt>
                <c:pt idx="1">
                  <c:v>3.599331757082627</c:v>
                </c:pt>
                <c:pt idx="2">
                  <c:v>15.8515001647281</c:v>
                </c:pt>
                <c:pt idx="3">
                  <c:v>30.0497307821699</c:v>
                </c:pt>
                <c:pt idx="4">
                  <c:v>10.710384155656689</c:v>
                </c:pt>
                <c:pt idx="5">
                  <c:v>14.590902845376265</c:v>
                </c:pt>
                <c:pt idx="6">
                  <c:v>10.060380946364267</c:v>
                </c:pt>
                <c:pt idx="7">
                  <c:v>12.780227392838828</c:v>
                </c:pt>
                <c:pt idx="8">
                  <c:v>11.29904943817197</c:v>
                </c:pt>
                <c:pt idx="9">
                  <c:v>11.443117352563188</c:v>
                </c:pt>
                <c:pt idx="10">
                  <c:v>31.632711498565445</c:v>
                </c:pt>
                <c:pt idx="11">
                  <c:v>11.12351191860465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93.31</c:v>
                </c:pt>
                <c:pt idx="4">
                  <c:v>Av Price/Unit 29.67</c:v>
                </c:pt>
                <c:pt idx="5">
                  <c:v>Av Price/Unit 42.06</c:v>
                </c:pt>
                <c:pt idx="6">
                  <c:v>Av Price/Unit 29.28</c:v>
                </c:pt>
                <c:pt idx="7">
                  <c:v>Av Price/Unit 37.08</c:v>
                </c:pt>
                <c:pt idx="8">
                  <c:v>Av Price/Unit 30.45</c:v>
                </c:pt>
                <c:pt idx="9">
                  <c:v>Av Price/Unit 30.11</c:v>
                </c:pt>
                <c:pt idx="10">
                  <c:v>Av Price/Unit 97.82</c:v>
                </c:pt>
                <c:pt idx="11">
                  <c:v>Av Price/Unit 29.03</c:v>
                </c:pt>
              </c:strCache>
            </c:strRef>
          </c:cat>
          <c:val>
            <c:numRef>
              <c:f>Sheet1!$C$2:$C$13</c:f>
              <c:numCache>
                <c:formatCode>General</c:formatCode>
                <c:ptCount val="12"/>
                <c:pt idx="0">
                  <c:v>27.850808679953104</c:v>
                </c:pt>
                <c:pt idx="1">
                  <c:v>13.411214448403008</c:v>
                </c:pt>
                <c:pt idx="2">
                  <c:v>22.314150159705903</c:v>
                </c:pt>
                <c:pt idx="3">
                  <c:v>47.794082253994965</c:v>
                </c:pt>
                <c:pt idx="4">
                  <c:v>14.226770502616331</c:v>
                </c:pt>
                <c:pt idx="5">
                  <c:v>20.566067548886902</c:v>
                </c:pt>
                <c:pt idx="6">
                  <c:v>15.31490767578495</c:v>
                </c:pt>
                <c:pt idx="7">
                  <c:v>18.34544803475008</c:v>
                </c:pt>
                <c:pt idx="8">
                  <c:v>13.90373581956832</c:v>
                </c:pt>
                <c:pt idx="9">
                  <c:v>14.096500793945452</c:v>
                </c:pt>
                <c:pt idx="10">
                  <c:v>49.79126815272567</c:v>
                </c:pt>
                <c:pt idx="11">
                  <c:v>13.88689186046511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93.31</c:v>
                </c:pt>
                <c:pt idx="4">
                  <c:v>Av Price/Unit 29.67</c:v>
                </c:pt>
                <c:pt idx="5">
                  <c:v>Av Price/Unit 42.06</c:v>
                </c:pt>
                <c:pt idx="6">
                  <c:v>Av Price/Unit 29.28</c:v>
                </c:pt>
                <c:pt idx="7">
                  <c:v>Av Price/Unit 37.08</c:v>
                </c:pt>
                <c:pt idx="8">
                  <c:v>Av Price/Unit 30.45</c:v>
                </c:pt>
                <c:pt idx="9">
                  <c:v>Av Price/Unit 30.11</c:v>
                </c:pt>
                <c:pt idx="10">
                  <c:v>Av Price/Unit 97.82</c:v>
                </c:pt>
                <c:pt idx="11">
                  <c:v>Av Price/Unit 29.03</c:v>
                </c:pt>
              </c:strCache>
            </c:strRef>
          </c:cat>
          <c:val>
            <c:numRef>
              <c:f>Sheet1!$D$2:$D$13</c:f>
              <c:numCache>
                <c:formatCode>General</c:formatCode>
                <c:ptCount val="12"/>
                <c:pt idx="0">
                  <c:v>-0.9845640554904236</c:v>
                </c:pt>
                <c:pt idx="1">
                  <c:v>0.7539729848935082</c:v>
                </c:pt>
                <c:pt idx="2">
                  <c:v>0.22778533116375144</c:v>
                </c:pt>
                <c:pt idx="3">
                  <c:v>-0.08407095598541048</c:v>
                </c:pt>
                <c:pt idx="4">
                  <c:v>-0.2152950506893312</c:v>
                </c:pt>
                <c:pt idx="5">
                  <c:v>-0.1061395328744652</c:v>
                </c:pt>
                <c:pt idx="6">
                  <c:v>-0.9781202743206947</c:v>
                </c:pt>
                <c:pt idx="7">
                  <c:v>-0.2258282636019011</c:v>
                </c:pt>
                <c:pt idx="8">
                  <c:v>0.16988052868421377</c:v>
                </c:pt>
                <c:pt idx="9">
                  <c:v>-0.4507038716740439</c:v>
                </c:pt>
                <c:pt idx="10">
                  <c:v>0.08994295593322477</c:v>
                </c:pt>
                <c:pt idx="11">
                  <c:v>-0.816138136766337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93.31</c:v>
                </c:pt>
                <c:pt idx="4">
                  <c:v>Av Price/Unit 29.67</c:v>
                </c:pt>
                <c:pt idx="5">
                  <c:v>Av Price/Unit 42.06</c:v>
                </c:pt>
                <c:pt idx="6">
                  <c:v>Av Price/Unit 29.28</c:v>
                </c:pt>
                <c:pt idx="7">
                  <c:v>Av Price/Unit 37.08</c:v>
                </c:pt>
                <c:pt idx="8">
                  <c:v>Av Price/Unit 30.45</c:v>
                </c:pt>
                <c:pt idx="9">
                  <c:v>Av Price/Unit 30.11</c:v>
                </c:pt>
                <c:pt idx="10">
                  <c:v>Av Price/Unit 97.82</c:v>
                </c:pt>
                <c:pt idx="11">
                  <c:v>Av Price/Unit 29.03</c:v>
                </c:pt>
              </c:strCache>
            </c:strRef>
          </c:cat>
          <c:val>
            <c:numRef>
              <c:f>Sheet1!$E$2:$E$13</c:f>
              <c:numCache>
                <c:formatCode>General</c:formatCode>
                <c:ptCount val="12"/>
                <c:pt idx="0">
                  <c:v>9.010918327471664</c:v>
                </c:pt>
                <c:pt idx="1">
                  <c:v>3.552903838075828</c:v>
                </c:pt>
                <c:pt idx="2">
                  <c:v>7.678679764559348</c:v>
                </c:pt>
                <c:pt idx="3">
                  <c:v>15.55194841603588</c:v>
                </c:pt>
                <c:pt idx="4">
                  <c:v>4.944362022761749</c:v>
                </c:pt>
                <c:pt idx="5">
                  <c:v>7.010166172277741</c:v>
                </c:pt>
                <c:pt idx="6">
                  <c:v>4.879433669565702</c:v>
                </c:pt>
                <c:pt idx="7">
                  <c:v>6.1799694327974</c:v>
                </c:pt>
                <c:pt idx="8">
                  <c:v>5.074533157284902</c:v>
                </c:pt>
                <c:pt idx="9">
                  <c:v>5.017782854966918</c:v>
                </c:pt>
                <c:pt idx="10">
                  <c:v>16.302784521444853</c:v>
                </c:pt>
                <c:pt idx="11">
                  <c:v>4.83885312846068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93.45</c:v>
                </c:pt>
                <c:pt idx="5">
                  <c:v>Av Price/Unit 29.66</c:v>
                </c:pt>
                <c:pt idx="6">
                  <c:v>Av Price/Unit 42.17</c:v>
                </c:pt>
                <c:pt idx="7">
                  <c:v>Av Price/Unit 37.17</c:v>
                </c:pt>
                <c:pt idx="8">
                  <c:v>Av Price/Unit 30.17</c:v>
                </c:pt>
                <c:pt idx="9">
                  <c:v>Av Price/Unit 30.45</c:v>
                </c:pt>
                <c:pt idx="10">
                  <c:v>Av Price/Unit 29.15</c:v>
                </c:pt>
                <c:pt idx="11">
                  <c:v>Av Price/Unit 45.45</c:v>
                </c:pt>
              </c:strCache>
            </c:strRef>
          </c:cat>
          <c:val>
            <c:numRef>
              <c:f>Sheet1!$B$2:$B$13</c:f>
              <c:numCache>
                <c:formatCode>General</c:formatCode>
                <c:ptCount val="12"/>
                <c:pt idx="0">
                  <c:v>18.186456707247693</c:v>
                </c:pt>
                <c:pt idx="1">
                  <c:v>3.601073810785041</c:v>
                </c:pt>
                <c:pt idx="2">
                  <c:v>15.85064746720173</c:v>
                </c:pt>
                <c:pt idx="3">
                  <c:v>10.075775032754201</c:v>
                </c:pt>
                <c:pt idx="4">
                  <c:v>30.069014140761926</c:v>
                </c:pt>
                <c:pt idx="5">
                  <c:v>10.710940945674043</c:v>
                </c:pt>
                <c:pt idx="6">
                  <c:v>14.624497382836275</c:v>
                </c:pt>
                <c:pt idx="7">
                  <c:v>12.78107721127849</c:v>
                </c:pt>
                <c:pt idx="8">
                  <c:v>11.442031177143825</c:v>
                </c:pt>
                <c:pt idx="9">
                  <c:v>11.294494046495666</c:v>
                </c:pt>
                <c:pt idx="10">
                  <c:v>11.121067275510205</c:v>
                </c:pt>
                <c:pt idx="11">
                  <c:v>15.07983681062033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93.45</c:v>
                </c:pt>
                <c:pt idx="5">
                  <c:v>Av Price/Unit 29.66</c:v>
                </c:pt>
                <c:pt idx="6">
                  <c:v>Av Price/Unit 42.17</c:v>
                </c:pt>
                <c:pt idx="7">
                  <c:v>Av Price/Unit 37.17</c:v>
                </c:pt>
                <c:pt idx="8">
                  <c:v>Av Price/Unit 30.17</c:v>
                </c:pt>
                <c:pt idx="9">
                  <c:v>Av Price/Unit 30.45</c:v>
                </c:pt>
                <c:pt idx="10">
                  <c:v>Av Price/Unit 29.15</c:v>
                </c:pt>
                <c:pt idx="11">
                  <c:v>Av Price/Unit 45.45</c:v>
                </c:pt>
              </c:strCache>
            </c:strRef>
          </c:cat>
          <c:val>
            <c:numRef>
              <c:f>Sheet1!$C$2:$C$13</c:f>
              <c:numCache>
                <c:formatCode>General</c:formatCode>
                <c:ptCount val="12"/>
                <c:pt idx="0">
                  <c:v>27.85676585504608</c:v>
                </c:pt>
                <c:pt idx="1">
                  <c:v>13.408466698449693</c:v>
                </c:pt>
                <c:pt idx="2">
                  <c:v>22.31419552400062</c:v>
                </c:pt>
                <c:pt idx="3">
                  <c:v>15.296791187695813</c:v>
                </c:pt>
                <c:pt idx="4">
                  <c:v>47.784625311318145</c:v>
                </c:pt>
                <c:pt idx="5">
                  <c:v>14.226450591786008</c:v>
                </c:pt>
                <c:pt idx="6">
                  <c:v>20.56733361112412</c:v>
                </c:pt>
                <c:pt idx="7">
                  <c:v>18.345168366164543</c:v>
                </c:pt>
                <c:pt idx="8">
                  <c:v>14.095354486880591</c:v>
                </c:pt>
                <c:pt idx="9">
                  <c:v>13.904633078836751</c:v>
                </c:pt>
                <c:pt idx="10">
                  <c:v>13.88374836734694</c:v>
                </c:pt>
                <c:pt idx="11">
                  <c:v>22.26825975579775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93.45</c:v>
                </c:pt>
                <c:pt idx="5">
                  <c:v>Av Price/Unit 29.66</c:v>
                </c:pt>
                <c:pt idx="6">
                  <c:v>Av Price/Unit 42.17</c:v>
                </c:pt>
                <c:pt idx="7">
                  <c:v>Av Price/Unit 37.17</c:v>
                </c:pt>
                <c:pt idx="8">
                  <c:v>Av Price/Unit 30.17</c:v>
                </c:pt>
                <c:pt idx="9">
                  <c:v>Av Price/Unit 30.45</c:v>
                </c:pt>
                <c:pt idx="10">
                  <c:v>Av Price/Unit 29.15</c:v>
                </c:pt>
                <c:pt idx="11">
                  <c:v>Av Price/Unit 45.45</c:v>
                </c:pt>
              </c:strCache>
            </c:strRef>
          </c:cat>
          <c:val>
            <c:numRef>
              <c:f>Sheet1!$D$2:$D$13</c:f>
              <c:numCache>
                <c:formatCode>General</c:formatCode>
                <c:ptCount val="12"/>
                <c:pt idx="0">
                  <c:v>-1.0600568488388191</c:v>
                </c:pt>
                <c:pt idx="1">
                  <c:v>0.758555216536589</c:v>
                </c:pt>
                <c:pt idx="2">
                  <c:v>0.2328373596748463</c:v>
                </c:pt>
                <c:pt idx="3">
                  <c:v>-0.9430352226336254</c:v>
                </c:pt>
                <c:pt idx="4">
                  <c:v>0.018635553300754282</c:v>
                </c:pt>
                <c:pt idx="5">
                  <c:v>-0.22455560914506023</c:v>
                </c:pt>
                <c:pt idx="6">
                  <c:v>-0.046146895141781386</c:v>
                </c:pt>
                <c:pt idx="7">
                  <c:v>-0.14949922893152845</c:v>
                </c:pt>
                <c:pt idx="8">
                  <c:v>-0.3992680202902221</c:v>
                </c:pt>
                <c:pt idx="9">
                  <c:v>0.17182309056074985</c:v>
                </c:pt>
                <c:pt idx="10">
                  <c:v>-0.713489112244897</c:v>
                </c:pt>
                <c:pt idx="11">
                  <c:v>0.52858676281788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93.45</c:v>
                </c:pt>
                <c:pt idx="5">
                  <c:v>Av Price/Unit 29.66</c:v>
                </c:pt>
                <c:pt idx="6">
                  <c:v>Av Price/Unit 42.17</c:v>
                </c:pt>
                <c:pt idx="7">
                  <c:v>Av Price/Unit 37.17</c:v>
                </c:pt>
                <c:pt idx="8">
                  <c:v>Av Price/Unit 30.17</c:v>
                </c:pt>
                <c:pt idx="9">
                  <c:v>Av Price/Unit 30.45</c:v>
                </c:pt>
                <c:pt idx="10">
                  <c:v>Av Price/Unit 29.15</c:v>
                </c:pt>
                <c:pt idx="11">
                  <c:v>Av Price/Unit 45.45</c:v>
                </c:pt>
              </c:strCache>
            </c:strRef>
          </c:cat>
          <c:val>
            <c:numRef>
              <c:f>Sheet1!$E$2:$E$13</c:f>
              <c:numCache>
                <c:formatCode>General</c:formatCode>
                <c:ptCount val="12"/>
                <c:pt idx="0">
                  <c:v>8.996627729105823</c:v>
                </c:pt>
                <c:pt idx="1">
                  <c:v>3.5536191451542654</c:v>
                </c:pt>
                <c:pt idx="2">
                  <c:v>7.6795287338581035</c:v>
                </c:pt>
                <c:pt idx="3">
                  <c:v>4.885906199563279</c:v>
                </c:pt>
                <c:pt idx="4">
                  <c:v>15.574455001076158</c:v>
                </c:pt>
                <c:pt idx="5">
                  <c:v>4.942557304611981</c:v>
                </c:pt>
                <c:pt idx="6">
                  <c:v>7.0291368197637185</c:v>
                </c:pt>
                <c:pt idx="7">
                  <c:v>6.195349269702303</c:v>
                </c:pt>
                <c:pt idx="8">
                  <c:v>5.027623528746837</c:v>
                </c:pt>
                <c:pt idx="9">
                  <c:v>5.074190043178632</c:v>
                </c:pt>
                <c:pt idx="10">
                  <c:v>4.858265306122446</c:v>
                </c:pt>
                <c:pt idx="11">
                  <c:v>7.57533666584719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86</c:v>
                </c:pt>
                <c:pt idx="1">
                  <c:v>Av Price/Unit 21.20</c:v>
                </c:pt>
                <c:pt idx="2">
                  <c:v>Av Price/Unit 93.58</c:v>
                </c:pt>
                <c:pt idx="3">
                  <c:v>Av Price/Unit 45.92</c:v>
                </c:pt>
                <c:pt idx="4">
                  <c:v>Av Price/Unit 29.41</c:v>
                </c:pt>
                <c:pt idx="5">
                  <c:v>Av Price/Unit 29.14</c:v>
                </c:pt>
                <c:pt idx="6">
                  <c:v>Av Price/Unit 29.94</c:v>
                </c:pt>
                <c:pt idx="7">
                  <c:v>Av Price/Unit 36.69</c:v>
                </c:pt>
                <c:pt idx="8">
                  <c:v>Av Price/Unit 28.53</c:v>
                </c:pt>
                <c:pt idx="9">
                  <c:v>Av Price/Unit 41.63</c:v>
                </c:pt>
                <c:pt idx="10">
                  <c:v>Av Price/Unit 98.01</c:v>
                </c:pt>
                <c:pt idx="11">
                  <c:v>Av Price/Unit 30.28</c:v>
                </c:pt>
              </c:strCache>
            </c:strRef>
          </c:cat>
          <c:val>
            <c:numRef>
              <c:f>Sheet1!$B$2:$B$13</c:f>
              <c:numCache>
                <c:formatCode>General</c:formatCode>
                <c:ptCount val="12"/>
                <c:pt idx="0">
                  <c:v>18.18058296550333</c:v>
                </c:pt>
                <c:pt idx="1">
                  <c:v>3.6054031585779196</c:v>
                </c:pt>
                <c:pt idx="2">
                  <c:v>30.19345878280934</c:v>
                </c:pt>
                <c:pt idx="3">
                  <c:v>15.833393870234348</c:v>
                </c:pt>
                <c:pt idx="4">
                  <c:v>10.7248864082133</c:v>
                </c:pt>
                <c:pt idx="5">
                  <c:v>10.068981396083387</c:v>
                </c:pt>
                <c:pt idx="6">
                  <c:v>11.446588387508983</c:v>
                </c:pt>
                <c:pt idx="7">
                  <c:v>12.796359307211812</c:v>
                </c:pt>
                <c:pt idx="8">
                  <c:v>11.111735131941709</c:v>
                </c:pt>
                <c:pt idx="9">
                  <c:v>14.73626874451273</c:v>
                </c:pt>
                <c:pt idx="10">
                  <c:v>31.741672107438017</c:v>
                </c:pt>
                <c:pt idx="11">
                  <c:v>11.34133554649790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86</c:v>
                </c:pt>
                <c:pt idx="1">
                  <c:v>Av Price/Unit 21.20</c:v>
                </c:pt>
                <c:pt idx="2">
                  <c:v>Av Price/Unit 93.58</c:v>
                </c:pt>
                <c:pt idx="3">
                  <c:v>Av Price/Unit 45.92</c:v>
                </c:pt>
                <c:pt idx="4">
                  <c:v>Av Price/Unit 29.41</c:v>
                </c:pt>
                <c:pt idx="5">
                  <c:v>Av Price/Unit 29.14</c:v>
                </c:pt>
                <c:pt idx="6">
                  <c:v>Av Price/Unit 29.94</c:v>
                </c:pt>
                <c:pt idx="7">
                  <c:v>Av Price/Unit 36.69</c:v>
                </c:pt>
                <c:pt idx="8">
                  <c:v>Av Price/Unit 28.53</c:v>
                </c:pt>
                <c:pt idx="9">
                  <c:v>Av Price/Unit 41.63</c:v>
                </c:pt>
                <c:pt idx="10">
                  <c:v>Av Price/Unit 98.01</c:v>
                </c:pt>
                <c:pt idx="11">
                  <c:v>Av Price/Unit 30.28</c:v>
                </c:pt>
              </c:strCache>
            </c:strRef>
          </c:cat>
          <c:val>
            <c:numRef>
              <c:f>Sheet1!$C$2:$C$13</c:f>
              <c:numCache>
                <c:formatCode>General</c:formatCode>
                <c:ptCount val="12"/>
                <c:pt idx="0">
                  <c:v>27.87501086544281</c:v>
                </c:pt>
                <c:pt idx="1">
                  <c:v>13.401637996682771</c:v>
                </c:pt>
                <c:pt idx="2">
                  <c:v>47.723595183155474</c:v>
                </c:pt>
                <c:pt idx="3">
                  <c:v>22.315113431269676</c:v>
                </c:pt>
                <c:pt idx="4">
                  <c:v>14.218438047808766</c:v>
                </c:pt>
                <c:pt idx="5">
                  <c:v>15.304786260265317</c:v>
                </c:pt>
                <c:pt idx="6">
                  <c:v>14.100163988499322</c:v>
                </c:pt>
                <c:pt idx="7">
                  <c:v>18.34013914821124</c:v>
                </c:pt>
                <c:pt idx="8">
                  <c:v>13.871748444269397</c:v>
                </c:pt>
                <c:pt idx="9">
                  <c:v>20.571545888206032</c:v>
                </c:pt>
                <c:pt idx="10">
                  <c:v>49.74534779614325</c:v>
                </c:pt>
                <c:pt idx="11">
                  <c:v>13.8954068754692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86</c:v>
                </c:pt>
                <c:pt idx="1">
                  <c:v>Av Price/Unit 21.20</c:v>
                </c:pt>
                <c:pt idx="2">
                  <c:v>Av Price/Unit 93.58</c:v>
                </c:pt>
                <c:pt idx="3">
                  <c:v>Av Price/Unit 45.92</c:v>
                </c:pt>
                <c:pt idx="4">
                  <c:v>Av Price/Unit 29.41</c:v>
                </c:pt>
                <c:pt idx="5">
                  <c:v>Av Price/Unit 29.14</c:v>
                </c:pt>
                <c:pt idx="6">
                  <c:v>Av Price/Unit 29.94</c:v>
                </c:pt>
                <c:pt idx="7">
                  <c:v>Av Price/Unit 36.69</c:v>
                </c:pt>
                <c:pt idx="8">
                  <c:v>Av Price/Unit 28.53</c:v>
                </c:pt>
                <c:pt idx="9">
                  <c:v>Av Price/Unit 41.63</c:v>
                </c:pt>
                <c:pt idx="10">
                  <c:v>Av Price/Unit 98.01</c:v>
                </c:pt>
                <c:pt idx="11">
                  <c:v>Av Price/Unit 30.28</c:v>
                </c:pt>
              </c:strCache>
            </c:strRef>
          </c:cat>
          <c:val>
            <c:numRef>
              <c:f>Sheet1!$D$2:$D$13</c:f>
              <c:numCache>
                <c:formatCode>General</c:formatCode>
                <c:ptCount val="12"/>
                <c:pt idx="0">
                  <c:v>-1.172608050568222</c:v>
                </c:pt>
                <c:pt idx="1">
                  <c:v>0.6632672507872357</c:v>
                </c:pt>
                <c:pt idx="2">
                  <c:v>0.062467233919846876</c:v>
                </c:pt>
                <c:pt idx="3">
                  <c:v>0.12066179899731821</c:v>
                </c:pt>
                <c:pt idx="4">
                  <c:v>-0.43630515629788036</c:v>
                </c:pt>
                <c:pt idx="5">
                  <c:v>-1.08720732785849</c:v>
                </c:pt>
                <c:pt idx="6">
                  <c:v>-0.5934073290205752</c:v>
                </c:pt>
                <c:pt idx="7">
                  <c:v>-0.5640017679348865</c:v>
                </c:pt>
                <c:pt idx="8">
                  <c:v>-1.2059957200997786</c:v>
                </c:pt>
                <c:pt idx="9">
                  <c:v>-0.6142481513998632</c:v>
                </c:pt>
                <c:pt idx="10">
                  <c:v>0.18595989439855032</c:v>
                </c:pt>
                <c:pt idx="11">
                  <c:v>-0.00702380492688803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86</c:v>
                </c:pt>
                <c:pt idx="1">
                  <c:v>Av Price/Unit 21.20</c:v>
                </c:pt>
                <c:pt idx="2">
                  <c:v>Av Price/Unit 93.58</c:v>
                </c:pt>
                <c:pt idx="3">
                  <c:v>Av Price/Unit 45.92</c:v>
                </c:pt>
                <c:pt idx="4">
                  <c:v>Av Price/Unit 29.41</c:v>
                </c:pt>
                <c:pt idx="5">
                  <c:v>Av Price/Unit 29.14</c:v>
                </c:pt>
                <c:pt idx="6">
                  <c:v>Av Price/Unit 29.94</c:v>
                </c:pt>
                <c:pt idx="7">
                  <c:v>Av Price/Unit 36.69</c:v>
                </c:pt>
                <c:pt idx="8">
                  <c:v>Av Price/Unit 28.53</c:v>
                </c:pt>
                <c:pt idx="9">
                  <c:v>Av Price/Unit 41.63</c:v>
                </c:pt>
                <c:pt idx="10">
                  <c:v>Av Price/Unit 98.01</c:v>
                </c:pt>
                <c:pt idx="11">
                  <c:v>Av Price/Unit 30.28</c:v>
                </c:pt>
              </c:strCache>
            </c:strRef>
          </c:cat>
          <c:val>
            <c:numRef>
              <c:f>Sheet1!$E$2:$E$13</c:f>
              <c:numCache>
                <c:formatCode>General</c:formatCode>
                <c:ptCount val="12"/>
                <c:pt idx="0">
                  <c:v>8.976592024746147</c:v>
                </c:pt>
                <c:pt idx="1">
                  <c:v>3.5340616812095864</c:v>
                </c:pt>
                <c:pt idx="2">
                  <c:v>15.595904239976925</c:v>
                </c:pt>
                <c:pt idx="3">
                  <c:v>7.653827095721112</c:v>
                </c:pt>
                <c:pt idx="4">
                  <c:v>4.901394422310757</c:v>
                </c:pt>
                <c:pt idx="5">
                  <c:v>4.8573120656980375</c:v>
                </c:pt>
                <c:pt idx="6">
                  <c:v>4.990669009397543</c:v>
                </c:pt>
                <c:pt idx="7">
                  <c:v>6.114499337497636</c:v>
                </c:pt>
                <c:pt idx="8">
                  <c:v>4.755497571222264</c:v>
                </c:pt>
                <c:pt idx="9">
                  <c:v>6.938713296263778</c:v>
                </c:pt>
                <c:pt idx="10">
                  <c:v>16.334595959595948</c:v>
                </c:pt>
                <c:pt idx="11">
                  <c:v>5.0459437234080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93.77</c:v>
                </c:pt>
                <c:pt idx="4">
                  <c:v>Av Price/Unit 29.24</c:v>
                </c:pt>
                <c:pt idx="5">
                  <c:v>Av Price/Unit 29.56</c:v>
                </c:pt>
                <c:pt idx="6">
                  <c:v>Av Price/Unit 37.61</c:v>
                </c:pt>
                <c:pt idx="7">
                  <c:v>Av Price/Unit 30.34</c:v>
                </c:pt>
                <c:pt idx="8">
                  <c:v>Av Price/Unit 98.34</c:v>
                </c:pt>
                <c:pt idx="9">
                  <c:v>Av Price/Unit 29.63</c:v>
                </c:pt>
                <c:pt idx="10">
                  <c:v>Av Price/Unit 41.95</c:v>
                </c:pt>
                <c:pt idx="11">
                  <c:v>Av Price/Unit 45.77</c:v>
                </c:pt>
              </c:strCache>
            </c:strRef>
          </c:cat>
          <c:val>
            <c:numRef>
              <c:f>Sheet1!$B$2:$B$13</c:f>
              <c:numCache>
                <c:formatCode>General</c:formatCode>
                <c:ptCount val="12"/>
                <c:pt idx="0">
                  <c:v>18.170999103554866</c:v>
                </c:pt>
                <c:pt idx="1">
                  <c:v>15.821081786542925</c:v>
                </c:pt>
                <c:pt idx="2">
                  <c:v>3.614221763445979</c:v>
                </c:pt>
                <c:pt idx="3">
                  <c:v>30.002478294573653</c:v>
                </c:pt>
                <c:pt idx="4">
                  <c:v>10.135968718067813</c:v>
                </c:pt>
                <c:pt idx="5">
                  <c:v>10.747534031852473</c:v>
                </c:pt>
                <c:pt idx="6">
                  <c:v>12.792391918832324</c:v>
                </c:pt>
                <c:pt idx="7">
                  <c:v>11.446920696791993</c:v>
                </c:pt>
                <c:pt idx="8">
                  <c:v>31.703690322580652</c:v>
                </c:pt>
                <c:pt idx="9">
                  <c:v>11.068651501668521</c:v>
                </c:pt>
                <c:pt idx="10">
                  <c:v>14.80851888111888</c:v>
                </c:pt>
                <c:pt idx="11">
                  <c:v>15.08185292096219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93.77</c:v>
                </c:pt>
                <c:pt idx="4">
                  <c:v>Av Price/Unit 29.24</c:v>
                </c:pt>
                <c:pt idx="5">
                  <c:v>Av Price/Unit 29.56</c:v>
                </c:pt>
                <c:pt idx="6">
                  <c:v>Av Price/Unit 37.61</c:v>
                </c:pt>
                <c:pt idx="7">
                  <c:v>Av Price/Unit 30.34</c:v>
                </c:pt>
                <c:pt idx="8">
                  <c:v>Av Price/Unit 98.34</c:v>
                </c:pt>
                <c:pt idx="9">
                  <c:v>Av Price/Unit 29.63</c:v>
                </c:pt>
                <c:pt idx="10">
                  <c:v>Av Price/Unit 41.95</c:v>
                </c:pt>
                <c:pt idx="11">
                  <c:v>Av Price/Unit 45.77</c:v>
                </c:pt>
              </c:strCache>
            </c:strRef>
          </c:cat>
          <c:val>
            <c:numRef>
              <c:f>Sheet1!$C$2:$C$13</c:f>
              <c:numCache>
                <c:formatCode>General</c:formatCode>
                <c:ptCount val="12"/>
                <c:pt idx="0">
                  <c:v>27.90478024729521</c:v>
                </c:pt>
                <c:pt idx="1">
                  <c:v>22.315768445475637</c:v>
                </c:pt>
                <c:pt idx="2">
                  <c:v>13.387728367444076</c:v>
                </c:pt>
                <c:pt idx="3">
                  <c:v>47.817255813953494</c:v>
                </c:pt>
                <c:pt idx="4">
                  <c:v>15.225952415234557</c:v>
                </c:pt>
                <c:pt idx="5">
                  <c:v>14.205425565800503</c:v>
                </c:pt>
                <c:pt idx="6">
                  <c:v>18.341444784620858</c:v>
                </c:pt>
                <c:pt idx="7">
                  <c:v>14.100514694722317</c:v>
                </c:pt>
                <c:pt idx="8">
                  <c:v>49.76135483870967</c:v>
                </c:pt>
                <c:pt idx="9">
                  <c:v>13.81634849833148</c:v>
                </c:pt>
                <c:pt idx="10">
                  <c:v>20.57426874663798</c:v>
                </c:pt>
                <c:pt idx="11">
                  <c:v>22.29434226804123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93.77</c:v>
                </c:pt>
                <c:pt idx="4">
                  <c:v>Av Price/Unit 29.24</c:v>
                </c:pt>
                <c:pt idx="5">
                  <c:v>Av Price/Unit 29.56</c:v>
                </c:pt>
                <c:pt idx="6">
                  <c:v>Av Price/Unit 37.61</c:v>
                </c:pt>
                <c:pt idx="7">
                  <c:v>Av Price/Unit 30.34</c:v>
                </c:pt>
                <c:pt idx="8">
                  <c:v>Av Price/Unit 98.34</c:v>
                </c:pt>
                <c:pt idx="9">
                  <c:v>Av Price/Unit 29.63</c:v>
                </c:pt>
                <c:pt idx="10">
                  <c:v>Av Price/Unit 41.95</c:v>
                </c:pt>
                <c:pt idx="11">
                  <c:v>Av Price/Unit 45.77</c:v>
                </c:pt>
              </c:strCache>
            </c:strRef>
          </c:cat>
          <c:val>
            <c:numRef>
              <c:f>Sheet1!$D$2:$D$13</c:f>
              <c:numCache>
                <c:formatCode>General</c:formatCode>
                <c:ptCount val="12"/>
                <c:pt idx="0">
                  <c:v>-1.161278923235443</c:v>
                </c:pt>
                <c:pt idx="1">
                  <c:v>0.24233820572312226</c:v>
                </c:pt>
                <c:pt idx="2">
                  <c:v>0.7952297834364543</c:v>
                </c:pt>
                <c:pt idx="3">
                  <c:v>0.3187241171404196</c:v>
                </c:pt>
                <c:pt idx="4">
                  <c:v>-0.9990166589255303</c:v>
                </c:pt>
                <c:pt idx="5">
                  <c:v>-0.3215012759616265</c:v>
                </c:pt>
                <c:pt idx="6">
                  <c:v>0.2056079387682388</c:v>
                </c:pt>
                <c:pt idx="7">
                  <c:v>-0.26314195699666953</c:v>
                </c:pt>
                <c:pt idx="8">
                  <c:v>0.4819594470046127</c:v>
                </c:pt>
                <c:pt idx="9">
                  <c:v>-0.19367630700778804</c:v>
                </c:pt>
                <c:pt idx="10">
                  <c:v>-0.4235801685493996</c:v>
                </c:pt>
                <c:pt idx="11">
                  <c:v>0.768134707903783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93.77</c:v>
                </c:pt>
                <c:pt idx="4">
                  <c:v>Av Price/Unit 29.24</c:v>
                </c:pt>
                <c:pt idx="5">
                  <c:v>Av Price/Unit 29.56</c:v>
                </c:pt>
                <c:pt idx="6">
                  <c:v>Av Price/Unit 37.61</c:v>
                </c:pt>
                <c:pt idx="7">
                  <c:v>Av Price/Unit 30.34</c:v>
                </c:pt>
                <c:pt idx="8">
                  <c:v>Av Price/Unit 98.34</c:v>
                </c:pt>
                <c:pt idx="9">
                  <c:v>Av Price/Unit 29.63</c:v>
                </c:pt>
                <c:pt idx="10">
                  <c:v>Av Price/Unit 41.95</c:v>
                </c:pt>
                <c:pt idx="11">
                  <c:v>Av Price/Unit 45.77</c:v>
                </c:pt>
              </c:strCache>
            </c:strRef>
          </c:cat>
          <c:val>
            <c:numRef>
              <c:f>Sheet1!$E$2:$E$13</c:f>
              <c:numCache>
                <c:formatCode>General</c:formatCode>
                <c:ptCount val="12"/>
                <c:pt idx="0">
                  <c:v>8.98289541473467</c:v>
                </c:pt>
                <c:pt idx="1">
                  <c:v>7.6758313998453165</c:v>
                </c:pt>
                <c:pt idx="2">
                  <c:v>3.559435982865302</c:v>
                </c:pt>
                <c:pt idx="3">
                  <c:v>15.62769164513349</c:v>
                </c:pt>
                <c:pt idx="4">
                  <c:v>4.87258089487537</c:v>
                </c:pt>
                <c:pt idx="5">
                  <c:v>4.9262829468194065</c:v>
                </c:pt>
                <c:pt idx="6">
                  <c:v>6.267888928444286</c:v>
                </c:pt>
                <c:pt idx="7">
                  <c:v>5.056858686903528</c:v>
                </c:pt>
                <c:pt idx="8">
                  <c:v>16.389400921658986</c:v>
                </c:pt>
                <c:pt idx="9">
                  <c:v>4.938264738598443</c:v>
                </c:pt>
                <c:pt idx="10">
                  <c:v>6.991841491841489</c:v>
                </c:pt>
                <c:pt idx="11">
                  <c:v>7.62886597938144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94.44</c:v>
                </c:pt>
                <c:pt idx="5">
                  <c:v>Av Price/Unit 30.06</c:v>
                </c:pt>
                <c:pt idx="6">
                  <c:v>Av Price/Unit 37.81</c:v>
                </c:pt>
                <c:pt idx="7">
                  <c:v>Av Price/Unit 29.44</c:v>
                </c:pt>
                <c:pt idx="8">
                  <c:v>Av Price/Unit 29.20</c:v>
                </c:pt>
                <c:pt idx="9">
                  <c:v>Av Price/Unit 37.61</c:v>
                </c:pt>
                <c:pt idx="10">
                  <c:v>Av Price/Unit 42.95</c:v>
                </c:pt>
                <c:pt idx="11">
                  <c:v>Av Price/Unit 37.59</c:v>
                </c:pt>
              </c:strCache>
            </c:strRef>
          </c:cat>
          <c:val>
            <c:numRef>
              <c:f>Sheet1!$B$2:$B$13</c:f>
              <c:numCache>
                <c:formatCode>General</c:formatCode>
                <c:ptCount val="12"/>
                <c:pt idx="0">
                  <c:v>18.173534562211984</c:v>
                </c:pt>
                <c:pt idx="1">
                  <c:v>3.6190399051403666</c:v>
                </c:pt>
                <c:pt idx="2">
                  <c:v>15.816964188297405</c:v>
                </c:pt>
                <c:pt idx="3">
                  <c:v>10.099752058729653</c:v>
                </c:pt>
                <c:pt idx="4">
                  <c:v>30.33945193370166</c:v>
                </c:pt>
                <c:pt idx="5">
                  <c:v>11.449155678670358</c:v>
                </c:pt>
                <c:pt idx="6">
                  <c:v>12.786316457142858</c:v>
                </c:pt>
                <c:pt idx="7">
                  <c:v>10.790942603550295</c:v>
                </c:pt>
                <c:pt idx="8">
                  <c:v>11.05539466271312</c:v>
                </c:pt>
                <c:pt idx="9">
                  <c:v>13.252699679144387</c:v>
                </c:pt>
                <c:pt idx="10">
                  <c:v>14.729412499999999</c:v>
                </c:pt>
                <c:pt idx="11">
                  <c:v>13.23114313487241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94.44</c:v>
                </c:pt>
                <c:pt idx="5">
                  <c:v>Av Price/Unit 30.06</c:v>
                </c:pt>
                <c:pt idx="6">
                  <c:v>Av Price/Unit 37.81</c:v>
                </c:pt>
                <c:pt idx="7">
                  <c:v>Av Price/Unit 29.44</c:v>
                </c:pt>
                <c:pt idx="8">
                  <c:v>Av Price/Unit 29.20</c:v>
                </c:pt>
                <c:pt idx="9">
                  <c:v>Av Price/Unit 37.61</c:v>
                </c:pt>
                <c:pt idx="10">
                  <c:v>Av Price/Unit 42.95</c:v>
                </c:pt>
                <c:pt idx="11">
                  <c:v>Av Price/Unit 37.59</c:v>
                </c:pt>
              </c:strCache>
            </c:strRef>
          </c:cat>
          <c:val>
            <c:numRef>
              <c:f>Sheet1!$C$2:$C$13</c:f>
              <c:numCache>
                <c:formatCode>General</c:formatCode>
                <c:ptCount val="12"/>
                <c:pt idx="0">
                  <c:v>27.896904608294932</c:v>
                </c:pt>
                <c:pt idx="1">
                  <c:v>13.380128688629663</c:v>
                </c:pt>
                <c:pt idx="2">
                  <c:v>22.315987505499336</c:v>
                </c:pt>
                <c:pt idx="3">
                  <c:v>15.268573890839447</c:v>
                </c:pt>
                <c:pt idx="4">
                  <c:v>47.65199723756906</c:v>
                </c:pt>
                <c:pt idx="5">
                  <c:v>14.102873407202217</c:v>
                </c:pt>
                <c:pt idx="6">
                  <c:v>18.343444171428573</c:v>
                </c:pt>
                <c:pt idx="7">
                  <c:v>14.180484615384614</c:v>
                </c:pt>
                <c:pt idx="8">
                  <c:v>13.799301927353596</c:v>
                </c:pt>
                <c:pt idx="9">
                  <c:v>17.095252085561494</c:v>
                </c:pt>
                <c:pt idx="10">
                  <c:v>20.571287500000004</c:v>
                </c:pt>
                <c:pt idx="11">
                  <c:v>17.3817342648845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94.44</c:v>
                </c:pt>
                <c:pt idx="5">
                  <c:v>Av Price/Unit 30.06</c:v>
                </c:pt>
                <c:pt idx="6">
                  <c:v>Av Price/Unit 37.81</c:v>
                </c:pt>
                <c:pt idx="7">
                  <c:v>Av Price/Unit 29.44</c:v>
                </c:pt>
                <c:pt idx="8">
                  <c:v>Av Price/Unit 29.20</c:v>
                </c:pt>
                <c:pt idx="9">
                  <c:v>Av Price/Unit 37.61</c:v>
                </c:pt>
                <c:pt idx="10">
                  <c:v>Av Price/Unit 42.95</c:v>
                </c:pt>
                <c:pt idx="11">
                  <c:v>Av Price/Unit 37.59</c:v>
                </c:pt>
              </c:strCache>
            </c:strRef>
          </c:cat>
          <c:val>
            <c:numRef>
              <c:f>Sheet1!$D$2:$D$13</c:f>
              <c:numCache>
                <c:formatCode>General</c:formatCode>
                <c:ptCount val="12"/>
                <c:pt idx="0">
                  <c:v>-1.003594930875579</c:v>
                </c:pt>
                <c:pt idx="1">
                  <c:v>0.5957978635217707</c:v>
                </c:pt>
                <c:pt idx="2">
                  <c:v>0.33532949112773025</c:v>
                </c:pt>
                <c:pt idx="3">
                  <c:v>-1.152451920417061</c:v>
                </c:pt>
                <c:pt idx="4">
                  <c:v>0.7125103130755122</c:v>
                </c:pt>
                <c:pt idx="5">
                  <c:v>-0.5023984302862416</c:v>
                </c:pt>
                <c:pt idx="6">
                  <c:v>0.38262032380952604</c:v>
                </c:pt>
                <c:pt idx="7">
                  <c:v>-0.44065417488494774</c:v>
                </c:pt>
                <c:pt idx="8">
                  <c:v>-0.5200042253521033</c:v>
                </c:pt>
                <c:pt idx="9">
                  <c:v>0.9934029590017879</c:v>
                </c:pt>
                <c:pt idx="10">
                  <c:v>0.48719893617021626</c:v>
                </c:pt>
                <c:pt idx="11">
                  <c:v>0.71053288780882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94.44</c:v>
                </c:pt>
                <c:pt idx="5">
                  <c:v>Av Price/Unit 30.06</c:v>
                </c:pt>
                <c:pt idx="6">
                  <c:v>Av Price/Unit 37.81</c:v>
                </c:pt>
                <c:pt idx="7">
                  <c:v>Av Price/Unit 29.44</c:v>
                </c:pt>
                <c:pt idx="8">
                  <c:v>Av Price/Unit 29.20</c:v>
                </c:pt>
                <c:pt idx="9">
                  <c:v>Av Price/Unit 37.61</c:v>
                </c:pt>
                <c:pt idx="10">
                  <c:v>Av Price/Unit 42.95</c:v>
                </c:pt>
                <c:pt idx="11">
                  <c:v>Av Price/Unit 37.59</c:v>
                </c:pt>
              </c:strCache>
            </c:strRef>
          </c:cat>
          <c:val>
            <c:numRef>
              <c:f>Sheet1!$E$2:$E$13</c:f>
              <c:numCache>
                <c:formatCode>General</c:formatCode>
                <c:ptCount val="12"/>
                <c:pt idx="0">
                  <c:v>9.013364055299538</c:v>
                </c:pt>
                <c:pt idx="1">
                  <c:v>3.518993291458359</c:v>
                </c:pt>
                <c:pt idx="2">
                  <c:v>7.693650095321891</c:v>
                </c:pt>
                <c:pt idx="3">
                  <c:v>4.8431748058304045</c:v>
                </c:pt>
                <c:pt idx="4">
                  <c:v>15.740791896869249</c:v>
                </c:pt>
                <c:pt idx="5">
                  <c:v>5.0099261311172665</c:v>
                </c:pt>
                <c:pt idx="6">
                  <c:v>6.302476190476192</c:v>
                </c:pt>
                <c:pt idx="7">
                  <c:v>4.906147271531889</c:v>
                </c:pt>
                <c:pt idx="8">
                  <c:v>4.866938472942915</c:v>
                </c:pt>
                <c:pt idx="9">
                  <c:v>6.2682709447415315</c:v>
                </c:pt>
                <c:pt idx="10">
                  <c:v>7.157579787234038</c:v>
                </c:pt>
                <c:pt idx="11">
                  <c:v>6.26468205751316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93.30</c:v>
                </c:pt>
                <c:pt idx="2">
                  <c:v>Av Price/Unit 21.23</c:v>
                </c:pt>
                <c:pt idx="3">
                  <c:v>Av Price/Unit 46.03</c:v>
                </c:pt>
                <c:pt idx="4">
                  <c:v>Av Price/Unit 42.00</c:v>
                </c:pt>
                <c:pt idx="5">
                  <c:v>Av Price/Unit 29.23</c:v>
                </c:pt>
                <c:pt idx="6">
                  <c:v>Av Price/Unit 29.53</c:v>
                </c:pt>
                <c:pt idx="7">
                  <c:v>Av Price/Unit 36.92</c:v>
                </c:pt>
                <c:pt idx="8">
                  <c:v>Av Price/Unit 97.81</c:v>
                </c:pt>
                <c:pt idx="9">
                  <c:v>Av Price/Unit 30.36</c:v>
                </c:pt>
                <c:pt idx="10">
                  <c:v>Av Price/Unit 45.35</c:v>
                </c:pt>
                <c:pt idx="11">
                  <c:v>Av Price/Unit 57.43</c:v>
                </c:pt>
              </c:strCache>
            </c:strRef>
          </c:cat>
          <c:val>
            <c:numRef>
              <c:f>Sheet1!$B$2:$B$13</c:f>
              <c:numCache>
                <c:formatCode>General</c:formatCode>
                <c:ptCount val="12"/>
                <c:pt idx="0">
                  <c:v>18.178025953066125</c:v>
                </c:pt>
                <c:pt idx="1">
                  <c:v>30.04706682464455</c:v>
                </c:pt>
                <c:pt idx="2">
                  <c:v>3.603543958853247</c:v>
                </c:pt>
                <c:pt idx="3">
                  <c:v>15.838642537625415</c:v>
                </c:pt>
                <c:pt idx="4">
                  <c:v>14.631131363729297</c:v>
                </c:pt>
                <c:pt idx="5">
                  <c:v>10.074950305531733</c:v>
                </c:pt>
                <c:pt idx="6">
                  <c:v>10.721439784946236</c:v>
                </c:pt>
                <c:pt idx="7">
                  <c:v>12.787890688420214</c:v>
                </c:pt>
                <c:pt idx="8">
                  <c:v>31.671562401402277</c:v>
                </c:pt>
                <c:pt idx="9">
                  <c:v>11.3172250677099</c:v>
                </c:pt>
                <c:pt idx="10">
                  <c:v>15.080779862585883</c:v>
                </c:pt>
                <c:pt idx="11">
                  <c:v>19.5215568527918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93.30</c:v>
                </c:pt>
                <c:pt idx="2">
                  <c:v>Av Price/Unit 21.23</c:v>
                </c:pt>
                <c:pt idx="3">
                  <c:v>Av Price/Unit 46.03</c:v>
                </c:pt>
                <c:pt idx="4">
                  <c:v>Av Price/Unit 42.00</c:v>
                </c:pt>
                <c:pt idx="5">
                  <c:v>Av Price/Unit 29.23</c:v>
                </c:pt>
                <c:pt idx="6">
                  <c:v>Av Price/Unit 29.53</c:v>
                </c:pt>
                <c:pt idx="7">
                  <c:v>Av Price/Unit 36.92</c:v>
                </c:pt>
                <c:pt idx="8">
                  <c:v>Av Price/Unit 97.81</c:v>
                </c:pt>
                <c:pt idx="9">
                  <c:v>Av Price/Unit 30.36</c:v>
                </c:pt>
                <c:pt idx="10">
                  <c:v>Av Price/Unit 45.35</c:v>
                </c:pt>
                <c:pt idx="11">
                  <c:v>Av Price/Unit 57.43</c:v>
                </c:pt>
              </c:strCache>
            </c:strRef>
          </c:cat>
          <c:val>
            <c:numRef>
              <c:f>Sheet1!$C$2:$C$13</c:f>
              <c:numCache>
                <c:formatCode>General</c:formatCode>
                <c:ptCount val="12"/>
                <c:pt idx="0">
                  <c:v>27.88295345477201</c:v>
                </c:pt>
                <c:pt idx="1">
                  <c:v>47.795388711762165</c:v>
                </c:pt>
                <c:pt idx="2">
                  <c:v>13.404570521638567</c:v>
                </c:pt>
                <c:pt idx="3">
                  <c:v>22.314834197324416</c:v>
                </c:pt>
                <c:pt idx="4">
                  <c:v>20.567583622980983</c:v>
                </c:pt>
                <c:pt idx="5">
                  <c:v>15.297761765651803</c:v>
                </c:pt>
                <c:pt idx="6">
                  <c:v>14.22041834931706</c:v>
                </c:pt>
                <c:pt idx="7">
                  <c:v>18.342926104257856</c:v>
                </c:pt>
                <c:pt idx="8">
                  <c:v>49.77489482909728</c:v>
                </c:pt>
                <c:pt idx="9">
                  <c:v>13.90015583057478</c:v>
                </c:pt>
                <c:pt idx="10">
                  <c:v>22.280460062460964</c:v>
                </c:pt>
                <c:pt idx="11">
                  <c:v>27.6172104060913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93.30</c:v>
                </c:pt>
                <c:pt idx="2">
                  <c:v>Av Price/Unit 21.23</c:v>
                </c:pt>
                <c:pt idx="3">
                  <c:v>Av Price/Unit 46.03</c:v>
                </c:pt>
                <c:pt idx="4">
                  <c:v>Av Price/Unit 42.00</c:v>
                </c:pt>
                <c:pt idx="5">
                  <c:v>Av Price/Unit 29.23</c:v>
                </c:pt>
                <c:pt idx="6">
                  <c:v>Av Price/Unit 29.53</c:v>
                </c:pt>
                <c:pt idx="7">
                  <c:v>Av Price/Unit 36.92</c:v>
                </c:pt>
                <c:pt idx="8">
                  <c:v>Av Price/Unit 97.81</c:v>
                </c:pt>
                <c:pt idx="9">
                  <c:v>Av Price/Unit 30.36</c:v>
                </c:pt>
                <c:pt idx="10">
                  <c:v>Av Price/Unit 45.35</c:v>
                </c:pt>
                <c:pt idx="11">
                  <c:v>Av Price/Unit 57.43</c:v>
                </c:pt>
              </c:strCache>
            </c:strRef>
          </c:cat>
          <c:val>
            <c:numRef>
              <c:f>Sheet1!$D$2:$D$13</c:f>
              <c:numCache>
                <c:formatCode>General</c:formatCode>
                <c:ptCount val="12"/>
                <c:pt idx="0">
                  <c:v>-1.1253079617487955</c:v>
                </c:pt>
                <c:pt idx="1">
                  <c:v>-0.09335313801518907</c:v>
                </c:pt>
                <c:pt idx="2">
                  <c:v>0.6826389974367792</c:v>
                </c:pt>
                <c:pt idx="3">
                  <c:v>0.20793602285395707</c:v>
                </c:pt>
                <c:pt idx="4">
                  <c:v>-0.19655682773347394</c:v>
                </c:pt>
                <c:pt idx="5">
                  <c:v>-1.0139266938250415</c:v>
                </c:pt>
                <c:pt idx="6">
                  <c:v>-0.3324914017243046</c:v>
                </c:pt>
                <c:pt idx="7">
                  <c:v>-0.36002491046557594</c:v>
                </c:pt>
                <c:pt idx="8">
                  <c:v>0.060992375109535146</c:v>
                </c:pt>
                <c:pt idx="9">
                  <c:v>0.08442971461531101</c:v>
                </c:pt>
                <c:pt idx="10">
                  <c:v>0.4319101894649222</c:v>
                </c:pt>
                <c:pt idx="11">
                  <c:v>0.718529949238579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93.30</c:v>
                </c:pt>
                <c:pt idx="2">
                  <c:v>Av Price/Unit 21.23</c:v>
                </c:pt>
                <c:pt idx="3">
                  <c:v>Av Price/Unit 46.03</c:v>
                </c:pt>
                <c:pt idx="4">
                  <c:v>Av Price/Unit 42.00</c:v>
                </c:pt>
                <c:pt idx="5">
                  <c:v>Av Price/Unit 29.23</c:v>
                </c:pt>
                <c:pt idx="6">
                  <c:v>Av Price/Unit 29.53</c:v>
                </c:pt>
                <c:pt idx="7">
                  <c:v>Av Price/Unit 36.92</c:v>
                </c:pt>
                <c:pt idx="8">
                  <c:v>Av Price/Unit 97.81</c:v>
                </c:pt>
                <c:pt idx="9">
                  <c:v>Av Price/Unit 30.36</c:v>
                </c:pt>
                <c:pt idx="10">
                  <c:v>Av Price/Unit 45.35</c:v>
                </c:pt>
                <c:pt idx="11">
                  <c:v>Av Price/Unit 57.43</c:v>
                </c:pt>
              </c:strCache>
            </c:strRef>
          </c:cat>
          <c:val>
            <c:numRef>
              <c:f>Sheet1!$E$2:$E$13</c:f>
              <c:numCache>
                <c:formatCode>General</c:formatCode>
                <c:ptCount val="12"/>
                <c:pt idx="0">
                  <c:v>8.987129280762653</c:v>
                </c:pt>
                <c:pt idx="1">
                  <c:v>15.549820479678287</c:v>
                </c:pt>
                <c:pt idx="2">
                  <c:v>3.5381506955857174</c:v>
                </c:pt>
                <c:pt idx="3">
                  <c:v>7.672275641025639</c:v>
                </c:pt>
                <c:pt idx="4">
                  <c:v>7.000431631795355</c:v>
                </c:pt>
                <c:pt idx="5">
                  <c:v>4.871757075471695</c:v>
                </c:pt>
                <c:pt idx="6">
                  <c:v>4.921863799283155</c:v>
                </c:pt>
                <c:pt idx="7">
                  <c:v>6.154158376442499</c:v>
                </c:pt>
                <c:pt idx="8">
                  <c:v>16.301489921121835</c:v>
                </c:pt>
                <c:pt idx="9">
                  <c:v>5.060362122579992</c:v>
                </c:pt>
                <c:pt idx="10">
                  <c:v>7.55863002290235</c:v>
                </c:pt>
                <c:pt idx="11">
                  <c:v>9.57146256345177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93.43</c:v>
                </c:pt>
                <c:pt idx="4">
                  <c:v>Av Price/Unit 29.25</c:v>
                </c:pt>
                <c:pt idx="5">
                  <c:v>Av Price/Unit 29.59</c:v>
                </c:pt>
                <c:pt idx="6">
                  <c:v>Av Price/Unit 37.17</c:v>
                </c:pt>
                <c:pt idx="7">
                  <c:v>Av Price/Unit 30.16</c:v>
                </c:pt>
                <c:pt idx="8">
                  <c:v>Av Price/Unit 42.09</c:v>
                </c:pt>
                <c:pt idx="9">
                  <c:v>Av Price/Unit 30.42</c:v>
                </c:pt>
                <c:pt idx="10">
                  <c:v>Av Price/Unit 29.14</c:v>
                </c:pt>
                <c:pt idx="11">
                  <c:v>Av Price/Unit 97.96</c:v>
                </c:pt>
              </c:strCache>
            </c:strRef>
          </c:cat>
          <c:val>
            <c:numRef>
              <c:f>Sheet1!$B$2:$B$13</c:f>
              <c:numCache>
                <c:formatCode>General</c:formatCode>
                <c:ptCount val="12"/>
                <c:pt idx="0">
                  <c:v>18.184343906073934</c:v>
                </c:pt>
                <c:pt idx="1">
                  <c:v>3.6059014807193344</c:v>
                </c:pt>
                <c:pt idx="2">
                  <c:v>15.84164344493219</c:v>
                </c:pt>
                <c:pt idx="3">
                  <c:v>30.10003575906242</c:v>
                </c:pt>
                <c:pt idx="4">
                  <c:v>10.095996135838693</c:v>
                </c:pt>
                <c:pt idx="5">
                  <c:v>10.725499228556485</c:v>
                </c:pt>
                <c:pt idx="6">
                  <c:v>12.785072935700741</c:v>
                </c:pt>
                <c:pt idx="7">
                  <c:v>11.445658692555666</c:v>
                </c:pt>
                <c:pt idx="8">
                  <c:v>14.604576938307629</c:v>
                </c:pt>
                <c:pt idx="9">
                  <c:v>11.3010438953982</c:v>
                </c:pt>
                <c:pt idx="10">
                  <c:v>11.108024913793102</c:v>
                </c:pt>
                <c:pt idx="11">
                  <c:v>31.68826871035941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93.43</c:v>
                </c:pt>
                <c:pt idx="4">
                  <c:v>Av Price/Unit 29.25</c:v>
                </c:pt>
                <c:pt idx="5">
                  <c:v>Av Price/Unit 29.59</c:v>
                </c:pt>
                <c:pt idx="6">
                  <c:v>Av Price/Unit 37.17</c:v>
                </c:pt>
                <c:pt idx="7">
                  <c:v>Av Price/Unit 30.16</c:v>
                </c:pt>
                <c:pt idx="8">
                  <c:v>Av Price/Unit 42.09</c:v>
                </c:pt>
                <c:pt idx="9">
                  <c:v>Av Price/Unit 30.42</c:v>
                </c:pt>
                <c:pt idx="10">
                  <c:v>Av Price/Unit 29.14</c:v>
                </c:pt>
                <c:pt idx="11">
                  <c:v>Av Price/Unit 97.96</c:v>
                </c:pt>
              </c:strCache>
            </c:strRef>
          </c:cat>
          <c:val>
            <c:numRef>
              <c:f>Sheet1!$C$2:$C$13</c:f>
              <c:numCache>
                <c:formatCode>General</c:formatCode>
                <c:ptCount val="12"/>
                <c:pt idx="0">
                  <c:v>27.8633286358184</c:v>
                </c:pt>
                <c:pt idx="1">
                  <c:v>13.400851990695177</c:v>
                </c:pt>
                <c:pt idx="2">
                  <c:v>22.314674546288412</c:v>
                </c:pt>
                <c:pt idx="3">
                  <c:v>47.76941169255928</c:v>
                </c:pt>
                <c:pt idx="4">
                  <c:v>15.272994038329484</c:v>
                </c:pt>
                <c:pt idx="5">
                  <c:v>14.218085944037655</c:v>
                </c:pt>
                <c:pt idx="6">
                  <c:v>18.343853404585417</c:v>
                </c:pt>
                <c:pt idx="7">
                  <c:v>14.099182824799461</c:v>
                </c:pt>
                <c:pt idx="8">
                  <c:v>20.56658287828262</c:v>
                </c:pt>
                <c:pt idx="9">
                  <c:v>13.90334297843437</c:v>
                </c:pt>
                <c:pt idx="10">
                  <c:v>13.866977586206898</c:v>
                </c:pt>
                <c:pt idx="11">
                  <c:v>49.7678541226215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93.43</c:v>
                </c:pt>
                <c:pt idx="4">
                  <c:v>Av Price/Unit 29.25</c:v>
                </c:pt>
                <c:pt idx="5">
                  <c:v>Av Price/Unit 29.59</c:v>
                </c:pt>
                <c:pt idx="6">
                  <c:v>Av Price/Unit 37.17</c:v>
                </c:pt>
                <c:pt idx="7">
                  <c:v>Av Price/Unit 30.16</c:v>
                </c:pt>
                <c:pt idx="8">
                  <c:v>Av Price/Unit 42.09</c:v>
                </c:pt>
                <c:pt idx="9">
                  <c:v>Av Price/Unit 30.42</c:v>
                </c:pt>
                <c:pt idx="10">
                  <c:v>Av Price/Unit 29.14</c:v>
                </c:pt>
                <c:pt idx="11">
                  <c:v>Av Price/Unit 97.96</c:v>
                </c:pt>
              </c:strCache>
            </c:strRef>
          </c:cat>
          <c:val>
            <c:numRef>
              <c:f>Sheet1!$D$2:$D$13</c:f>
              <c:numCache>
                <c:formatCode>General</c:formatCode>
                <c:ptCount val="12"/>
                <c:pt idx="0">
                  <c:v>-1.0043299746767858</c:v>
                </c:pt>
                <c:pt idx="1">
                  <c:v>0.7092779621842453</c:v>
                </c:pt>
                <c:pt idx="2">
                  <c:v>0.41673681451876377</c:v>
                </c:pt>
                <c:pt idx="3">
                  <c:v>-0.009335704551645563</c:v>
                </c:pt>
                <c:pt idx="4">
                  <c:v>-0.9911159831034055</c:v>
                </c:pt>
                <c:pt idx="5">
                  <c:v>-0.2862747450313847</c:v>
                </c:pt>
                <c:pt idx="6">
                  <c:v>-0.1549563351146297</c:v>
                </c:pt>
                <c:pt idx="7">
                  <c:v>-0.4122103855861283</c:v>
                </c:pt>
                <c:pt idx="8">
                  <c:v>-0.09317593441711836</c:v>
                </c:pt>
                <c:pt idx="9">
                  <c:v>0.14838948887757297</c:v>
                </c:pt>
                <c:pt idx="10">
                  <c:v>-0.6956282982120037</c:v>
                </c:pt>
                <c:pt idx="11">
                  <c:v>0.174720483908870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93.43</c:v>
                </c:pt>
                <c:pt idx="4">
                  <c:v>Av Price/Unit 29.25</c:v>
                </c:pt>
                <c:pt idx="5">
                  <c:v>Av Price/Unit 29.59</c:v>
                </c:pt>
                <c:pt idx="6">
                  <c:v>Av Price/Unit 37.17</c:v>
                </c:pt>
                <c:pt idx="7">
                  <c:v>Av Price/Unit 30.16</c:v>
                </c:pt>
                <c:pt idx="8">
                  <c:v>Av Price/Unit 42.09</c:v>
                </c:pt>
                <c:pt idx="9">
                  <c:v>Av Price/Unit 30.42</c:v>
                </c:pt>
                <c:pt idx="10">
                  <c:v>Av Price/Unit 29.14</c:v>
                </c:pt>
                <c:pt idx="11">
                  <c:v>Av Price/Unit 97.96</c:v>
                </c:pt>
              </c:strCache>
            </c:strRef>
          </c:cat>
          <c:val>
            <c:numRef>
              <c:f>Sheet1!$E$2:$E$13</c:f>
              <c:numCache>
                <c:formatCode>General</c:formatCode>
                <c:ptCount val="12"/>
                <c:pt idx="0">
                  <c:v>9.008663201386101</c:v>
                </c:pt>
                <c:pt idx="1">
                  <c:v>3.543206286719751</c:v>
                </c:pt>
                <c:pt idx="2">
                  <c:v>7.714603944178733</c:v>
                </c:pt>
                <c:pt idx="3">
                  <c:v>15.57202234941401</c:v>
                </c:pt>
                <c:pt idx="4">
                  <c:v>4.875574838212958</c:v>
                </c:pt>
                <c:pt idx="5">
                  <c:v>4.931452667364017</c:v>
                </c:pt>
                <c:pt idx="6">
                  <c:v>6.1947940010343</c:v>
                </c:pt>
                <c:pt idx="7">
                  <c:v>5.026526226353798</c:v>
                </c:pt>
                <c:pt idx="8">
                  <c:v>7.015596776434622</c:v>
                </c:pt>
                <c:pt idx="9">
                  <c:v>5.070555272542028</c:v>
                </c:pt>
                <c:pt idx="10">
                  <c:v>4.855874840357597</c:v>
                </c:pt>
                <c:pt idx="11">
                  <c:v>16.32616866337795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93.66</c:v>
                </c:pt>
                <c:pt idx="4">
                  <c:v>Av Price/Unit 29.31</c:v>
                </c:pt>
                <c:pt idx="5">
                  <c:v>Av Price/Unit 29.64</c:v>
                </c:pt>
                <c:pt idx="6">
                  <c:v>Av Price/Unit 30.21</c:v>
                </c:pt>
                <c:pt idx="7">
                  <c:v>Av Price/Unit 37.33</c:v>
                </c:pt>
                <c:pt idx="8">
                  <c:v>Av Price/Unit 42.06</c:v>
                </c:pt>
                <c:pt idx="9">
                  <c:v>Av Price/Unit 30.43</c:v>
                </c:pt>
                <c:pt idx="10">
                  <c:v>Av Price/Unit 98.00</c:v>
                </c:pt>
                <c:pt idx="11">
                  <c:v>Av Price/Unit 37.41</c:v>
                </c:pt>
              </c:strCache>
            </c:strRef>
          </c:cat>
          <c:val>
            <c:numRef>
              <c:f>Sheet1!$B$2:$B$13</c:f>
              <c:numCache>
                <c:formatCode>General</c:formatCode>
                <c:ptCount val="12"/>
                <c:pt idx="0">
                  <c:v>18.186566998862343</c:v>
                </c:pt>
                <c:pt idx="1">
                  <c:v>3.6061959679541538</c:v>
                </c:pt>
                <c:pt idx="2">
                  <c:v>15.824029539951576</c:v>
                </c:pt>
                <c:pt idx="3">
                  <c:v>30.20870949152543</c:v>
                </c:pt>
                <c:pt idx="4">
                  <c:v>10.088208180240128</c:v>
                </c:pt>
                <c:pt idx="5">
                  <c:v>10.726425436111525</c:v>
                </c:pt>
                <c:pt idx="6">
                  <c:v>11.442508632702923</c:v>
                </c:pt>
                <c:pt idx="7">
                  <c:v>12.781303416300634</c:v>
                </c:pt>
                <c:pt idx="8">
                  <c:v>14.66250525367341</c:v>
                </c:pt>
                <c:pt idx="9">
                  <c:v>11.356629487437186</c:v>
                </c:pt>
                <c:pt idx="10">
                  <c:v>31.72265995075913</c:v>
                </c:pt>
                <c:pt idx="11">
                  <c:v>13.2373504587155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93.66</c:v>
                </c:pt>
                <c:pt idx="4">
                  <c:v>Av Price/Unit 29.31</c:v>
                </c:pt>
                <c:pt idx="5">
                  <c:v>Av Price/Unit 29.64</c:v>
                </c:pt>
                <c:pt idx="6">
                  <c:v>Av Price/Unit 30.21</c:v>
                </c:pt>
                <c:pt idx="7">
                  <c:v>Av Price/Unit 37.33</c:v>
                </c:pt>
                <c:pt idx="8">
                  <c:v>Av Price/Unit 42.06</c:v>
                </c:pt>
                <c:pt idx="9">
                  <c:v>Av Price/Unit 30.43</c:v>
                </c:pt>
                <c:pt idx="10">
                  <c:v>Av Price/Unit 98.00</c:v>
                </c:pt>
                <c:pt idx="11">
                  <c:v>Av Price/Unit 37.41</c:v>
                </c:pt>
              </c:strCache>
            </c:strRef>
          </c:cat>
          <c:val>
            <c:numRef>
              <c:f>Sheet1!$C$2:$C$13</c:f>
              <c:numCache>
                <c:formatCode>General</c:formatCode>
                <c:ptCount val="12"/>
                <c:pt idx="0">
                  <c:v>27.85642326734926</c:v>
                </c:pt>
                <c:pt idx="1">
                  <c:v>13.400387494517704</c:v>
                </c:pt>
                <c:pt idx="2">
                  <c:v>22.31561162227603</c:v>
                </c:pt>
                <c:pt idx="3">
                  <c:v>47.716115932203394</c:v>
                </c:pt>
                <c:pt idx="4">
                  <c:v>15.282159272385362</c:v>
                </c:pt>
                <c:pt idx="5">
                  <c:v>14.21755377963322</c:v>
                </c:pt>
                <c:pt idx="6">
                  <c:v>14.09585837480771</c:v>
                </c:pt>
                <c:pt idx="7">
                  <c:v>18.345093923865296</c:v>
                </c:pt>
                <c:pt idx="8">
                  <c:v>20.56876599667314</c:v>
                </c:pt>
                <c:pt idx="9">
                  <c:v>13.892394482412058</c:v>
                </c:pt>
                <c:pt idx="10">
                  <c:v>49.753360279031604</c:v>
                </c:pt>
                <c:pt idx="11">
                  <c:v>17.0918688073394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93.66</c:v>
                </c:pt>
                <c:pt idx="4">
                  <c:v>Av Price/Unit 29.31</c:v>
                </c:pt>
                <c:pt idx="5">
                  <c:v>Av Price/Unit 29.64</c:v>
                </c:pt>
                <c:pt idx="6">
                  <c:v>Av Price/Unit 30.21</c:v>
                </c:pt>
                <c:pt idx="7">
                  <c:v>Av Price/Unit 37.33</c:v>
                </c:pt>
                <c:pt idx="8">
                  <c:v>Av Price/Unit 42.06</c:v>
                </c:pt>
                <c:pt idx="9">
                  <c:v>Av Price/Unit 30.43</c:v>
                </c:pt>
                <c:pt idx="10">
                  <c:v>Av Price/Unit 98.00</c:v>
                </c:pt>
                <c:pt idx="11">
                  <c:v>Av Price/Unit 37.41</c:v>
                </c:pt>
              </c:strCache>
            </c:strRef>
          </c:cat>
          <c:val>
            <c:numRef>
              <c:f>Sheet1!$D$2:$D$13</c:f>
              <c:numCache>
                <c:formatCode>General</c:formatCode>
                <c:ptCount val="12"/>
                <c:pt idx="0">
                  <c:v>-0.9807712870686345</c:v>
                </c:pt>
                <c:pt idx="1">
                  <c:v>0.7809324971004727</c:v>
                </c:pt>
                <c:pt idx="2">
                  <c:v>0.2530587772397226</c:v>
                </c:pt>
                <c:pt idx="3">
                  <c:v>0.1289881355932181</c:v>
                </c:pt>
                <c:pt idx="4">
                  <c:v>-0.9435628815275585</c:v>
                </c:pt>
                <c:pt idx="5">
                  <c:v>-0.24007809005516378</c:v>
                </c:pt>
                <c:pt idx="6">
                  <c:v>-0.36040422887823453</c:v>
                </c:pt>
                <c:pt idx="7">
                  <c:v>-0.013964446071248915</c:v>
                </c:pt>
                <c:pt idx="8">
                  <c:v>-0.18310102578319487</c:v>
                </c:pt>
                <c:pt idx="9">
                  <c:v>0.10943499162479497</c:v>
                </c:pt>
                <c:pt idx="10">
                  <c:v>0.1937239912460882</c:v>
                </c:pt>
                <c:pt idx="11">
                  <c:v>0.849600727617836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93.66</c:v>
                </c:pt>
                <c:pt idx="4">
                  <c:v>Av Price/Unit 29.31</c:v>
                </c:pt>
                <c:pt idx="5">
                  <c:v>Av Price/Unit 29.64</c:v>
                </c:pt>
                <c:pt idx="6">
                  <c:v>Av Price/Unit 30.21</c:v>
                </c:pt>
                <c:pt idx="7">
                  <c:v>Av Price/Unit 37.33</c:v>
                </c:pt>
                <c:pt idx="8">
                  <c:v>Av Price/Unit 42.06</c:v>
                </c:pt>
                <c:pt idx="9">
                  <c:v>Av Price/Unit 30.43</c:v>
                </c:pt>
                <c:pt idx="10">
                  <c:v>Av Price/Unit 98.00</c:v>
                </c:pt>
                <c:pt idx="11">
                  <c:v>Av Price/Unit 37.41</c:v>
                </c:pt>
              </c:strCache>
            </c:strRef>
          </c:cat>
          <c:val>
            <c:numRef>
              <c:f>Sheet1!$E$2:$E$13</c:f>
              <c:numCache>
                <c:formatCode>General</c:formatCode>
                <c:ptCount val="12"/>
                <c:pt idx="0">
                  <c:v>9.012438376943493</c:v>
                </c:pt>
                <c:pt idx="1">
                  <c:v>3.5575031919144653</c:v>
                </c:pt>
                <c:pt idx="2">
                  <c:v>7.678533595641638</c:v>
                </c:pt>
                <c:pt idx="3">
                  <c:v>15.610762711864417</c:v>
                </c:pt>
                <c:pt idx="4">
                  <c:v>4.885360914219587</c:v>
                </c:pt>
                <c:pt idx="5">
                  <c:v>4.94077083643954</c:v>
                </c:pt>
                <c:pt idx="6">
                  <c:v>5.0355925557264785</c:v>
                </c:pt>
                <c:pt idx="7">
                  <c:v>6.222486578818929</c:v>
                </c:pt>
                <c:pt idx="8">
                  <c:v>7.00963404491267</c:v>
                </c:pt>
                <c:pt idx="9">
                  <c:v>5.071691792294803</c:v>
                </c:pt>
                <c:pt idx="10">
                  <c:v>16.333948844207352</c:v>
                </c:pt>
                <c:pt idx="11">
                  <c:v>6.23576399873457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93.25</c:v>
                </c:pt>
                <c:pt idx="4">
                  <c:v>Av Price/Unit 41.84</c:v>
                </c:pt>
                <c:pt idx="5">
                  <c:v>Av Price/Unit 29.28</c:v>
                </c:pt>
                <c:pt idx="6">
                  <c:v>Av Price/Unit 29.62</c:v>
                </c:pt>
                <c:pt idx="7">
                  <c:v>Av Price/Unit 36.99</c:v>
                </c:pt>
                <c:pt idx="8">
                  <c:v>Av Price/Unit 30.37</c:v>
                </c:pt>
                <c:pt idx="9">
                  <c:v>Av Price/Unit 29.93</c:v>
                </c:pt>
                <c:pt idx="10">
                  <c:v>Av Price/Unit 28.98</c:v>
                </c:pt>
                <c:pt idx="11">
                  <c:v>Av Price/Unit 60.44</c:v>
                </c:pt>
              </c:strCache>
            </c:strRef>
          </c:cat>
          <c:val>
            <c:numRef>
              <c:f>Sheet1!$B$2:$B$13</c:f>
              <c:numCache>
                <c:formatCode>General</c:formatCode>
                <c:ptCount val="12"/>
                <c:pt idx="0">
                  <c:v>18.187811118575745</c:v>
                </c:pt>
                <c:pt idx="1">
                  <c:v>3.602728967194838</c:v>
                </c:pt>
                <c:pt idx="2">
                  <c:v>15.860385651629073</c:v>
                </c:pt>
                <c:pt idx="3">
                  <c:v>29.950301491795123</c:v>
                </c:pt>
                <c:pt idx="4">
                  <c:v>14.70209677419355</c:v>
                </c:pt>
                <c:pt idx="5">
                  <c:v>10.041612713983458</c:v>
                </c:pt>
                <c:pt idx="6">
                  <c:v>10.72252910372608</c:v>
                </c:pt>
                <c:pt idx="7">
                  <c:v>12.780006652959319</c:v>
                </c:pt>
                <c:pt idx="8">
                  <c:v>11.304310708310098</c:v>
                </c:pt>
                <c:pt idx="9">
                  <c:v>11.443250158730159</c:v>
                </c:pt>
                <c:pt idx="10">
                  <c:v>11.12128888888889</c:v>
                </c:pt>
                <c:pt idx="11">
                  <c:v>20.12156973684210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93.25</c:v>
                </c:pt>
                <c:pt idx="4">
                  <c:v>Av Price/Unit 41.84</c:v>
                </c:pt>
                <c:pt idx="5">
                  <c:v>Av Price/Unit 29.28</c:v>
                </c:pt>
                <c:pt idx="6">
                  <c:v>Av Price/Unit 29.62</c:v>
                </c:pt>
                <c:pt idx="7">
                  <c:v>Av Price/Unit 36.99</c:v>
                </c:pt>
                <c:pt idx="8">
                  <c:v>Av Price/Unit 30.37</c:v>
                </c:pt>
                <c:pt idx="9">
                  <c:v>Av Price/Unit 29.93</c:v>
                </c:pt>
                <c:pt idx="10">
                  <c:v>Av Price/Unit 28.98</c:v>
                </c:pt>
                <c:pt idx="11">
                  <c:v>Av Price/Unit 60.44</c:v>
                </c:pt>
              </c:strCache>
            </c:strRef>
          </c:cat>
          <c:val>
            <c:numRef>
              <c:f>Sheet1!$C$2:$C$13</c:f>
              <c:numCache>
                <c:formatCode>General</c:formatCode>
                <c:ptCount val="12"/>
                <c:pt idx="0">
                  <c:v>27.852558784010746</c:v>
                </c:pt>
                <c:pt idx="1">
                  <c:v>13.405856012027433</c:v>
                </c:pt>
                <c:pt idx="2">
                  <c:v>22.313677443609023</c:v>
                </c:pt>
                <c:pt idx="3">
                  <c:v>47.84284435604177</c:v>
                </c:pt>
                <c:pt idx="4">
                  <c:v>20.57025806451613</c:v>
                </c:pt>
                <c:pt idx="5">
                  <c:v>15.336995018272741</c:v>
                </c:pt>
                <c:pt idx="6">
                  <c:v>14.219792467270896</c:v>
                </c:pt>
                <c:pt idx="7">
                  <c:v>18.34552067851373</c:v>
                </c:pt>
                <c:pt idx="8">
                  <c:v>13.902699525934187</c:v>
                </c:pt>
                <c:pt idx="9">
                  <c:v>14.096640952380952</c:v>
                </c:pt>
                <c:pt idx="10">
                  <c:v>13.884033333333333</c:v>
                </c:pt>
                <c:pt idx="11">
                  <c:v>29.20541250000000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93.25</c:v>
                </c:pt>
                <c:pt idx="4">
                  <c:v>Av Price/Unit 41.84</c:v>
                </c:pt>
                <c:pt idx="5">
                  <c:v>Av Price/Unit 29.28</c:v>
                </c:pt>
                <c:pt idx="6">
                  <c:v>Av Price/Unit 29.62</c:v>
                </c:pt>
                <c:pt idx="7">
                  <c:v>Av Price/Unit 36.99</c:v>
                </c:pt>
                <c:pt idx="8">
                  <c:v>Av Price/Unit 30.37</c:v>
                </c:pt>
                <c:pt idx="9">
                  <c:v>Av Price/Unit 29.93</c:v>
                </c:pt>
                <c:pt idx="10">
                  <c:v>Av Price/Unit 28.98</c:v>
                </c:pt>
                <c:pt idx="11">
                  <c:v>Av Price/Unit 60.44</c:v>
                </c:pt>
              </c:strCache>
            </c:strRef>
          </c:cat>
          <c:val>
            <c:numRef>
              <c:f>Sheet1!$D$2:$D$13</c:f>
              <c:numCache>
                <c:formatCode>General</c:formatCode>
                <c:ptCount val="12"/>
                <c:pt idx="0">
                  <c:v>-0.8995874612771999</c:v>
                </c:pt>
                <c:pt idx="1">
                  <c:v>0.6986010743606208</c:v>
                </c:pt>
                <c:pt idx="2">
                  <c:v>-0.12383970044157877</c:v>
                </c:pt>
                <c:pt idx="3">
                  <c:v>-0.08222259240841368</c:v>
                </c:pt>
                <c:pt idx="4">
                  <c:v>-0.4080641692681155</c:v>
                </c:pt>
                <c:pt idx="5">
                  <c:v>-0.9755975379880759</c:v>
                </c:pt>
                <c:pt idx="6">
                  <c:v>-0.26083728432359976</c:v>
                </c:pt>
                <c:pt idx="7">
                  <c:v>-0.29855812405149607</c:v>
                </c:pt>
                <c:pt idx="8">
                  <c:v>0.10101635062279257</c:v>
                </c:pt>
                <c:pt idx="9">
                  <c:v>-0.594364415584419</c:v>
                </c:pt>
                <c:pt idx="10">
                  <c:v>-0.8523295671198525</c:v>
                </c:pt>
                <c:pt idx="11">
                  <c:v>1.03877590852130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93.25</c:v>
                </c:pt>
                <c:pt idx="4">
                  <c:v>Av Price/Unit 41.84</c:v>
                </c:pt>
                <c:pt idx="5">
                  <c:v>Av Price/Unit 29.28</c:v>
                </c:pt>
                <c:pt idx="6">
                  <c:v>Av Price/Unit 29.62</c:v>
                </c:pt>
                <c:pt idx="7">
                  <c:v>Av Price/Unit 36.99</c:v>
                </c:pt>
                <c:pt idx="8">
                  <c:v>Av Price/Unit 30.37</c:v>
                </c:pt>
                <c:pt idx="9">
                  <c:v>Av Price/Unit 29.93</c:v>
                </c:pt>
                <c:pt idx="10">
                  <c:v>Av Price/Unit 28.98</c:v>
                </c:pt>
                <c:pt idx="11">
                  <c:v>Av Price/Unit 60.44</c:v>
                </c:pt>
              </c:strCache>
            </c:strRef>
          </c:cat>
          <c:val>
            <c:numRef>
              <c:f>Sheet1!$E$2:$E$13</c:f>
              <c:numCache>
                <c:formatCode>General</c:formatCode>
                <c:ptCount val="12"/>
                <c:pt idx="0">
                  <c:v>9.028151009592053</c:v>
                </c:pt>
                <c:pt idx="1">
                  <c:v>3.5414372107165764</c:v>
                </c:pt>
                <c:pt idx="2">
                  <c:v>7.61003699725504</c:v>
                </c:pt>
                <c:pt idx="3">
                  <c:v>15.5421846510857</c:v>
                </c:pt>
                <c:pt idx="4">
                  <c:v>6.972858133888308</c:v>
                </c:pt>
                <c:pt idx="5">
                  <c:v>4.880602038853626</c:v>
                </c:pt>
                <c:pt idx="6">
                  <c:v>4.936287344746558</c:v>
                </c:pt>
                <c:pt idx="7">
                  <c:v>6.165393841484309</c:v>
                </c:pt>
                <c:pt idx="8">
                  <c:v>5.061605316973412</c:v>
                </c:pt>
                <c:pt idx="9">
                  <c:v>4.989105339105339</c:v>
                </c:pt>
                <c:pt idx="10">
                  <c:v>4.830598531020468</c:v>
                </c:pt>
                <c:pt idx="11">
                  <c:v>10.07315162907268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93.45</c:v>
                </c:pt>
                <c:pt idx="5">
                  <c:v>Av Price/Unit 29.66</c:v>
                </c:pt>
                <c:pt idx="6">
                  <c:v>Av Price/Unit 42.17</c:v>
                </c:pt>
                <c:pt idx="7">
                  <c:v>Av Price/Unit 37.17</c:v>
                </c:pt>
                <c:pt idx="8">
                  <c:v>Av Price/Unit 30.17</c:v>
                </c:pt>
                <c:pt idx="9">
                  <c:v>Av Price/Unit 30.45</c:v>
                </c:pt>
                <c:pt idx="10">
                  <c:v>Av Price/Unit 29.15</c:v>
                </c:pt>
                <c:pt idx="11">
                  <c:v>Av Price/Unit 45.45</c:v>
                </c:pt>
              </c:strCache>
            </c:strRef>
          </c:cat>
          <c:val>
            <c:numRef>
              <c:f>Sheet1!$B$2:$B$13</c:f>
              <c:numCache>
                <c:formatCode>General</c:formatCode>
                <c:ptCount val="12"/>
                <c:pt idx="0">
                  <c:v>18.186456707247693</c:v>
                </c:pt>
                <c:pt idx="1">
                  <c:v>3.601073810785041</c:v>
                </c:pt>
                <c:pt idx="2">
                  <c:v>15.85064746720173</c:v>
                </c:pt>
                <c:pt idx="3">
                  <c:v>10.075775032754201</c:v>
                </c:pt>
                <c:pt idx="4">
                  <c:v>30.069014140761926</c:v>
                </c:pt>
                <c:pt idx="5">
                  <c:v>10.710940945674043</c:v>
                </c:pt>
                <c:pt idx="6">
                  <c:v>14.624497382836275</c:v>
                </c:pt>
                <c:pt idx="7">
                  <c:v>12.78107721127849</c:v>
                </c:pt>
                <c:pt idx="8">
                  <c:v>11.442031177143825</c:v>
                </c:pt>
                <c:pt idx="9">
                  <c:v>11.294494046495666</c:v>
                </c:pt>
                <c:pt idx="10">
                  <c:v>11.121067275510205</c:v>
                </c:pt>
                <c:pt idx="11">
                  <c:v>15.07983681062033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93.45</c:v>
                </c:pt>
                <c:pt idx="5">
                  <c:v>Av Price/Unit 29.66</c:v>
                </c:pt>
                <c:pt idx="6">
                  <c:v>Av Price/Unit 42.17</c:v>
                </c:pt>
                <c:pt idx="7">
                  <c:v>Av Price/Unit 37.17</c:v>
                </c:pt>
                <c:pt idx="8">
                  <c:v>Av Price/Unit 30.17</c:v>
                </c:pt>
                <c:pt idx="9">
                  <c:v>Av Price/Unit 30.45</c:v>
                </c:pt>
                <c:pt idx="10">
                  <c:v>Av Price/Unit 29.15</c:v>
                </c:pt>
                <c:pt idx="11">
                  <c:v>Av Price/Unit 45.45</c:v>
                </c:pt>
              </c:strCache>
            </c:strRef>
          </c:cat>
          <c:val>
            <c:numRef>
              <c:f>Sheet1!$C$2:$C$13</c:f>
              <c:numCache>
                <c:formatCode>General</c:formatCode>
                <c:ptCount val="12"/>
                <c:pt idx="0">
                  <c:v>27.85676585504608</c:v>
                </c:pt>
                <c:pt idx="1">
                  <c:v>13.408466698449693</c:v>
                </c:pt>
                <c:pt idx="2">
                  <c:v>22.31419552400062</c:v>
                </c:pt>
                <c:pt idx="3">
                  <c:v>15.296791187695813</c:v>
                </c:pt>
                <c:pt idx="4">
                  <c:v>47.784625311318145</c:v>
                </c:pt>
                <c:pt idx="5">
                  <c:v>14.226450591786008</c:v>
                </c:pt>
                <c:pt idx="6">
                  <c:v>20.56733361112412</c:v>
                </c:pt>
                <c:pt idx="7">
                  <c:v>18.345168366164543</c:v>
                </c:pt>
                <c:pt idx="8">
                  <c:v>14.095354486880591</c:v>
                </c:pt>
                <c:pt idx="9">
                  <c:v>13.904633078836751</c:v>
                </c:pt>
                <c:pt idx="10">
                  <c:v>13.88374836734694</c:v>
                </c:pt>
                <c:pt idx="11">
                  <c:v>22.26825975579775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93.45</c:v>
                </c:pt>
                <c:pt idx="5">
                  <c:v>Av Price/Unit 29.66</c:v>
                </c:pt>
                <c:pt idx="6">
                  <c:v>Av Price/Unit 42.17</c:v>
                </c:pt>
                <c:pt idx="7">
                  <c:v>Av Price/Unit 37.17</c:v>
                </c:pt>
                <c:pt idx="8">
                  <c:v>Av Price/Unit 30.17</c:v>
                </c:pt>
                <c:pt idx="9">
                  <c:v>Av Price/Unit 30.45</c:v>
                </c:pt>
                <c:pt idx="10">
                  <c:v>Av Price/Unit 29.15</c:v>
                </c:pt>
                <c:pt idx="11">
                  <c:v>Av Price/Unit 45.45</c:v>
                </c:pt>
              </c:strCache>
            </c:strRef>
          </c:cat>
          <c:val>
            <c:numRef>
              <c:f>Sheet1!$D$2:$D$13</c:f>
              <c:numCache>
                <c:formatCode>General</c:formatCode>
                <c:ptCount val="12"/>
                <c:pt idx="0">
                  <c:v>-1.0600568488388191</c:v>
                </c:pt>
                <c:pt idx="1">
                  <c:v>0.758555216536589</c:v>
                </c:pt>
                <c:pt idx="2">
                  <c:v>0.2328373596748463</c:v>
                </c:pt>
                <c:pt idx="3">
                  <c:v>-0.9430352226336254</c:v>
                </c:pt>
                <c:pt idx="4">
                  <c:v>0.018635553300754282</c:v>
                </c:pt>
                <c:pt idx="5">
                  <c:v>-0.22455560914506023</c:v>
                </c:pt>
                <c:pt idx="6">
                  <c:v>-0.046146895141781386</c:v>
                </c:pt>
                <c:pt idx="7">
                  <c:v>-0.14949922893152845</c:v>
                </c:pt>
                <c:pt idx="8">
                  <c:v>-0.3992680202902221</c:v>
                </c:pt>
                <c:pt idx="9">
                  <c:v>0.17182309056074985</c:v>
                </c:pt>
                <c:pt idx="10">
                  <c:v>-0.713489112244897</c:v>
                </c:pt>
                <c:pt idx="11">
                  <c:v>0.52858676281788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32</c:v>
                </c:pt>
                <c:pt idx="2">
                  <c:v>Av Price/Unit 46.08</c:v>
                </c:pt>
                <c:pt idx="3">
                  <c:v>Av Price/Unit 29.32</c:v>
                </c:pt>
                <c:pt idx="4">
                  <c:v>Av Price/Unit 93.45</c:v>
                </c:pt>
                <c:pt idx="5">
                  <c:v>Av Price/Unit 29.66</c:v>
                </c:pt>
                <c:pt idx="6">
                  <c:v>Av Price/Unit 42.17</c:v>
                </c:pt>
                <c:pt idx="7">
                  <c:v>Av Price/Unit 37.17</c:v>
                </c:pt>
                <c:pt idx="8">
                  <c:v>Av Price/Unit 30.17</c:v>
                </c:pt>
                <c:pt idx="9">
                  <c:v>Av Price/Unit 30.45</c:v>
                </c:pt>
                <c:pt idx="10">
                  <c:v>Av Price/Unit 29.15</c:v>
                </c:pt>
                <c:pt idx="11">
                  <c:v>Av Price/Unit 45.45</c:v>
                </c:pt>
              </c:strCache>
            </c:strRef>
          </c:cat>
          <c:val>
            <c:numRef>
              <c:f>Sheet1!$E$2:$E$13</c:f>
              <c:numCache>
                <c:formatCode>General</c:formatCode>
                <c:ptCount val="12"/>
                <c:pt idx="0">
                  <c:v>8.996627729105823</c:v>
                </c:pt>
                <c:pt idx="1">
                  <c:v>3.5536191451542654</c:v>
                </c:pt>
                <c:pt idx="2">
                  <c:v>7.6795287338581035</c:v>
                </c:pt>
                <c:pt idx="3">
                  <c:v>4.885906199563279</c:v>
                </c:pt>
                <c:pt idx="4">
                  <c:v>15.574455001076158</c:v>
                </c:pt>
                <c:pt idx="5">
                  <c:v>4.942557304611981</c:v>
                </c:pt>
                <c:pt idx="6">
                  <c:v>7.0291368197637185</c:v>
                </c:pt>
                <c:pt idx="7">
                  <c:v>6.195349269702303</c:v>
                </c:pt>
                <c:pt idx="8">
                  <c:v>5.027623528746837</c:v>
                </c:pt>
                <c:pt idx="9">
                  <c:v>5.074190043178632</c:v>
                </c:pt>
                <c:pt idx="10">
                  <c:v>4.858265306122446</c:v>
                </c:pt>
                <c:pt idx="11">
                  <c:v>7.57533666584719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93.47</c:v>
                </c:pt>
                <c:pt idx="4">
                  <c:v>Av Price/Unit 29.27</c:v>
                </c:pt>
                <c:pt idx="5">
                  <c:v>Av Price/Unit 29.60</c:v>
                </c:pt>
                <c:pt idx="6">
                  <c:v>Av Price/Unit 42.05</c:v>
                </c:pt>
                <c:pt idx="7">
                  <c:v>Av Price/Unit 37.16</c:v>
                </c:pt>
                <c:pt idx="8">
                  <c:v>Av Price/Unit 30.10</c:v>
                </c:pt>
                <c:pt idx="9">
                  <c:v>Av Price/Unit 30.45</c:v>
                </c:pt>
                <c:pt idx="10">
                  <c:v>Av Price/Unit 98.09</c:v>
                </c:pt>
                <c:pt idx="11">
                  <c:v>Av Price/Unit 29.12</c:v>
                </c:pt>
              </c:strCache>
            </c:strRef>
          </c:cat>
          <c:val>
            <c:numRef>
              <c:f>Sheet1!$B$2:$B$13</c:f>
              <c:numCache>
                <c:formatCode>General</c:formatCode>
                <c:ptCount val="12"/>
                <c:pt idx="0">
                  <c:v>18.183700159560466</c:v>
                </c:pt>
                <c:pt idx="1">
                  <c:v>3.6043271779713746</c:v>
                </c:pt>
                <c:pt idx="2">
                  <c:v>15.840063378110232</c:v>
                </c:pt>
                <c:pt idx="3">
                  <c:v>30.08125896652068</c:v>
                </c:pt>
                <c:pt idx="4">
                  <c:v>10.084361500783702</c:v>
                </c:pt>
                <c:pt idx="5">
                  <c:v>10.723691123038812</c:v>
                </c:pt>
                <c:pt idx="6">
                  <c:v>14.644514153224035</c:v>
                </c:pt>
                <c:pt idx="7">
                  <c:v>12.784544722280884</c:v>
                </c:pt>
                <c:pt idx="8">
                  <c:v>11.443937414565607</c:v>
                </c:pt>
                <c:pt idx="9">
                  <c:v>11.320845365343633</c:v>
                </c:pt>
                <c:pt idx="10">
                  <c:v>31.67239175579322</c:v>
                </c:pt>
                <c:pt idx="11">
                  <c:v>11.10519049056074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93.47</c:v>
                </c:pt>
                <c:pt idx="4">
                  <c:v>Av Price/Unit 29.27</c:v>
                </c:pt>
                <c:pt idx="5">
                  <c:v>Av Price/Unit 29.60</c:v>
                </c:pt>
                <c:pt idx="6">
                  <c:v>Av Price/Unit 42.05</c:v>
                </c:pt>
                <c:pt idx="7">
                  <c:v>Av Price/Unit 37.16</c:v>
                </c:pt>
                <c:pt idx="8">
                  <c:v>Av Price/Unit 30.10</c:v>
                </c:pt>
                <c:pt idx="9">
                  <c:v>Av Price/Unit 30.45</c:v>
                </c:pt>
                <c:pt idx="10">
                  <c:v>Av Price/Unit 98.09</c:v>
                </c:pt>
                <c:pt idx="11">
                  <c:v>Av Price/Unit 29.12</c:v>
                </c:pt>
              </c:strCache>
            </c:strRef>
          </c:cat>
          <c:val>
            <c:numRef>
              <c:f>Sheet1!$C$2:$C$13</c:f>
              <c:numCache>
                <c:formatCode>General</c:formatCode>
                <c:ptCount val="12"/>
                <c:pt idx="0">
                  <c:v>27.865328240557965</c:v>
                </c:pt>
                <c:pt idx="1">
                  <c:v>13.403335146235221</c:v>
                </c:pt>
                <c:pt idx="2">
                  <c:v>22.31475860730039</c:v>
                </c:pt>
                <c:pt idx="3">
                  <c:v>47.778620205167385</c:v>
                </c:pt>
                <c:pt idx="4">
                  <c:v>15.286686226489023</c:v>
                </c:pt>
                <c:pt idx="5">
                  <c:v>14.21912481420314</c:v>
                </c:pt>
                <c:pt idx="6">
                  <c:v>20.56808797415499</c:v>
                </c:pt>
                <c:pt idx="7">
                  <c:v>18.344027235480464</c:v>
                </c:pt>
                <c:pt idx="8">
                  <c:v>14.097366255315915</c:v>
                </c:pt>
                <c:pt idx="9">
                  <c:v>13.899442753448351</c:v>
                </c:pt>
                <c:pt idx="10">
                  <c:v>49.774545306001166</c:v>
                </c:pt>
                <c:pt idx="11">
                  <c:v>13.86333288651835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93.47</c:v>
                </c:pt>
                <c:pt idx="4">
                  <c:v>Av Price/Unit 29.27</c:v>
                </c:pt>
                <c:pt idx="5">
                  <c:v>Av Price/Unit 29.60</c:v>
                </c:pt>
                <c:pt idx="6">
                  <c:v>Av Price/Unit 42.05</c:v>
                </c:pt>
                <c:pt idx="7">
                  <c:v>Av Price/Unit 37.16</c:v>
                </c:pt>
                <c:pt idx="8">
                  <c:v>Av Price/Unit 30.10</c:v>
                </c:pt>
                <c:pt idx="9">
                  <c:v>Av Price/Unit 30.45</c:v>
                </c:pt>
                <c:pt idx="10">
                  <c:v>Av Price/Unit 98.09</c:v>
                </c:pt>
                <c:pt idx="11">
                  <c:v>Av Price/Unit 29.12</c:v>
                </c:pt>
              </c:strCache>
            </c:strRef>
          </c:cat>
          <c:val>
            <c:numRef>
              <c:f>Sheet1!$D$2:$D$13</c:f>
              <c:numCache>
                <c:formatCode>General</c:formatCode>
                <c:ptCount val="12"/>
                <c:pt idx="0">
                  <c:v>-1.0128061683006564</c:v>
                </c:pt>
                <c:pt idx="1">
                  <c:v>0.724321876858184</c:v>
                </c:pt>
                <c:pt idx="2">
                  <c:v>0.23010382721160738</c:v>
                </c:pt>
                <c:pt idx="3">
                  <c:v>0.03054145086855442</c:v>
                </c:pt>
                <c:pt idx="4">
                  <c:v>-0.9825662374981334</c:v>
                </c:pt>
                <c:pt idx="5">
                  <c:v>-0.2757037562423861</c:v>
                </c:pt>
                <c:pt idx="6">
                  <c:v>-0.1725672571168957</c:v>
                </c:pt>
                <c:pt idx="7">
                  <c:v>-0.15780462231608539</c:v>
                </c:pt>
                <c:pt idx="8">
                  <c:v>-0.458163354976719</c:v>
                </c:pt>
                <c:pt idx="9">
                  <c:v>0.1571532023699298</c:v>
                </c:pt>
                <c:pt idx="10">
                  <c:v>0.29375416419092915</c:v>
                </c:pt>
                <c:pt idx="11">
                  <c:v>-0.705105281462248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93.47</c:v>
                </c:pt>
                <c:pt idx="4">
                  <c:v>Av Price/Unit 29.27</c:v>
                </c:pt>
                <c:pt idx="5">
                  <c:v>Av Price/Unit 29.60</c:v>
                </c:pt>
                <c:pt idx="6">
                  <c:v>Av Price/Unit 42.05</c:v>
                </c:pt>
                <c:pt idx="7">
                  <c:v>Av Price/Unit 37.16</c:v>
                </c:pt>
                <c:pt idx="8">
                  <c:v>Av Price/Unit 30.10</c:v>
                </c:pt>
                <c:pt idx="9">
                  <c:v>Av Price/Unit 30.45</c:v>
                </c:pt>
                <c:pt idx="10">
                  <c:v>Av Price/Unit 98.09</c:v>
                </c:pt>
                <c:pt idx="11">
                  <c:v>Av Price/Unit 29.12</c:v>
                </c:pt>
              </c:strCache>
            </c:strRef>
          </c:cat>
          <c:val>
            <c:numRef>
              <c:f>Sheet1!$E$2:$E$13</c:f>
              <c:numCache>
                <c:formatCode>General</c:formatCode>
                <c:ptCount val="12"/>
                <c:pt idx="0">
                  <c:v>9.007239165241028</c:v>
                </c:pt>
                <c:pt idx="1">
                  <c:v>3.546396840212961</c:v>
                </c:pt>
                <c:pt idx="2">
                  <c:v>7.67697820159598</c:v>
                </c:pt>
                <c:pt idx="3">
                  <c:v>15.578084124511358</c:v>
                </c:pt>
                <c:pt idx="4">
                  <c:v>4.877696297954913</c:v>
                </c:pt>
                <c:pt idx="5">
                  <c:v>4.933412960559949</c:v>
                </c:pt>
                <c:pt idx="6">
                  <c:v>7.008006974052421</c:v>
                </c:pt>
                <c:pt idx="7">
                  <c:v>6.194153467089055</c:v>
                </c:pt>
                <c:pt idx="8">
                  <c:v>5.016628062980967</c:v>
                </c:pt>
                <c:pt idx="9">
                  <c:v>5.075488264232386</c:v>
                </c:pt>
                <c:pt idx="10">
                  <c:v>16.348138245197063</c:v>
                </c:pt>
                <c:pt idx="11">
                  <c:v>4.85268361912337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354794B-26CB-4E63-87BD-EB17B88A5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C077AEF-42AF-4F8E-A52F-E7C79C349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2CD3E60-2317-44F3-BE3D-85FE95ADB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00821BC-1C25-4A5D-8C3C-0C7644443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2E535F4-414C-45DF-8CA6-8108D790B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3283D1F-387D-42C5-A081-0DF6BF5CD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6E1677D-1A44-4EB8-986F-E0E2C3D02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E8018CF-90B5-425C-97B1-01D471E3C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71.6935</c:v>
                </c:pt>
                <c:pt idx="1">
                  <c:v>144.6712</c:v>
                </c:pt>
                <c:pt idx="2">
                  <c:v>132.2875</c:v>
                </c:pt>
                <c:pt idx="3">
                  <c:v>157.7026</c:v>
                </c:pt>
                <c:pt idx="4">
                  <c:v>133.1331</c:v>
                </c:pt>
              </c:numCache>
            </c:numRef>
          </c:xVal>
          <c:yVal>
            <c:numRef>
              <c:f>Sheet1!$B$2:$B$6</c:f>
              <c:numCache>
                <c:formatCode>General</c:formatCode>
                <c:ptCount val="5"/>
                <c:pt idx="0">
                  <c:v>0.3739</c:v>
                </c:pt>
                <c:pt idx="1">
                  <c:v>0.3744</c:v>
                </c:pt>
                <c:pt idx="2">
                  <c:v>0.3835</c:v>
                </c:pt>
                <c:pt idx="3">
                  <c:v>0.3701</c:v>
                </c:pt>
                <c:pt idx="4">
                  <c:v>0.3796</c:v>
                </c:pt>
              </c:numCache>
            </c:numRef>
          </c:yVal>
          <c:bubbleSize>
            <c:numRef>
              <c:f>Sheet1!$C$2:$C$6</c:f>
              <c:numCache>
                <c:formatCode>General</c:formatCode>
                <c:ptCount val="5"/>
                <c:pt idx="0">
                  <c:v>230584.36370000016</c:v>
                </c:pt>
                <c:pt idx="1">
                  <c:v>123115.18150000004</c:v>
                </c:pt>
                <c:pt idx="2">
                  <c:v>726787.3473999999</c:v>
                </c:pt>
                <c:pt idx="3">
                  <c:v>309727.8476</c:v>
                </c:pt>
                <c:pt idx="4">
                  <c:v>356796.632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06.0322"/>
          <c:min val="105.8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7841942742506895"/>
        <c:crossBetween val="midCat"/>
      </c:valAx>
      <c:valAx>
        <c:axId val="1011451359"/>
        <c:scaling>
          <c:orientation val="minMax"/>
          <c:max val="0.8201999999999999"/>
          <c:min val="0.056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3.0398629545787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54.26</c:v>
                </c:pt>
                <c:pt idx="2">
                  <c:v>Av Price/Unit 46.07</c:v>
                </c:pt>
                <c:pt idx="3">
                  <c:v>Av Price/Unit 21.33</c:v>
                </c:pt>
                <c:pt idx="4">
                  <c:v>Av Price/Unit 41.92</c:v>
                </c:pt>
                <c:pt idx="5">
                  <c:v>Av Price/Unit 29.46</c:v>
                </c:pt>
                <c:pt idx="6">
                  <c:v>Av Price/Unit 30.55</c:v>
                </c:pt>
                <c:pt idx="7">
                  <c:v>Av Price/Unit 98.14</c:v>
                </c:pt>
                <c:pt idx="8">
                  <c:v>Av Price/Unit 37.26</c:v>
                </c:pt>
                <c:pt idx="9">
                  <c:v>Av Price/Unit 29.91</c:v>
                </c:pt>
                <c:pt idx="10">
                  <c:v>Av Price/Unit 57.52</c:v>
                </c:pt>
                <c:pt idx="11">
                  <c:v>Av Price/Unit 60.46</c:v>
                </c:pt>
              </c:strCache>
            </c:strRef>
          </c:cat>
          <c:val>
            <c:numRef>
              <c:f>Sheet1!$B$2:$B$13</c:f>
              <c:numCache>
                <c:formatCode>General</c:formatCode>
                <c:ptCount val="12"/>
                <c:pt idx="0">
                  <c:v>29.951883288312622</c:v>
                </c:pt>
                <c:pt idx="1">
                  <c:v>18.185763407214257</c:v>
                </c:pt>
                <c:pt idx="2">
                  <c:v>15.853434293948126</c:v>
                </c:pt>
                <c:pt idx="3">
                  <c:v>3.5979885625966</c:v>
                </c:pt>
                <c:pt idx="4">
                  <c:v>14.506429684975767</c:v>
                </c:pt>
                <c:pt idx="5">
                  <c:v>10.093124851419766</c:v>
                </c:pt>
                <c:pt idx="6">
                  <c:v>11.309679907264297</c:v>
                </c:pt>
                <c:pt idx="7">
                  <c:v>31.53569957142857</c:v>
                </c:pt>
                <c:pt idx="8">
                  <c:v>12.770112376779847</c:v>
                </c:pt>
                <c:pt idx="9">
                  <c:v>10.704660296096902</c:v>
                </c:pt>
                <c:pt idx="10">
                  <c:v>19.508916358839052</c:v>
                </c:pt>
                <c:pt idx="11">
                  <c:v>20.1550974041297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54.26</c:v>
                </c:pt>
                <c:pt idx="2">
                  <c:v>Av Price/Unit 46.07</c:v>
                </c:pt>
                <c:pt idx="3">
                  <c:v>Av Price/Unit 21.33</c:v>
                </c:pt>
                <c:pt idx="4">
                  <c:v>Av Price/Unit 41.92</c:v>
                </c:pt>
                <c:pt idx="5">
                  <c:v>Av Price/Unit 29.46</c:v>
                </c:pt>
                <c:pt idx="6">
                  <c:v>Av Price/Unit 30.55</c:v>
                </c:pt>
                <c:pt idx="7">
                  <c:v>Av Price/Unit 98.14</c:v>
                </c:pt>
                <c:pt idx="8">
                  <c:v>Av Price/Unit 37.26</c:v>
                </c:pt>
                <c:pt idx="9">
                  <c:v>Av Price/Unit 29.91</c:v>
                </c:pt>
                <c:pt idx="10">
                  <c:v>Av Price/Unit 57.52</c:v>
                </c:pt>
                <c:pt idx="11">
                  <c:v>Av Price/Unit 60.46</c:v>
                </c:pt>
              </c:strCache>
            </c:strRef>
          </c:cat>
          <c:val>
            <c:numRef>
              <c:f>Sheet1!$C$2:$C$13</c:f>
              <c:numCache>
                <c:formatCode>General</c:formatCode>
                <c:ptCount val="12"/>
                <c:pt idx="0">
                  <c:v>47.84206861156132</c:v>
                </c:pt>
                <c:pt idx="1">
                  <c:v>27.858919382877012</c:v>
                </c:pt>
                <c:pt idx="2">
                  <c:v>22.31404726224784</c:v>
                </c:pt>
                <c:pt idx="3">
                  <c:v>13.413333075734156</c:v>
                </c:pt>
                <c:pt idx="4">
                  <c:v>20.562884046849756</c:v>
                </c:pt>
                <c:pt idx="5">
                  <c:v>15.276373101474794</c:v>
                </c:pt>
                <c:pt idx="6">
                  <c:v>13.901641973945685</c:v>
                </c:pt>
                <c:pt idx="7">
                  <c:v>49.832152857142866</c:v>
                </c:pt>
                <c:pt idx="8">
                  <c:v>18.348776807228916</c:v>
                </c:pt>
                <c:pt idx="9">
                  <c:v>14.230059219380886</c:v>
                </c:pt>
                <c:pt idx="10">
                  <c:v>27.61438179419525</c:v>
                </c:pt>
                <c:pt idx="11">
                  <c:v>29.21421545722713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54.26</c:v>
                </c:pt>
                <c:pt idx="2">
                  <c:v>Av Price/Unit 46.07</c:v>
                </c:pt>
                <c:pt idx="3">
                  <c:v>Av Price/Unit 21.33</c:v>
                </c:pt>
                <c:pt idx="4">
                  <c:v>Av Price/Unit 41.92</c:v>
                </c:pt>
                <c:pt idx="5">
                  <c:v>Av Price/Unit 29.46</c:v>
                </c:pt>
                <c:pt idx="6">
                  <c:v>Av Price/Unit 30.55</c:v>
                </c:pt>
                <c:pt idx="7">
                  <c:v>Av Price/Unit 98.14</c:v>
                </c:pt>
                <c:pt idx="8">
                  <c:v>Av Price/Unit 37.26</c:v>
                </c:pt>
                <c:pt idx="9">
                  <c:v>Av Price/Unit 29.91</c:v>
                </c:pt>
                <c:pt idx="10">
                  <c:v>Av Price/Unit 57.52</c:v>
                </c:pt>
                <c:pt idx="11">
                  <c:v>Av Price/Unit 60.46</c:v>
                </c:pt>
              </c:strCache>
            </c:strRef>
          </c:cat>
          <c:val>
            <c:numRef>
              <c:f>Sheet1!$D$2:$D$13</c:f>
              <c:numCache>
                <c:formatCode>General</c:formatCode>
                <c:ptCount val="12"/>
                <c:pt idx="0">
                  <c:v>-0.04483730716124512</c:v>
                </c:pt>
                <c:pt idx="1">
                  <c:v>-0.8273590612777042</c:v>
                </c:pt>
                <c:pt idx="2">
                  <c:v>0.22752840217739134</c:v>
                </c:pt>
                <c:pt idx="3">
                  <c:v>0.7653112542217677</c:v>
                </c:pt>
                <c:pt idx="4">
                  <c:v>-0.1362900376952041</c:v>
                </c:pt>
                <c:pt idx="5">
                  <c:v>-0.8223925159586152</c:v>
                </c:pt>
                <c:pt idx="6">
                  <c:v>0.24757265032751974</c:v>
                </c:pt>
                <c:pt idx="7">
                  <c:v>0.4172666190476235</c:v>
                </c:pt>
                <c:pt idx="8">
                  <c:v>-0.07174606608250045</c:v>
                </c:pt>
                <c:pt idx="9">
                  <c:v>-0.006263249588755571</c:v>
                </c:pt>
                <c:pt idx="10">
                  <c:v>0.8120445910290286</c:v>
                </c:pt>
                <c:pt idx="11">
                  <c:v>1.015151248770898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54.26</c:v>
                </c:pt>
                <c:pt idx="2">
                  <c:v>Av Price/Unit 46.07</c:v>
                </c:pt>
                <c:pt idx="3">
                  <c:v>Av Price/Unit 21.33</c:v>
                </c:pt>
                <c:pt idx="4">
                  <c:v>Av Price/Unit 41.92</c:v>
                </c:pt>
                <c:pt idx="5">
                  <c:v>Av Price/Unit 29.46</c:v>
                </c:pt>
                <c:pt idx="6">
                  <c:v>Av Price/Unit 30.55</c:v>
                </c:pt>
                <c:pt idx="7">
                  <c:v>Av Price/Unit 98.14</c:v>
                </c:pt>
                <c:pt idx="8">
                  <c:v>Av Price/Unit 37.26</c:v>
                </c:pt>
                <c:pt idx="9">
                  <c:v>Av Price/Unit 29.91</c:v>
                </c:pt>
                <c:pt idx="10">
                  <c:v>Av Price/Unit 57.52</c:v>
                </c:pt>
                <c:pt idx="11">
                  <c:v>Av Price/Unit 60.46</c:v>
                </c:pt>
              </c:strCache>
            </c:strRef>
          </c:cat>
          <c:val>
            <c:numRef>
              <c:f>Sheet1!$E$2:$E$13</c:f>
              <c:numCache>
                <c:formatCode>General</c:formatCode>
                <c:ptCount val="12"/>
                <c:pt idx="0">
                  <c:v>15.549822918542512</c:v>
                </c:pt>
                <c:pt idx="1">
                  <c:v>9.043459365493264</c:v>
                </c:pt>
                <c:pt idx="2">
                  <c:v>7.67899455651617</c:v>
                </c:pt>
                <c:pt idx="3">
                  <c:v>3.5553265785105026</c:v>
                </c:pt>
                <c:pt idx="4">
                  <c:v>6.9866047388260615</c:v>
                </c:pt>
                <c:pt idx="5">
                  <c:v>4.909421087387189</c:v>
                </c:pt>
                <c:pt idx="6">
                  <c:v>5.091778906307501</c:v>
                </c:pt>
                <c:pt idx="7">
                  <c:v>16.357023809523806</c:v>
                </c:pt>
                <c:pt idx="8">
                  <c:v>6.209428623585245</c:v>
                </c:pt>
                <c:pt idx="9">
                  <c:v>4.9856811724241075</c:v>
                </c:pt>
                <c:pt idx="10">
                  <c:v>9.58707124010554</c:v>
                </c:pt>
                <c:pt idx="11">
                  <c:v>10.07689282202556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93.53</c:v>
                </c:pt>
                <c:pt idx="3">
                  <c:v>Av Price/Unit 45.89</c:v>
                </c:pt>
                <c:pt idx="4">
                  <c:v>Av Price/Unit 29.33</c:v>
                </c:pt>
                <c:pt idx="5">
                  <c:v>Av Price/Unit 41.97</c:v>
                </c:pt>
                <c:pt idx="6">
                  <c:v>Av Price/Unit 59.86</c:v>
                </c:pt>
                <c:pt idx="7">
                  <c:v>Av Price/Unit 97.95</c:v>
                </c:pt>
                <c:pt idx="8">
                  <c:v>Av Price/Unit 30.18</c:v>
                </c:pt>
                <c:pt idx="9">
                  <c:v>Av Price/Unit 29.36</c:v>
                </c:pt>
                <c:pt idx="10">
                  <c:v>Av Price/Unit 37.38</c:v>
                </c:pt>
                <c:pt idx="11">
                  <c:v>Av Price/Unit 45.54</c:v>
                </c:pt>
              </c:strCache>
            </c:strRef>
          </c:cat>
          <c:val>
            <c:numRef>
              <c:f>Sheet1!$B$2:$B$13</c:f>
              <c:numCache>
                <c:formatCode>General</c:formatCode>
                <c:ptCount val="12"/>
                <c:pt idx="0">
                  <c:v>18.173772398809042</c:v>
                </c:pt>
                <c:pt idx="1">
                  <c:v>3.616107404499053</c:v>
                </c:pt>
                <c:pt idx="2">
                  <c:v>30.08951263447013</c:v>
                </c:pt>
                <c:pt idx="3">
                  <c:v>15.797059640928332</c:v>
                </c:pt>
                <c:pt idx="4">
                  <c:v>10.166313997036239</c:v>
                </c:pt>
                <c:pt idx="5">
                  <c:v>14.839611304347825</c:v>
                </c:pt>
                <c:pt idx="6">
                  <c:v>20.14546042848141</c:v>
                </c:pt>
                <c:pt idx="7">
                  <c:v>31.696168976719008</c:v>
                </c:pt>
                <c:pt idx="8">
                  <c:v>11.4451852336048</c:v>
                </c:pt>
                <c:pt idx="9">
                  <c:v>10.749768686868688</c:v>
                </c:pt>
                <c:pt idx="10">
                  <c:v>12.803870080695217</c:v>
                </c:pt>
                <c:pt idx="11">
                  <c:v>15.0843383642828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93.53</c:v>
                </c:pt>
                <c:pt idx="3">
                  <c:v>Av Price/Unit 45.89</c:v>
                </c:pt>
                <c:pt idx="4">
                  <c:v>Av Price/Unit 29.33</c:v>
                </c:pt>
                <c:pt idx="5">
                  <c:v>Av Price/Unit 41.97</c:v>
                </c:pt>
                <c:pt idx="6">
                  <c:v>Av Price/Unit 59.86</c:v>
                </c:pt>
                <c:pt idx="7">
                  <c:v>Av Price/Unit 97.95</c:v>
                </c:pt>
                <c:pt idx="8">
                  <c:v>Av Price/Unit 30.18</c:v>
                </c:pt>
                <c:pt idx="9">
                  <c:v>Av Price/Unit 29.36</c:v>
                </c:pt>
                <c:pt idx="10">
                  <c:v>Av Price/Unit 37.38</c:v>
                </c:pt>
                <c:pt idx="11">
                  <c:v>Av Price/Unit 45.54</c:v>
                </c:pt>
              </c:strCache>
            </c:strRef>
          </c:cat>
          <c:val>
            <c:numRef>
              <c:f>Sheet1!$C$2:$C$13</c:f>
              <c:numCache>
                <c:formatCode>General</c:formatCode>
                <c:ptCount val="12"/>
                <c:pt idx="0">
                  <c:v>27.896165840508573</c:v>
                </c:pt>
                <c:pt idx="1">
                  <c:v>13.384754136449722</c:v>
                </c:pt>
                <c:pt idx="2">
                  <c:v>47.77457244220645</c:v>
                </c:pt>
                <c:pt idx="3">
                  <c:v>22.31704644577434</c:v>
                </c:pt>
                <c:pt idx="4">
                  <c:v>15.19024065741614</c:v>
                </c:pt>
                <c:pt idx="5">
                  <c:v>20.575440512820514</c:v>
                </c:pt>
                <c:pt idx="6">
                  <c:v>29.211685192186522</c:v>
                </c:pt>
                <c:pt idx="7">
                  <c:v>49.764524634542504</c:v>
                </c:pt>
                <c:pt idx="8">
                  <c:v>14.098683154736392</c:v>
                </c:pt>
                <c:pt idx="9">
                  <c:v>14.204141616161616</c:v>
                </c:pt>
                <c:pt idx="10">
                  <c:v>18.337667411545624</c:v>
                </c:pt>
                <c:pt idx="11">
                  <c:v>22.3264965626234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93.53</c:v>
                </c:pt>
                <c:pt idx="3">
                  <c:v>Av Price/Unit 45.89</c:v>
                </c:pt>
                <c:pt idx="4">
                  <c:v>Av Price/Unit 29.33</c:v>
                </c:pt>
                <c:pt idx="5">
                  <c:v>Av Price/Unit 41.97</c:v>
                </c:pt>
                <c:pt idx="6">
                  <c:v>Av Price/Unit 59.86</c:v>
                </c:pt>
                <c:pt idx="7">
                  <c:v>Av Price/Unit 97.95</c:v>
                </c:pt>
                <c:pt idx="8">
                  <c:v>Av Price/Unit 30.18</c:v>
                </c:pt>
                <c:pt idx="9">
                  <c:v>Av Price/Unit 29.36</c:v>
                </c:pt>
                <c:pt idx="10">
                  <c:v>Av Price/Unit 37.38</c:v>
                </c:pt>
                <c:pt idx="11">
                  <c:v>Av Price/Unit 45.54</c:v>
                </c:pt>
              </c:strCache>
            </c:strRef>
          </c:cat>
          <c:val>
            <c:numRef>
              <c:f>Sheet1!$D$2:$D$13</c:f>
              <c:numCache>
                <c:formatCode>General</c:formatCode>
                <c:ptCount val="12"/>
                <c:pt idx="0">
                  <c:v>-0.9278177087524497</c:v>
                </c:pt>
                <c:pt idx="1">
                  <c:v>0.6760519423529914</c:v>
                </c:pt>
                <c:pt idx="2">
                  <c:v>0.07804508278020705</c:v>
                </c:pt>
                <c:pt idx="3">
                  <c:v>0.12352630759500016</c:v>
                </c:pt>
                <c:pt idx="4">
                  <c:v>-0.9127089496609635</c:v>
                </c:pt>
                <c:pt idx="5">
                  <c:v>-0.4369767521367507</c:v>
                </c:pt>
                <c:pt idx="6">
                  <c:v>0.5265447805083099</c:v>
                </c:pt>
                <c:pt idx="7">
                  <c:v>0.16175720988991316</c:v>
                </c:pt>
                <c:pt idx="8">
                  <c:v>-0.3915251964566373</c:v>
                </c:pt>
                <c:pt idx="9">
                  <c:v>-0.48978177328843486</c:v>
                </c:pt>
                <c:pt idx="10">
                  <c:v>0.005007097041172415</c:v>
                </c:pt>
                <c:pt idx="11">
                  <c:v>0.536287422626109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1</c:v>
                </c:pt>
                <c:pt idx="2">
                  <c:v>Av Price/Unit 93.53</c:v>
                </c:pt>
                <c:pt idx="3">
                  <c:v>Av Price/Unit 45.89</c:v>
                </c:pt>
                <c:pt idx="4">
                  <c:v>Av Price/Unit 29.33</c:v>
                </c:pt>
                <c:pt idx="5">
                  <c:v>Av Price/Unit 41.97</c:v>
                </c:pt>
                <c:pt idx="6">
                  <c:v>Av Price/Unit 59.86</c:v>
                </c:pt>
                <c:pt idx="7">
                  <c:v>Av Price/Unit 97.95</c:v>
                </c:pt>
                <c:pt idx="8">
                  <c:v>Av Price/Unit 30.18</c:v>
                </c:pt>
                <c:pt idx="9">
                  <c:v>Av Price/Unit 29.36</c:v>
                </c:pt>
                <c:pt idx="10">
                  <c:v>Av Price/Unit 37.38</c:v>
                </c:pt>
                <c:pt idx="11">
                  <c:v>Av Price/Unit 45.54</c:v>
                </c:pt>
              </c:strCache>
            </c:strRef>
          </c:cat>
          <c:val>
            <c:numRef>
              <c:f>Sheet1!$E$2:$E$13</c:f>
              <c:numCache>
                <c:formatCode>General</c:formatCode>
                <c:ptCount val="12"/>
                <c:pt idx="0">
                  <c:v>9.028419302057346</c:v>
                </c:pt>
                <c:pt idx="1">
                  <c:v>3.5353826966603537</c:v>
                </c:pt>
                <c:pt idx="2">
                  <c:v>15.588426031891352</c:v>
                </c:pt>
                <c:pt idx="3">
                  <c:v>7.647521043156716</c:v>
                </c:pt>
                <c:pt idx="4">
                  <c:v>4.8887691409582805</c:v>
                </c:pt>
                <c:pt idx="5">
                  <c:v>6.995615013006313</c:v>
                </c:pt>
                <c:pt idx="6">
                  <c:v>9.976738080235233</c:v>
                </c:pt>
                <c:pt idx="7">
                  <c:v>16.324490164230287</c:v>
                </c:pt>
                <c:pt idx="8">
                  <c:v>5.030468638376909</c:v>
                </c:pt>
                <c:pt idx="9">
                  <c:v>4.892817059483723</c:v>
                </c:pt>
                <c:pt idx="10">
                  <c:v>6.229308917856402</c:v>
                </c:pt>
                <c:pt idx="11">
                  <c:v>7.589424469906485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93.31</c:v>
                </c:pt>
                <c:pt idx="4">
                  <c:v>Av Price/Unit 29.67</c:v>
                </c:pt>
                <c:pt idx="5">
                  <c:v>Av Price/Unit 42.06</c:v>
                </c:pt>
                <c:pt idx="6">
                  <c:v>Av Price/Unit 29.28</c:v>
                </c:pt>
                <c:pt idx="7">
                  <c:v>Av Price/Unit 37.08</c:v>
                </c:pt>
                <c:pt idx="8">
                  <c:v>Av Price/Unit 30.45</c:v>
                </c:pt>
                <c:pt idx="9">
                  <c:v>Av Price/Unit 30.11</c:v>
                </c:pt>
                <c:pt idx="10">
                  <c:v>Av Price/Unit 97.82</c:v>
                </c:pt>
                <c:pt idx="11">
                  <c:v>Av Price/Unit 29.03</c:v>
                </c:pt>
              </c:strCache>
            </c:strRef>
          </c:cat>
          <c:val>
            <c:numRef>
              <c:f>Sheet1!$B$2:$B$13</c:f>
              <c:numCache>
                <c:formatCode>General</c:formatCode>
                <c:ptCount val="12"/>
                <c:pt idx="0">
                  <c:v>18.18837454161782</c:v>
                </c:pt>
                <c:pt idx="1">
                  <c:v>3.599331757082627</c:v>
                </c:pt>
                <c:pt idx="2">
                  <c:v>15.8515001647281</c:v>
                </c:pt>
                <c:pt idx="3">
                  <c:v>30.0497307821699</c:v>
                </c:pt>
                <c:pt idx="4">
                  <c:v>10.710384155656689</c:v>
                </c:pt>
                <c:pt idx="5">
                  <c:v>14.590902845376265</c:v>
                </c:pt>
                <c:pt idx="6">
                  <c:v>10.060380946364267</c:v>
                </c:pt>
                <c:pt idx="7">
                  <c:v>12.780227392838828</c:v>
                </c:pt>
                <c:pt idx="8">
                  <c:v>11.29904943817197</c:v>
                </c:pt>
                <c:pt idx="9">
                  <c:v>11.443117352563188</c:v>
                </c:pt>
                <c:pt idx="10">
                  <c:v>31.632711498565445</c:v>
                </c:pt>
                <c:pt idx="11">
                  <c:v>11.12351191860465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93.31</c:v>
                </c:pt>
                <c:pt idx="4">
                  <c:v>Av Price/Unit 29.67</c:v>
                </c:pt>
                <c:pt idx="5">
                  <c:v>Av Price/Unit 42.06</c:v>
                </c:pt>
                <c:pt idx="6">
                  <c:v>Av Price/Unit 29.28</c:v>
                </c:pt>
                <c:pt idx="7">
                  <c:v>Av Price/Unit 37.08</c:v>
                </c:pt>
                <c:pt idx="8">
                  <c:v>Av Price/Unit 30.45</c:v>
                </c:pt>
                <c:pt idx="9">
                  <c:v>Av Price/Unit 30.11</c:v>
                </c:pt>
                <c:pt idx="10">
                  <c:v>Av Price/Unit 97.82</c:v>
                </c:pt>
                <c:pt idx="11">
                  <c:v>Av Price/Unit 29.03</c:v>
                </c:pt>
              </c:strCache>
            </c:strRef>
          </c:cat>
          <c:val>
            <c:numRef>
              <c:f>Sheet1!$C$2:$C$13</c:f>
              <c:numCache>
                <c:formatCode>General</c:formatCode>
                <c:ptCount val="12"/>
                <c:pt idx="0">
                  <c:v>27.850808679953104</c:v>
                </c:pt>
                <c:pt idx="1">
                  <c:v>13.411214448403008</c:v>
                </c:pt>
                <c:pt idx="2">
                  <c:v>22.314150159705903</c:v>
                </c:pt>
                <c:pt idx="3">
                  <c:v>47.794082253994965</c:v>
                </c:pt>
                <c:pt idx="4">
                  <c:v>14.226770502616331</c:v>
                </c:pt>
                <c:pt idx="5">
                  <c:v>20.566067548886902</c:v>
                </c:pt>
                <c:pt idx="6">
                  <c:v>15.31490767578495</c:v>
                </c:pt>
                <c:pt idx="7">
                  <c:v>18.34544803475008</c:v>
                </c:pt>
                <c:pt idx="8">
                  <c:v>13.90373581956832</c:v>
                </c:pt>
                <c:pt idx="9">
                  <c:v>14.096500793945452</c:v>
                </c:pt>
                <c:pt idx="10">
                  <c:v>49.79126815272567</c:v>
                </c:pt>
                <c:pt idx="11">
                  <c:v>13.88689186046511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93.31</c:v>
                </c:pt>
                <c:pt idx="4">
                  <c:v>Av Price/Unit 29.67</c:v>
                </c:pt>
                <c:pt idx="5">
                  <c:v>Av Price/Unit 42.06</c:v>
                </c:pt>
                <c:pt idx="6">
                  <c:v>Av Price/Unit 29.28</c:v>
                </c:pt>
                <c:pt idx="7">
                  <c:v>Av Price/Unit 37.08</c:v>
                </c:pt>
                <c:pt idx="8">
                  <c:v>Av Price/Unit 30.45</c:v>
                </c:pt>
                <c:pt idx="9">
                  <c:v>Av Price/Unit 30.11</c:v>
                </c:pt>
                <c:pt idx="10">
                  <c:v>Av Price/Unit 97.82</c:v>
                </c:pt>
                <c:pt idx="11">
                  <c:v>Av Price/Unit 29.03</c:v>
                </c:pt>
              </c:strCache>
            </c:strRef>
          </c:cat>
          <c:val>
            <c:numRef>
              <c:f>Sheet1!$D$2:$D$13</c:f>
              <c:numCache>
                <c:formatCode>General</c:formatCode>
                <c:ptCount val="12"/>
                <c:pt idx="0">
                  <c:v>-0.9845640554904236</c:v>
                </c:pt>
                <c:pt idx="1">
                  <c:v>0.7539729848935082</c:v>
                </c:pt>
                <c:pt idx="2">
                  <c:v>0.22778533116375144</c:v>
                </c:pt>
                <c:pt idx="3">
                  <c:v>-0.08407095598541048</c:v>
                </c:pt>
                <c:pt idx="4">
                  <c:v>-0.2152950506893312</c:v>
                </c:pt>
                <c:pt idx="5">
                  <c:v>-0.1061395328744652</c:v>
                </c:pt>
                <c:pt idx="6">
                  <c:v>-0.9781202743206947</c:v>
                </c:pt>
                <c:pt idx="7">
                  <c:v>-0.2258282636019011</c:v>
                </c:pt>
                <c:pt idx="8">
                  <c:v>0.16988052868421377</c:v>
                </c:pt>
                <c:pt idx="9">
                  <c:v>-0.4507038716740439</c:v>
                </c:pt>
                <c:pt idx="10">
                  <c:v>0.08994295593322477</c:v>
                </c:pt>
                <c:pt idx="11">
                  <c:v>-0.816138136766337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93.31</c:v>
                </c:pt>
                <c:pt idx="4">
                  <c:v>Av Price/Unit 29.67</c:v>
                </c:pt>
                <c:pt idx="5">
                  <c:v>Av Price/Unit 42.06</c:v>
                </c:pt>
                <c:pt idx="6">
                  <c:v>Av Price/Unit 29.28</c:v>
                </c:pt>
                <c:pt idx="7">
                  <c:v>Av Price/Unit 37.08</c:v>
                </c:pt>
                <c:pt idx="8">
                  <c:v>Av Price/Unit 30.45</c:v>
                </c:pt>
                <c:pt idx="9">
                  <c:v>Av Price/Unit 30.11</c:v>
                </c:pt>
                <c:pt idx="10">
                  <c:v>Av Price/Unit 97.82</c:v>
                </c:pt>
                <c:pt idx="11">
                  <c:v>Av Price/Unit 29.03</c:v>
                </c:pt>
              </c:strCache>
            </c:strRef>
          </c:cat>
          <c:val>
            <c:numRef>
              <c:f>Sheet1!$E$2:$E$13</c:f>
              <c:numCache>
                <c:formatCode>General</c:formatCode>
                <c:ptCount val="12"/>
                <c:pt idx="0">
                  <c:v>9.010918327471664</c:v>
                </c:pt>
                <c:pt idx="1">
                  <c:v>3.552903838075828</c:v>
                </c:pt>
                <c:pt idx="2">
                  <c:v>7.678679764559348</c:v>
                </c:pt>
                <c:pt idx="3">
                  <c:v>15.55194841603588</c:v>
                </c:pt>
                <c:pt idx="4">
                  <c:v>4.944362022761749</c:v>
                </c:pt>
                <c:pt idx="5">
                  <c:v>7.010166172277741</c:v>
                </c:pt>
                <c:pt idx="6">
                  <c:v>4.879433669565702</c:v>
                </c:pt>
                <c:pt idx="7">
                  <c:v>6.1799694327974</c:v>
                </c:pt>
                <c:pt idx="8">
                  <c:v>5.074533157284902</c:v>
                </c:pt>
                <c:pt idx="9">
                  <c:v>5.017782854966918</c:v>
                </c:pt>
                <c:pt idx="10">
                  <c:v>16.302784521444853</c:v>
                </c:pt>
                <c:pt idx="11">
                  <c:v>4.83885312846068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93.77</c:v>
                </c:pt>
                <c:pt idx="4">
                  <c:v>Av Price/Unit 29.24</c:v>
                </c:pt>
                <c:pt idx="5">
                  <c:v>Av Price/Unit 29.56</c:v>
                </c:pt>
                <c:pt idx="6">
                  <c:v>Av Price/Unit 37.61</c:v>
                </c:pt>
                <c:pt idx="7">
                  <c:v>Av Price/Unit 30.34</c:v>
                </c:pt>
                <c:pt idx="8">
                  <c:v>Av Price/Unit 98.34</c:v>
                </c:pt>
                <c:pt idx="9">
                  <c:v>Av Price/Unit 29.63</c:v>
                </c:pt>
                <c:pt idx="10">
                  <c:v>Av Price/Unit 41.95</c:v>
                </c:pt>
                <c:pt idx="11">
                  <c:v>Av Price/Unit 45.77</c:v>
                </c:pt>
              </c:strCache>
            </c:strRef>
          </c:cat>
          <c:val>
            <c:numRef>
              <c:f>Sheet1!$B$2:$B$13</c:f>
              <c:numCache>
                <c:formatCode>General</c:formatCode>
                <c:ptCount val="12"/>
                <c:pt idx="0">
                  <c:v>18.170999103554866</c:v>
                </c:pt>
                <c:pt idx="1">
                  <c:v>15.821081786542925</c:v>
                </c:pt>
                <c:pt idx="2">
                  <c:v>3.614221763445979</c:v>
                </c:pt>
                <c:pt idx="3">
                  <c:v>30.002478294573653</c:v>
                </c:pt>
                <c:pt idx="4">
                  <c:v>10.135968718067813</c:v>
                </c:pt>
                <c:pt idx="5">
                  <c:v>10.747534031852473</c:v>
                </c:pt>
                <c:pt idx="6">
                  <c:v>12.792391918832324</c:v>
                </c:pt>
                <c:pt idx="7">
                  <c:v>11.446920696791993</c:v>
                </c:pt>
                <c:pt idx="8">
                  <c:v>31.703690322580652</c:v>
                </c:pt>
                <c:pt idx="9">
                  <c:v>11.068651501668521</c:v>
                </c:pt>
                <c:pt idx="10">
                  <c:v>14.80851888111888</c:v>
                </c:pt>
                <c:pt idx="11">
                  <c:v>15.08185292096219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93.77</c:v>
                </c:pt>
                <c:pt idx="4">
                  <c:v>Av Price/Unit 29.24</c:v>
                </c:pt>
                <c:pt idx="5">
                  <c:v>Av Price/Unit 29.56</c:v>
                </c:pt>
                <c:pt idx="6">
                  <c:v>Av Price/Unit 37.61</c:v>
                </c:pt>
                <c:pt idx="7">
                  <c:v>Av Price/Unit 30.34</c:v>
                </c:pt>
                <c:pt idx="8">
                  <c:v>Av Price/Unit 98.34</c:v>
                </c:pt>
                <c:pt idx="9">
                  <c:v>Av Price/Unit 29.63</c:v>
                </c:pt>
                <c:pt idx="10">
                  <c:v>Av Price/Unit 41.95</c:v>
                </c:pt>
                <c:pt idx="11">
                  <c:v>Av Price/Unit 45.77</c:v>
                </c:pt>
              </c:strCache>
            </c:strRef>
          </c:cat>
          <c:val>
            <c:numRef>
              <c:f>Sheet1!$C$2:$C$13</c:f>
              <c:numCache>
                <c:formatCode>General</c:formatCode>
                <c:ptCount val="12"/>
                <c:pt idx="0">
                  <c:v>27.90478024729521</c:v>
                </c:pt>
                <c:pt idx="1">
                  <c:v>22.315768445475637</c:v>
                </c:pt>
                <c:pt idx="2">
                  <c:v>13.387728367444076</c:v>
                </c:pt>
                <c:pt idx="3">
                  <c:v>47.817255813953494</c:v>
                </c:pt>
                <c:pt idx="4">
                  <c:v>15.225952415234557</c:v>
                </c:pt>
                <c:pt idx="5">
                  <c:v>14.205425565800503</c:v>
                </c:pt>
                <c:pt idx="6">
                  <c:v>18.341444784620858</c:v>
                </c:pt>
                <c:pt idx="7">
                  <c:v>14.100514694722317</c:v>
                </c:pt>
                <c:pt idx="8">
                  <c:v>49.76135483870967</c:v>
                </c:pt>
                <c:pt idx="9">
                  <c:v>13.81634849833148</c:v>
                </c:pt>
                <c:pt idx="10">
                  <c:v>20.57426874663798</c:v>
                </c:pt>
                <c:pt idx="11">
                  <c:v>22.29434226804123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93.77</c:v>
                </c:pt>
                <c:pt idx="4">
                  <c:v>Av Price/Unit 29.24</c:v>
                </c:pt>
                <c:pt idx="5">
                  <c:v>Av Price/Unit 29.56</c:v>
                </c:pt>
                <c:pt idx="6">
                  <c:v>Av Price/Unit 37.61</c:v>
                </c:pt>
                <c:pt idx="7">
                  <c:v>Av Price/Unit 30.34</c:v>
                </c:pt>
                <c:pt idx="8">
                  <c:v>Av Price/Unit 98.34</c:v>
                </c:pt>
                <c:pt idx="9">
                  <c:v>Av Price/Unit 29.63</c:v>
                </c:pt>
                <c:pt idx="10">
                  <c:v>Av Price/Unit 41.95</c:v>
                </c:pt>
                <c:pt idx="11">
                  <c:v>Av Price/Unit 45.77</c:v>
                </c:pt>
              </c:strCache>
            </c:strRef>
          </c:cat>
          <c:val>
            <c:numRef>
              <c:f>Sheet1!$D$2:$D$13</c:f>
              <c:numCache>
                <c:formatCode>General</c:formatCode>
                <c:ptCount val="12"/>
                <c:pt idx="0">
                  <c:v>-1.161278923235443</c:v>
                </c:pt>
                <c:pt idx="1">
                  <c:v>0.24233820572312226</c:v>
                </c:pt>
                <c:pt idx="2">
                  <c:v>0.7952297834364543</c:v>
                </c:pt>
                <c:pt idx="3">
                  <c:v>0.3187241171404196</c:v>
                </c:pt>
                <c:pt idx="4">
                  <c:v>-0.9990166589255303</c:v>
                </c:pt>
                <c:pt idx="5">
                  <c:v>-0.3215012759616265</c:v>
                </c:pt>
                <c:pt idx="6">
                  <c:v>0.2056079387682388</c:v>
                </c:pt>
                <c:pt idx="7">
                  <c:v>-0.26314195699666953</c:v>
                </c:pt>
                <c:pt idx="8">
                  <c:v>0.4819594470046127</c:v>
                </c:pt>
                <c:pt idx="9">
                  <c:v>-0.19367630700778804</c:v>
                </c:pt>
                <c:pt idx="10">
                  <c:v>-0.4235801685493996</c:v>
                </c:pt>
                <c:pt idx="11">
                  <c:v>0.768134707903783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93.77</c:v>
                </c:pt>
                <c:pt idx="4">
                  <c:v>Av Price/Unit 29.24</c:v>
                </c:pt>
                <c:pt idx="5">
                  <c:v>Av Price/Unit 29.56</c:v>
                </c:pt>
                <c:pt idx="6">
                  <c:v>Av Price/Unit 37.61</c:v>
                </c:pt>
                <c:pt idx="7">
                  <c:v>Av Price/Unit 30.34</c:v>
                </c:pt>
                <c:pt idx="8">
                  <c:v>Av Price/Unit 98.34</c:v>
                </c:pt>
                <c:pt idx="9">
                  <c:v>Av Price/Unit 29.63</c:v>
                </c:pt>
                <c:pt idx="10">
                  <c:v>Av Price/Unit 41.95</c:v>
                </c:pt>
                <c:pt idx="11">
                  <c:v>Av Price/Unit 45.77</c:v>
                </c:pt>
              </c:strCache>
            </c:strRef>
          </c:cat>
          <c:val>
            <c:numRef>
              <c:f>Sheet1!$E$2:$E$13</c:f>
              <c:numCache>
                <c:formatCode>General</c:formatCode>
                <c:ptCount val="12"/>
                <c:pt idx="0">
                  <c:v>8.98289541473467</c:v>
                </c:pt>
                <c:pt idx="1">
                  <c:v>7.6758313998453165</c:v>
                </c:pt>
                <c:pt idx="2">
                  <c:v>3.559435982865302</c:v>
                </c:pt>
                <c:pt idx="3">
                  <c:v>15.62769164513349</c:v>
                </c:pt>
                <c:pt idx="4">
                  <c:v>4.87258089487537</c:v>
                </c:pt>
                <c:pt idx="5">
                  <c:v>4.9262829468194065</c:v>
                </c:pt>
                <c:pt idx="6">
                  <c:v>6.267888928444286</c:v>
                </c:pt>
                <c:pt idx="7">
                  <c:v>5.056858686903528</c:v>
                </c:pt>
                <c:pt idx="8">
                  <c:v>16.389400921658986</c:v>
                </c:pt>
                <c:pt idx="9">
                  <c:v>4.938264738598443</c:v>
                </c:pt>
                <c:pt idx="10">
                  <c:v>6.991841491841489</c:v>
                </c:pt>
                <c:pt idx="11">
                  <c:v>7.62886597938144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93.66</c:v>
                </c:pt>
                <c:pt idx="4">
                  <c:v>Av Price/Unit 29.31</c:v>
                </c:pt>
                <c:pt idx="5">
                  <c:v>Av Price/Unit 29.64</c:v>
                </c:pt>
                <c:pt idx="6">
                  <c:v>Av Price/Unit 30.21</c:v>
                </c:pt>
                <c:pt idx="7">
                  <c:v>Av Price/Unit 37.33</c:v>
                </c:pt>
                <c:pt idx="8">
                  <c:v>Av Price/Unit 42.06</c:v>
                </c:pt>
                <c:pt idx="9">
                  <c:v>Av Price/Unit 30.43</c:v>
                </c:pt>
                <c:pt idx="10">
                  <c:v>Av Price/Unit 98.00</c:v>
                </c:pt>
                <c:pt idx="11">
                  <c:v>Av Price/Unit 37.41</c:v>
                </c:pt>
              </c:strCache>
            </c:strRef>
          </c:cat>
          <c:val>
            <c:numRef>
              <c:f>Sheet1!$B$2:$B$13</c:f>
              <c:numCache>
                <c:formatCode>General</c:formatCode>
                <c:ptCount val="12"/>
                <c:pt idx="0">
                  <c:v>18.186566998862343</c:v>
                </c:pt>
                <c:pt idx="1">
                  <c:v>3.6061959679541538</c:v>
                </c:pt>
                <c:pt idx="2">
                  <c:v>15.824029539951576</c:v>
                </c:pt>
                <c:pt idx="3">
                  <c:v>30.20870949152543</c:v>
                </c:pt>
                <c:pt idx="4">
                  <c:v>10.088208180240128</c:v>
                </c:pt>
                <c:pt idx="5">
                  <c:v>10.726425436111525</c:v>
                </c:pt>
                <c:pt idx="6">
                  <c:v>11.442508632702923</c:v>
                </c:pt>
                <c:pt idx="7">
                  <c:v>12.781303416300634</c:v>
                </c:pt>
                <c:pt idx="8">
                  <c:v>14.66250525367341</c:v>
                </c:pt>
                <c:pt idx="9">
                  <c:v>11.356629487437186</c:v>
                </c:pt>
                <c:pt idx="10">
                  <c:v>31.72265995075913</c:v>
                </c:pt>
                <c:pt idx="11">
                  <c:v>13.2373504587155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93.66</c:v>
                </c:pt>
                <c:pt idx="4">
                  <c:v>Av Price/Unit 29.31</c:v>
                </c:pt>
                <c:pt idx="5">
                  <c:v>Av Price/Unit 29.64</c:v>
                </c:pt>
                <c:pt idx="6">
                  <c:v>Av Price/Unit 30.21</c:v>
                </c:pt>
                <c:pt idx="7">
                  <c:v>Av Price/Unit 37.33</c:v>
                </c:pt>
                <c:pt idx="8">
                  <c:v>Av Price/Unit 42.06</c:v>
                </c:pt>
                <c:pt idx="9">
                  <c:v>Av Price/Unit 30.43</c:v>
                </c:pt>
                <c:pt idx="10">
                  <c:v>Av Price/Unit 98.00</c:v>
                </c:pt>
                <c:pt idx="11">
                  <c:v>Av Price/Unit 37.41</c:v>
                </c:pt>
              </c:strCache>
            </c:strRef>
          </c:cat>
          <c:val>
            <c:numRef>
              <c:f>Sheet1!$C$2:$C$13</c:f>
              <c:numCache>
                <c:formatCode>General</c:formatCode>
                <c:ptCount val="12"/>
                <c:pt idx="0">
                  <c:v>27.85642326734926</c:v>
                </c:pt>
                <c:pt idx="1">
                  <c:v>13.400387494517704</c:v>
                </c:pt>
                <c:pt idx="2">
                  <c:v>22.31561162227603</c:v>
                </c:pt>
                <c:pt idx="3">
                  <c:v>47.716115932203394</c:v>
                </c:pt>
                <c:pt idx="4">
                  <c:v>15.282159272385362</c:v>
                </c:pt>
                <c:pt idx="5">
                  <c:v>14.21755377963322</c:v>
                </c:pt>
                <c:pt idx="6">
                  <c:v>14.09585837480771</c:v>
                </c:pt>
                <c:pt idx="7">
                  <c:v>18.345093923865296</c:v>
                </c:pt>
                <c:pt idx="8">
                  <c:v>20.56876599667314</c:v>
                </c:pt>
                <c:pt idx="9">
                  <c:v>13.892394482412058</c:v>
                </c:pt>
                <c:pt idx="10">
                  <c:v>49.753360279031604</c:v>
                </c:pt>
                <c:pt idx="11">
                  <c:v>17.0918688073394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93.66</c:v>
                </c:pt>
                <c:pt idx="4">
                  <c:v>Av Price/Unit 29.31</c:v>
                </c:pt>
                <c:pt idx="5">
                  <c:v>Av Price/Unit 29.64</c:v>
                </c:pt>
                <c:pt idx="6">
                  <c:v>Av Price/Unit 30.21</c:v>
                </c:pt>
                <c:pt idx="7">
                  <c:v>Av Price/Unit 37.33</c:v>
                </c:pt>
                <c:pt idx="8">
                  <c:v>Av Price/Unit 42.06</c:v>
                </c:pt>
                <c:pt idx="9">
                  <c:v>Av Price/Unit 30.43</c:v>
                </c:pt>
                <c:pt idx="10">
                  <c:v>Av Price/Unit 98.00</c:v>
                </c:pt>
                <c:pt idx="11">
                  <c:v>Av Price/Unit 37.41</c:v>
                </c:pt>
              </c:strCache>
            </c:strRef>
          </c:cat>
          <c:val>
            <c:numRef>
              <c:f>Sheet1!$D$2:$D$13</c:f>
              <c:numCache>
                <c:formatCode>General</c:formatCode>
                <c:ptCount val="12"/>
                <c:pt idx="0">
                  <c:v>-0.9807712870686345</c:v>
                </c:pt>
                <c:pt idx="1">
                  <c:v>0.7809324971004727</c:v>
                </c:pt>
                <c:pt idx="2">
                  <c:v>0.2530587772397226</c:v>
                </c:pt>
                <c:pt idx="3">
                  <c:v>0.1289881355932181</c:v>
                </c:pt>
                <c:pt idx="4">
                  <c:v>-0.9435628815275585</c:v>
                </c:pt>
                <c:pt idx="5">
                  <c:v>-0.24007809005516378</c:v>
                </c:pt>
                <c:pt idx="6">
                  <c:v>-0.36040422887823453</c:v>
                </c:pt>
                <c:pt idx="7">
                  <c:v>-0.013964446071248915</c:v>
                </c:pt>
                <c:pt idx="8">
                  <c:v>-0.18310102578319487</c:v>
                </c:pt>
                <c:pt idx="9">
                  <c:v>0.10943499162479497</c:v>
                </c:pt>
                <c:pt idx="10">
                  <c:v>0.1937239912460882</c:v>
                </c:pt>
                <c:pt idx="11">
                  <c:v>0.849600727617836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93.66</c:v>
                </c:pt>
                <c:pt idx="4">
                  <c:v>Av Price/Unit 29.31</c:v>
                </c:pt>
                <c:pt idx="5">
                  <c:v>Av Price/Unit 29.64</c:v>
                </c:pt>
                <c:pt idx="6">
                  <c:v>Av Price/Unit 30.21</c:v>
                </c:pt>
                <c:pt idx="7">
                  <c:v>Av Price/Unit 37.33</c:v>
                </c:pt>
                <c:pt idx="8">
                  <c:v>Av Price/Unit 42.06</c:v>
                </c:pt>
                <c:pt idx="9">
                  <c:v>Av Price/Unit 30.43</c:v>
                </c:pt>
                <c:pt idx="10">
                  <c:v>Av Price/Unit 98.00</c:v>
                </c:pt>
                <c:pt idx="11">
                  <c:v>Av Price/Unit 37.41</c:v>
                </c:pt>
              </c:strCache>
            </c:strRef>
          </c:cat>
          <c:val>
            <c:numRef>
              <c:f>Sheet1!$E$2:$E$13</c:f>
              <c:numCache>
                <c:formatCode>General</c:formatCode>
                <c:ptCount val="12"/>
                <c:pt idx="0">
                  <c:v>9.012438376943493</c:v>
                </c:pt>
                <c:pt idx="1">
                  <c:v>3.5575031919144653</c:v>
                </c:pt>
                <c:pt idx="2">
                  <c:v>7.678533595641638</c:v>
                </c:pt>
                <c:pt idx="3">
                  <c:v>15.610762711864417</c:v>
                </c:pt>
                <c:pt idx="4">
                  <c:v>4.885360914219587</c:v>
                </c:pt>
                <c:pt idx="5">
                  <c:v>4.94077083643954</c:v>
                </c:pt>
                <c:pt idx="6">
                  <c:v>5.0355925557264785</c:v>
                </c:pt>
                <c:pt idx="7">
                  <c:v>6.222486578818929</c:v>
                </c:pt>
                <c:pt idx="8">
                  <c:v>7.00963404491267</c:v>
                </c:pt>
                <c:pt idx="9">
                  <c:v>5.071691792294803</c:v>
                </c:pt>
                <c:pt idx="10">
                  <c:v>16.333948844207352</c:v>
                </c:pt>
                <c:pt idx="11">
                  <c:v>6.23576399873457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93.30</c:v>
                </c:pt>
                <c:pt idx="2">
                  <c:v>Av Price/Unit 21.23</c:v>
                </c:pt>
                <c:pt idx="3">
                  <c:v>Av Price/Unit 46.03</c:v>
                </c:pt>
                <c:pt idx="4">
                  <c:v>Av Price/Unit 42.00</c:v>
                </c:pt>
                <c:pt idx="5">
                  <c:v>Av Price/Unit 29.23</c:v>
                </c:pt>
                <c:pt idx="6">
                  <c:v>Av Price/Unit 29.53</c:v>
                </c:pt>
                <c:pt idx="7">
                  <c:v>Av Price/Unit 36.92</c:v>
                </c:pt>
                <c:pt idx="8">
                  <c:v>Av Price/Unit 97.81</c:v>
                </c:pt>
                <c:pt idx="9">
                  <c:v>Av Price/Unit 30.36</c:v>
                </c:pt>
                <c:pt idx="10">
                  <c:v>Av Price/Unit 45.35</c:v>
                </c:pt>
                <c:pt idx="11">
                  <c:v>Av Price/Unit 57.43</c:v>
                </c:pt>
              </c:strCache>
            </c:strRef>
          </c:cat>
          <c:val>
            <c:numRef>
              <c:f>Sheet1!$B$2:$B$13</c:f>
              <c:numCache>
                <c:formatCode>General</c:formatCode>
                <c:ptCount val="12"/>
                <c:pt idx="0">
                  <c:v>18.178025953066125</c:v>
                </c:pt>
                <c:pt idx="1">
                  <c:v>30.04706682464455</c:v>
                </c:pt>
                <c:pt idx="2">
                  <c:v>3.603543958853247</c:v>
                </c:pt>
                <c:pt idx="3">
                  <c:v>15.838642537625415</c:v>
                </c:pt>
                <c:pt idx="4">
                  <c:v>14.631131363729297</c:v>
                </c:pt>
                <c:pt idx="5">
                  <c:v>10.074950305531733</c:v>
                </c:pt>
                <c:pt idx="6">
                  <c:v>10.721439784946236</c:v>
                </c:pt>
                <c:pt idx="7">
                  <c:v>12.787890688420214</c:v>
                </c:pt>
                <c:pt idx="8">
                  <c:v>31.671562401402277</c:v>
                </c:pt>
                <c:pt idx="9">
                  <c:v>11.3172250677099</c:v>
                </c:pt>
                <c:pt idx="10">
                  <c:v>15.080779862585883</c:v>
                </c:pt>
                <c:pt idx="11">
                  <c:v>19.5215568527918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93.30</c:v>
                </c:pt>
                <c:pt idx="2">
                  <c:v>Av Price/Unit 21.23</c:v>
                </c:pt>
                <c:pt idx="3">
                  <c:v>Av Price/Unit 46.03</c:v>
                </c:pt>
                <c:pt idx="4">
                  <c:v>Av Price/Unit 42.00</c:v>
                </c:pt>
                <c:pt idx="5">
                  <c:v>Av Price/Unit 29.23</c:v>
                </c:pt>
                <c:pt idx="6">
                  <c:v>Av Price/Unit 29.53</c:v>
                </c:pt>
                <c:pt idx="7">
                  <c:v>Av Price/Unit 36.92</c:v>
                </c:pt>
                <c:pt idx="8">
                  <c:v>Av Price/Unit 97.81</c:v>
                </c:pt>
                <c:pt idx="9">
                  <c:v>Av Price/Unit 30.36</c:v>
                </c:pt>
                <c:pt idx="10">
                  <c:v>Av Price/Unit 45.35</c:v>
                </c:pt>
                <c:pt idx="11">
                  <c:v>Av Price/Unit 57.43</c:v>
                </c:pt>
              </c:strCache>
            </c:strRef>
          </c:cat>
          <c:val>
            <c:numRef>
              <c:f>Sheet1!$C$2:$C$13</c:f>
              <c:numCache>
                <c:formatCode>General</c:formatCode>
                <c:ptCount val="12"/>
                <c:pt idx="0">
                  <c:v>27.88295345477201</c:v>
                </c:pt>
                <c:pt idx="1">
                  <c:v>47.795388711762165</c:v>
                </c:pt>
                <c:pt idx="2">
                  <c:v>13.404570521638567</c:v>
                </c:pt>
                <c:pt idx="3">
                  <c:v>22.314834197324416</c:v>
                </c:pt>
                <c:pt idx="4">
                  <c:v>20.567583622980983</c:v>
                </c:pt>
                <c:pt idx="5">
                  <c:v>15.297761765651803</c:v>
                </c:pt>
                <c:pt idx="6">
                  <c:v>14.22041834931706</c:v>
                </c:pt>
                <c:pt idx="7">
                  <c:v>18.342926104257856</c:v>
                </c:pt>
                <c:pt idx="8">
                  <c:v>49.77489482909728</c:v>
                </c:pt>
                <c:pt idx="9">
                  <c:v>13.90015583057478</c:v>
                </c:pt>
                <c:pt idx="10">
                  <c:v>22.280460062460964</c:v>
                </c:pt>
                <c:pt idx="11">
                  <c:v>27.6172104060913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93.30</c:v>
                </c:pt>
                <c:pt idx="2">
                  <c:v>Av Price/Unit 21.23</c:v>
                </c:pt>
                <c:pt idx="3">
                  <c:v>Av Price/Unit 46.03</c:v>
                </c:pt>
                <c:pt idx="4">
                  <c:v>Av Price/Unit 42.00</c:v>
                </c:pt>
                <c:pt idx="5">
                  <c:v>Av Price/Unit 29.23</c:v>
                </c:pt>
                <c:pt idx="6">
                  <c:v>Av Price/Unit 29.53</c:v>
                </c:pt>
                <c:pt idx="7">
                  <c:v>Av Price/Unit 36.92</c:v>
                </c:pt>
                <c:pt idx="8">
                  <c:v>Av Price/Unit 97.81</c:v>
                </c:pt>
                <c:pt idx="9">
                  <c:v>Av Price/Unit 30.36</c:v>
                </c:pt>
                <c:pt idx="10">
                  <c:v>Av Price/Unit 45.35</c:v>
                </c:pt>
                <c:pt idx="11">
                  <c:v>Av Price/Unit 57.43</c:v>
                </c:pt>
              </c:strCache>
            </c:strRef>
          </c:cat>
          <c:val>
            <c:numRef>
              <c:f>Sheet1!$D$2:$D$13</c:f>
              <c:numCache>
                <c:formatCode>General</c:formatCode>
                <c:ptCount val="12"/>
                <c:pt idx="0">
                  <c:v>-1.1253079617487955</c:v>
                </c:pt>
                <c:pt idx="1">
                  <c:v>-0.09335313801518907</c:v>
                </c:pt>
                <c:pt idx="2">
                  <c:v>0.6826389974367792</c:v>
                </c:pt>
                <c:pt idx="3">
                  <c:v>0.20793602285395707</c:v>
                </c:pt>
                <c:pt idx="4">
                  <c:v>-0.19655682773347394</c:v>
                </c:pt>
                <c:pt idx="5">
                  <c:v>-1.0139266938250415</c:v>
                </c:pt>
                <c:pt idx="6">
                  <c:v>-0.3324914017243046</c:v>
                </c:pt>
                <c:pt idx="7">
                  <c:v>-0.36002491046557594</c:v>
                </c:pt>
                <c:pt idx="8">
                  <c:v>0.060992375109535146</c:v>
                </c:pt>
                <c:pt idx="9">
                  <c:v>0.08442971461531101</c:v>
                </c:pt>
                <c:pt idx="10">
                  <c:v>0.4319101894649222</c:v>
                </c:pt>
                <c:pt idx="11">
                  <c:v>0.718529949238579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93.30</c:v>
                </c:pt>
                <c:pt idx="2">
                  <c:v>Av Price/Unit 21.23</c:v>
                </c:pt>
                <c:pt idx="3">
                  <c:v>Av Price/Unit 46.03</c:v>
                </c:pt>
                <c:pt idx="4">
                  <c:v>Av Price/Unit 42.00</c:v>
                </c:pt>
                <c:pt idx="5">
                  <c:v>Av Price/Unit 29.23</c:v>
                </c:pt>
                <c:pt idx="6">
                  <c:v>Av Price/Unit 29.53</c:v>
                </c:pt>
                <c:pt idx="7">
                  <c:v>Av Price/Unit 36.92</c:v>
                </c:pt>
                <c:pt idx="8">
                  <c:v>Av Price/Unit 97.81</c:v>
                </c:pt>
                <c:pt idx="9">
                  <c:v>Av Price/Unit 30.36</c:v>
                </c:pt>
                <c:pt idx="10">
                  <c:v>Av Price/Unit 45.35</c:v>
                </c:pt>
                <c:pt idx="11">
                  <c:v>Av Price/Unit 57.43</c:v>
                </c:pt>
              </c:strCache>
            </c:strRef>
          </c:cat>
          <c:val>
            <c:numRef>
              <c:f>Sheet1!$E$2:$E$13</c:f>
              <c:numCache>
                <c:formatCode>General</c:formatCode>
                <c:ptCount val="12"/>
                <c:pt idx="0">
                  <c:v>8.987129280762653</c:v>
                </c:pt>
                <c:pt idx="1">
                  <c:v>15.549820479678287</c:v>
                </c:pt>
                <c:pt idx="2">
                  <c:v>3.5381506955857174</c:v>
                </c:pt>
                <c:pt idx="3">
                  <c:v>7.672275641025639</c:v>
                </c:pt>
                <c:pt idx="4">
                  <c:v>7.000431631795355</c:v>
                </c:pt>
                <c:pt idx="5">
                  <c:v>4.871757075471695</c:v>
                </c:pt>
                <c:pt idx="6">
                  <c:v>4.921863799283155</c:v>
                </c:pt>
                <c:pt idx="7">
                  <c:v>6.154158376442499</c:v>
                </c:pt>
                <c:pt idx="8">
                  <c:v>16.301489921121835</c:v>
                </c:pt>
                <c:pt idx="9">
                  <c:v>5.060362122579992</c:v>
                </c:pt>
                <c:pt idx="10">
                  <c:v>7.55863002290235</c:v>
                </c:pt>
                <c:pt idx="11">
                  <c:v>9.57146256345177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FC32651-F46C-46CD-94DD-A4F609C3D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09C83DD-E120-4D3A-B1F3-DCAF7C125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54ECDB8-92CB-42AA-AD7A-5F8F6BAE1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1E75684-82E4-4BA9-92B0-653B787DA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BE9A834-465C-4F3D-BEDC-47F161E29B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B6EDF18-BAA9-4834-860E-5C02EBA20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199BF40-DC29-4B4A-BC0F-F96D15633C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E66AAD2-39BB-45A6-9AA5-363FDC86C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75.2671</c:v>
                </c:pt>
                <c:pt idx="1">
                  <c:v>61.76</c:v>
                </c:pt>
                <c:pt idx="2">
                  <c:v>61.4215</c:v>
                </c:pt>
                <c:pt idx="3">
                  <c:v>62.8457</c:v>
                </c:pt>
                <c:pt idx="4">
                  <c:v>56.8198</c:v>
                </c:pt>
              </c:numCache>
            </c:numRef>
          </c:xVal>
          <c:yVal>
            <c:numRef>
              <c:f>Sheet1!$B$2:$B$6</c:f>
              <c:numCache>
                <c:formatCode>General</c:formatCode>
                <c:ptCount val="5"/>
                <c:pt idx="0">
                  <c:v>0.4024</c:v>
                </c:pt>
                <c:pt idx="1">
                  <c:v>0.407</c:v>
                </c:pt>
                <c:pt idx="2">
                  <c:v>0.4058</c:v>
                </c:pt>
                <c:pt idx="3">
                  <c:v>0.4085</c:v>
                </c:pt>
                <c:pt idx="4">
                  <c:v>0.4053</c:v>
                </c:pt>
              </c:numCache>
            </c:numRef>
          </c:yVal>
          <c:bubbleSize>
            <c:numRef>
              <c:f>Sheet1!$C$2:$C$6</c:f>
              <c:numCache>
                <c:formatCode>General</c:formatCode>
                <c:ptCount val="5"/>
                <c:pt idx="0">
                  <c:v>318454.98890000005</c:v>
                </c:pt>
                <c:pt idx="1">
                  <c:v>195470.49240000002</c:v>
                </c:pt>
                <c:pt idx="2">
                  <c:v>1478169.3159999999</c:v>
                </c:pt>
                <c:pt idx="3">
                  <c:v>385683.8144999999</c:v>
                </c:pt>
                <c:pt idx="4">
                  <c:v>685076.343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90.32052"/>
          <c:min val="45.4558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575123038927086"/>
        <c:crossBetween val="midCat"/>
      </c:valAx>
      <c:valAx>
        <c:axId val="1011451359"/>
        <c:scaling>
          <c:orientation val="minMax"/>
          <c:max val="0.8501999999999998"/>
          <c:min val="0.08191999999999999"/>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62.03274090532631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93.43</c:v>
                </c:pt>
                <c:pt idx="4">
                  <c:v>Av Price/Unit 29.25</c:v>
                </c:pt>
                <c:pt idx="5">
                  <c:v>Av Price/Unit 29.59</c:v>
                </c:pt>
                <c:pt idx="6">
                  <c:v>Av Price/Unit 37.17</c:v>
                </c:pt>
                <c:pt idx="7">
                  <c:v>Av Price/Unit 30.16</c:v>
                </c:pt>
                <c:pt idx="8">
                  <c:v>Av Price/Unit 42.09</c:v>
                </c:pt>
                <c:pt idx="9">
                  <c:v>Av Price/Unit 30.42</c:v>
                </c:pt>
                <c:pt idx="10">
                  <c:v>Av Price/Unit 29.14</c:v>
                </c:pt>
                <c:pt idx="11">
                  <c:v>Av Price/Unit 97.96</c:v>
                </c:pt>
              </c:strCache>
            </c:strRef>
          </c:cat>
          <c:val>
            <c:numRef>
              <c:f>Sheet1!$B$2:$B$13</c:f>
              <c:numCache>
                <c:formatCode>General</c:formatCode>
                <c:ptCount val="12"/>
                <c:pt idx="0">
                  <c:v>18.184343906073934</c:v>
                </c:pt>
                <c:pt idx="1">
                  <c:v>3.6059014807193344</c:v>
                </c:pt>
                <c:pt idx="2">
                  <c:v>15.84164344493219</c:v>
                </c:pt>
                <c:pt idx="3">
                  <c:v>30.10003575906242</c:v>
                </c:pt>
                <c:pt idx="4">
                  <c:v>10.095996135838693</c:v>
                </c:pt>
                <c:pt idx="5">
                  <c:v>10.725499228556485</c:v>
                </c:pt>
                <c:pt idx="6">
                  <c:v>12.785072935700741</c:v>
                </c:pt>
                <c:pt idx="7">
                  <c:v>11.445658692555666</c:v>
                </c:pt>
                <c:pt idx="8">
                  <c:v>14.604576938307629</c:v>
                </c:pt>
                <c:pt idx="9">
                  <c:v>11.3010438953982</c:v>
                </c:pt>
                <c:pt idx="10">
                  <c:v>11.108024913793102</c:v>
                </c:pt>
                <c:pt idx="11">
                  <c:v>31.68826871035941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93.43</c:v>
                </c:pt>
                <c:pt idx="4">
                  <c:v>Av Price/Unit 29.25</c:v>
                </c:pt>
                <c:pt idx="5">
                  <c:v>Av Price/Unit 29.59</c:v>
                </c:pt>
                <c:pt idx="6">
                  <c:v>Av Price/Unit 37.17</c:v>
                </c:pt>
                <c:pt idx="7">
                  <c:v>Av Price/Unit 30.16</c:v>
                </c:pt>
                <c:pt idx="8">
                  <c:v>Av Price/Unit 42.09</c:v>
                </c:pt>
                <c:pt idx="9">
                  <c:v>Av Price/Unit 30.42</c:v>
                </c:pt>
                <c:pt idx="10">
                  <c:v>Av Price/Unit 29.14</c:v>
                </c:pt>
                <c:pt idx="11">
                  <c:v>Av Price/Unit 97.96</c:v>
                </c:pt>
              </c:strCache>
            </c:strRef>
          </c:cat>
          <c:val>
            <c:numRef>
              <c:f>Sheet1!$C$2:$C$13</c:f>
              <c:numCache>
                <c:formatCode>General</c:formatCode>
                <c:ptCount val="12"/>
                <c:pt idx="0">
                  <c:v>27.8633286358184</c:v>
                </c:pt>
                <c:pt idx="1">
                  <c:v>13.400851990695177</c:v>
                </c:pt>
                <c:pt idx="2">
                  <c:v>22.314674546288412</c:v>
                </c:pt>
                <c:pt idx="3">
                  <c:v>47.76941169255928</c:v>
                </c:pt>
                <c:pt idx="4">
                  <c:v>15.272994038329484</c:v>
                </c:pt>
                <c:pt idx="5">
                  <c:v>14.218085944037655</c:v>
                </c:pt>
                <c:pt idx="6">
                  <c:v>18.343853404585417</c:v>
                </c:pt>
                <c:pt idx="7">
                  <c:v>14.099182824799461</c:v>
                </c:pt>
                <c:pt idx="8">
                  <c:v>20.56658287828262</c:v>
                </c:pt>
                <c:pt idx="9">
                  <c:v>13.90334297843437</c:v>
                </c:pt>
                <c:pt idx="10">
                  <c:v>13.866977586206898</c:v>
                </c:pt>
                <c:pt idx="11">
                  <c:v>49.7678541226215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93.43</c:v>
                </c:pt>
                <c:pt idx="4">
                  <c:v>Av Price/Unit 29.25</c:v>
                </c:pt>
                <c:pt idx="5">
                  <c:v>Av Price/Unit 29.59</c:v>
                </c:pt>
                <c:pt idx="6">
                  <c:v>Av Price/Unit 37.17</c:v>
                </c:pt>
                <c:pt idx="7">
                  <c:v>Av Price/Unit 30.16</c:v>
                </c:pt>
                <c:pt idx="8">
                  <c:v>Av Price/Unit 42.09</c:v>
                </c:pt>
                <c:pt idx="9">
                  <c:v>Av Price/Unit 30.42</c:v>
                </c:pt>
                <c:pt idx="10">
                  <c:v>Av Price/Unit 29.14</c:v>
                </c:pt>
                <c:pt idx="11">
                  <c:v>Av Price/Unit 97.96</c:v>
                </c:pt>
              </c:strCache>
            </c:strRef>
          </c:cat>
          <c:val>
            <c:numRef>
              <c:f>Sheet1!$D$2:$D$13</c:f>
              <c:numCache>
                <c:formatCode>General</c:formatCode>
                <c:ptCount val="12"/>
                <c:pt idx="0">
                  <c:v>-1.0043299746767858</c:v>
                </c:pt>
                <c:pt idx="1">
                  <c:v>0.7092779621842453</c:v>
                </c:pt>
                <c:pt idx="2">
                  <c:v>0.41673681451876377</c:v>
                </c:pt>
                <c:pt idx="3">
                  <c:v>-0.009335704551645563</c:v>
                </c:pt>
                <c:pt idx="4">
                  <c:v>-0.9911159831034055</c:v>
                </c:pt>
                <c:pt idx="5">
                  <c:v>-0.2862747450313847</c:v>
                </c:pt>
                <c:pt idx="6">
                  <c:v>-0.1549563351146297</c:v>
                </c:pt>
                <c:pt idx="7">
                  <c:v>-0.4122103855861283</c:v>
                </c:pt>
                <c:pt idx="8">
                  <c:v>-0.09317593441711836</c:v>
                </c:pt>
                <c:pt idx="9">
                  <c:v>0.14838948887757297</c:v>
                </c:pt>
                <c:pt idx="10">
                  <c:v>-0.6956282982120037</c:v>
                </c:pt>
                <c:pt idx="11">
                  <c:v>0.174720483908870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93.43</c:v>
                </c:pt>
                <c:pt idx="4">
                  <c:v>Av Price/Unit 29.25</c:v>
                </c:pt>
                <c:pt idx="5">
                  <c:v>Av Price/Unit 29.59</c:v>
                </c:pt>
                <c:pt idx="6">
                  <c:v>Av Price/Unit 37.17</c:v>
                </c:pt>
                <c:pt idx="7">
                  <c:v>Av Price/Unit 30.16</c:v>
                </c:pt>
                <c:pt idx="8">
                  <c:v>Av Price/Unit 42.09</c:v>
                </c:pt>
                <c:pt idx="9">
                  <c:v>Av Price/Unit 30.42</c:v>
                </c:pt>
                <c:pt idx="10">
                  <c:v>Av Price/Unit 29.14</c:v>
                </c:pt>
                <c:pt idx="11">
                  <c:v>Av Price/Unit 97.96</c:v>
                </c:pt>
              </c:strCache>
            </c:strRef>
          </c:cat>
          <c:val>
            <c:numRef>
              <c:f>Sheet1!$E$2:$E$13</c:f>
              <c:numCache>
                <c:formatCode>General</c:formatCode>
                <c:ptCount val="12"/>
                <c:pt idx="0">
                  <c:v>9.008663201386101</c:v>
                </c:pt>
                <c:pt idx="1">
                  <c:v>3.543206286719751</c:v>
                </c:pt>
                <c:pt idx="2">
                  <c:v>7.714603944178733</c:v>
                </c:pt>
                <c:pt idx="3">
                  <c:v>15.57202234941401</c:v>
                </c:pt>
                <c:pt idx="4">
                  <c:v>4.875574838212958</c:v>
                </c:pt>
                <c:pt idx="5">
                  <c:v>4.931452667364017</c:v>
                </c:pt>
                <c:pt idx="6">
                  <c:v>6.1947940010343</c:v>
                </c:pt>
                <c:pt idx="7">
                  <c:v>5.026526226353798</c:v>
                </c:pt>
                <c:pt idx="8">
                  <c:v>7.015596776434622</c:v>
                </c:pt>
                <c:pt idx="9">
                  <c:v>5.070555272542028</c:v>
                </c:pt>
                <c:pt idx="10">
                  <c:v>4.855874840357597</c:v>
                </c:pt>
                <c:pt idx="11">
                  <c:v>16.32616866337795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1.79</c:v>
                </c:pt>
                <c:pt idx="2">
                  <c:v>Av Price/Unit 12.82</c:v>
                </c:pt>
                <c:pt idx="3">
                  <c:v>Av Price/Unit 17.41</c:v>
                </c:pt>
                <c:pt idx="4">
                  <c:v>Av Price/Unit 9.11</c:v>
                </c:pt>
                <c:pt idx="5">
                  <c:v>Av Price/Unit 11.41</c:v>
                </c:pt>
                <c:pt idx="6">
                  <c:v>Av Price/Unit 11.19</c:v>
                </c:pt>
                <c:pt idx="7">
                  <c:v>Av Price/Unit 13.47</c:v>
                </c:pt>
                <c:pt idx="8">
                  <c:v>Av Price/Unit 13.86</c:v>
                </c:pt>
                <c:pt idx="9">
                  <c:v>Av Price/Unit 12.61</c:v>
                </c:pt>
                <c:pt idx="10">
                  <c:v>Av Price/Unit 5.74</c:v>
                </c:pt>
                <c:pt idx="11">
                  <c:v>Av Price/Unit 9.84</c:v>
                </c:pt>
              </c:strCache>
            </c:strRef>
          </c:cat>
          <c:val>
            <c:numRef>
              <c:f>Sheet1!$B$2:$B$13</c:f>
              <c:numCache>
                <c:formatCode>General</c:formatCode>
                <c:ptCount val="12"/>
                <c:pt idx="0">
                  <c:v>3.35766599679788</c:v>
                </c:pt>
                <c:pt idx="1">
                  <c:v>4.899808701478743</c:v>
                </c:pt>
                <c:pt idx="2">
                  <c:v>5.114592934131737</c:v>
                </c:pt>
                <c:pt idx="3">
                  <c:v>6.476689857250186</c:v>
                </c:pt>
                <c:pt idx="4">
                  <c:v>3.997904032189989</c:v>
                </c:pt>
                <c:pt idx="5">
                  <c:v>4.753502669736258</c:v>
                </c:pt>
                <c:pt idx="6">
                  <c:v>4.642104525748551</c:v>
                </c:pt>
                <c:pt idx="7">
                  <c:v>5.3892173142467605</c:v>
                </c:pt>
                <c:pt idx="8">
                  <c:v>5.6552571581196585</c:v>
                </c:pt>
                <c:pt idx="9">
                  <c:v>5.219150351094589</c:v>
                </c:pt>
                <c:pt idx="10">
                  <c:v>2.548986129345284</c:v>
                </c:pt>
                <c:pt idx="11">
                  <c:v>4.02324631181894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1.79</c:v>
                </c:pt>
                <c:pt idx="2">
                  <c:v>Av Price/Unit 12.82</c:v>
                </c:pt>
                <c:pt idx="3">
                  <c:v>Av Price/Unit 17.41</c:v>
                </c:pt>
                <c:pt idx="4">
                  <c:v>Av Price/Unit 9.11</c:v>
                </c:pt>
                <c:pt idx="5">
                  <c:v>Av Price/Unit 11.41</c:v>
                </c:pt>
                <c:pt idx="6">
                  <c:v>Av Price/Unit 11.19</c:v>
                </c:pt>
                <c:pt idx="7">
                  <c:v>Av Price/Unit 13.47</c:v>
                </c:pt>
                <c:pt idx="8">
                  <c:v>Av Price/Unit 13.86</c:v>
                </c:pt>
                <c:pt idx="9">
                  <c:v>Av Price/Unit 12.61</c:v>
                </c:pt>
                <c:pt idx="10">
                  <c:v>Av Price/Unit 5.74</c:v>
                </c:pt>
                <c:pt idx="11">
                  <c:v>Av Price/Unit 9.84</c:v>
                </c:pt>
              </c:strCache>
            </c:strRef>
          </c:cat>
          <c:val>
            <c:numRef>
              <c:f>Sheet1!$C$2:$C$13</c:f>
              <c:numCache>
                <c:formatCode>General</c:formatCode>
                <c:ptCount val="12"/>
                <c:pt idx="0">
                  <c:v>2.5802535350300886</c:v>
                </c:pt>
                <c:pt idx="1">
                  <c:v>4.577311467190388</c:v>
                </c:pt>
                <c:pt idx="2">
                  <c:v>4.964713413173652</c:v>
                </c:pt>
                <c:pt idx="3">
                  <c:v>7.626613373403456</c:v>
                </c:pt>
                <c:pt idx="4">
                  <c:v>3.2100597174934578</c:v>
                </c:pt>
                <c:pt idx="5">
                  <c:v>4.464451997253524</c:v>
                </c:pt>
                <c:pt idx="6">
                  <c:v>4.456403796442607</c:v>
                </c:pt>
                <c:pt idx="7">
                  <c:v>5.327178459441035</c:v>
                </c:pt>
                <c:pt idx="8">
                  <c:v>5.308482264957265</c:v>
                </c:pt>
                <c:pt idx="9">
                  <c:v>4.81073216646014</c:v>
                </c:pt>
                <c:pt idx="10">
                  <c:v>2.451013870654716</c:v>
                </c:pt>
                <c:pt idx="11">
                  <c:v>3.81642732606873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1.79</c:v>
                </c:pt>
                <c:pt idx="2">
                  <c:v>Av Price/Unit 12.82</c:v>
                </c:pt>
                <c:pt idx="3">
                  <c:v>Av Price/Unit 17.41</c:v>
                </c:pt>
                <c:pt idx="4">
                  <c:v>Av Price/Unit 9.11</c:v>
                </c:pt>
                <c:pt idx="5">
                  <c:v>Av Price/Unit 11.41</c:v>
                </c:pt>
                <c:pt idx="6">
                  <c:v>Av Price/Unit 11.19</c:v>
                </c:pt>
                <c:pt idx="7">
                  <c:v>Av Price/Unit 13.47</c:v>
                </c:pt>
                <c:pt idx="8">
                  <c:v>Av Price/Unit 13.86</c:v>
                </c:pt>
                <c:pt idx="9">
                  <c:v>Av Price/Unit 12.61</c:v>
                </c:pt>
                <c:pt idx="10">
                  <c:v>Av Price/Unit 5.74</c:v>
                </c:pt>
                <c:pt idx="11">
                  <c:v>Av Price/Unit 9.84</c:v>
                </c:pt>
              </c:strCache>
            </c:strRef>
          </c:cat>
          <c:val>
            <c:numRef>
              <c:f>Sheet1!$D$2:$D$13</c:f>
              <c:numCache>
                <c:formatCode>General</c:formatCode>
                <c:ptCount val="12"/>
                <c:pt idx="0">
                  <c:v>0.2272472912641037</c:v>
                </c:pt>
                <c:pt idx="1">
                  <c:v>0.3438384711953191</c:v>
                </c:pt>
                <c:pt idx="2">
                  <c:v>0.6004301086715476</c:v>
                </c:pt>
                <c:pt idx="3">
                  <c:v>0.4057203731530201</c:v>
                </c:pt>
                <c:pt idx="4">
                  <c:v>0.38402439479632733</c:v>
                </c:pt>
                <c:pt idx="5">
                  <c:v>0.28804988354402816</c:v>
                </c:pt>
                <c:pt idx="6">
                  <c:v>0.22351913347649166</c:v>
                </c:pt>
                <c:pt idx="7">
                  <c:v>0.5056078845716847</c:v>
                </c:pt>
                <c:pt idx="8">
                  <c:v>0.5858510327635358</c:v>
                </c:pt>
                <c:pt idx="9">
                  <c:v>0.47516016453255894</c:v>
                </c:pt>
                <c:pt idx="10">
                  <c:v>-0.2191905930703788</c:v>
                </c:pt>
                <c:pt idx="11">
                  <c:v>0.35884550153673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1.79</c:v>
                </c:pt>
                <c:pt idx="2">
                  <c:v>Av Price/Unit 12.82</c:v>
                </c:pt>
                <c:pt idx="3">
                  <c:v>Av Price/Unit 17.41</c:v>
                </c:pt>
                <c:pt idx="4">
                  <c:v>Av Price/Unit 9.11</c:v>
                </c:pt>
                <c:pt idx="5">
                  <c:v>Av Price/Unit 11.41</c:v>
                </c:pt>
                <c:pt idx="6">
                  <c:v>Av Price/Unit 11.19</c:v>
                </c:pt>
                <c:pt idx="7">
                  <c:v>Av Price/Unit 13.47</c:v>
                </c:pt>
                <c:pt idx="8">
                  <c:v>Av Price/Unit 13.86</c:v>
                </c:pt>
                <c:pt idx="9">
                  <c:v>Av Price/Unit 12.61</c:v>
                </c:pt>
                <c:pt idx="10">
                  <c:v>Av Price/Unit 5.74</c:v>
                </c:pt>
                <c:pt idx="11">
                  <c:v>Av Price/Unit 9.84</c:v>
                </c:pt>
              </c:strCache>
            </c:strRef>
          </c:cat>
          <c:val>
            <c:numRef>
              <c:f>Sheet1!$E$2:$E$13</c:f>
              <c:numCache>
                <c:formatCode>General</c:formatCode>
                <c:ptCount val="12"/>
                <c:pt idx="0">
                  <c:v>1.2330333646184148</c:v>
                </c:pt>
                <c:pt idx="1">
                  <c:v>1.9641905422057921</c:v>
                </c:pt>
                <c:pt idx="2">
                  <c:v>2.135955866045686</c:v>
                </c:pt>
                <c:pt idx="3">
                  <c:v>2.9018047207613313</c:v>
                </c:pt>
                <c:pt idx="4">
                  <c:v>1.5183976288959542</c:v>
                </c:pt>
                <c:pt idx="5">
                  <c:v>1.9012009101067664</c:v>
                </c:pt>
                <c:pt idx="6">
                  <c:v>1.864396364274814</c:v>
                </c:pt>
                <c:pt idx="7">
                  <c:v>2.244390479436491</c:v>
                </c:pt>
                <c:pt idx="8">
                  <c:v>2.3099180911680874</c:v>
                </c:pt>
                <c:pt idx="9">
                  <c:v>2.1010085364174618</c:v>
                </c:pt>
                <c:pt idx="10">
                  <c:v>0.9561618813859222</c:v>
                </c:pt>
                <c:pt idx="11">
                  <c:v>1.63970382788488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4</c:v>
                </c:pt>
                <c:pt idx="1">
                  <c:v>Av Price/Unit 11.78</c:v>
                </c:pt>
                <c:pt idx="2">
                  <c:v>Av Price/Unit 17.38</c:v>
                </c:pt>
                <c:pt idx="3">
                  <c:v>Av Price/Unit 12.81</c:v>
                </c:pt>
                <c:pt idx="4">
                  <c:v>Av Price/Unit 9.09</c:v>
                </c:pt>
                <c:pt idx="5">
                  <c:v>Av Price/Unit 11.40</c:v>
                </c:pt>
                <c:pt idx="6">
                  <c:v>Av Price/Unit 11.20</c:v>
                </c:pt>
                <c:pt idx="7">
                  <c:v>Av Price/Unit 13.53</c:v>
                </c:pt>
                <c:pt idx="8">
                  <c:v>Av Price/Unit 13.81</c:v>
                </c:pt>
                <c:pt idx="9">
                  <c:v>Av Price/Unit 12.58</c:v>
                </c:pt>
                <c:pt idx="10">
                  <c:v>Av Price/Unit 5.76</c:v>
                </c:pt>
                <c:pt idx="11">
                  <c:v>Av Price/Unit 9.80</c:v>
                </c:pt>
              </c:strCache>
            </c:strRef>
          </c:cat>
          <c:val>
            <c:numRef>
              <c:f>Sheet1!$B$2:$B$13</c:f>
              <c:numCache>
                <c:formatCode>General</c:formatCode>
                <c:ptCount val="12"/>
                <c:pt idx="0">
                  <c:v>3.360509170800208</c:v>
                </c:pt>
                <c:pt idx="1">
                  <c:v>4.9010822103319285</c:v>
                </c:pt>
                <c:pt idx="2">
                  <c:v>6.4760469245339465</c:v>
                </c:pt>
                <c:pt idx="3">
                  <c:v>5.116732165812089</c:v>
                </c:pt>
                <c:pt idx="4">
                  <c:v>3.9851112126333583</c:v>
                </c:pt>
                <c:pt idx="5">
                  <c:v>4.7570874003309775</c:v>
                </c:pt>
                <c:pt idx="6">
                  <c:v>4.648554914183246</c:v>
                </c:pt>
                <c:pt idx="7">
                  <c:v>5.411350469554682</c:v>
                </c:pt>
                <c:pt idx="8">
                  <c:v>5.6572593785524825</c:v>
                </c:pt>
                <c:pt idx="9">
                  <c:v>5.22884993052339</c:v>
                </c:pt>
                <c:pt idx="10">
                  <c:v>2.549108297153883</c:v>
                </c:pt>
                <c:pt idx="11">
                  <c:v>4.02463721973094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4</c:v>
                </c:pt>
                <c:pt idx="1">
                  <c:v>Av Price/Unit 11.78</c:v>
                </c:pt>
                <c:pt idx="2">
                  <c:v>Av Price/Unit 17.38</c:v>
                </c:pt>
                <c:pt idx="3">
                  <c:v>Av Price/Unit 12.81</c:v>
                </c:pt>
                <c:pt idx="4">
                  <c:v>Av Price/Unit 9.09</c:v>
                </c:pt>
                <c:pt idx="5">
                  <c:v>Av Price/Unit 11.40</c:v>
                </c:pt>
                <c:pt idx="6">
                  <c:v>Av Price/Unit 11.20</c:v>
                </c:pt>
                <c:pt idx="7">
                  <c:v>Av Price/Unit 13.53</c:v>
                </c:pt>
                <c:pt idx="8">
                  <c:v>Av Price/Unit 13.81</c:v>
                </c:pt>
                <c:pt idx="9">
                  <c:v>Av Price/Unit 12.58</c:v>
                </c:pt>
                <c:pt idx="10">
                  <c:v>Av Price/Unit 5.76</c:v>
                </c:pt>
                <c:pt idx="11">
                  <c:v>Av Price/Unit 9.80</c:v>
                </c:pt>
              </c:strCache>
            </c:strRef>
          </c:cat>
          <c:val>
            <c:numRef>
              <c:f>Sheet1!$C$2:$C$13</c:f>
              <c:numCache>
                <c:formatCode>General</c:formatCode>
                <c:ptCount val="12"/>
                <c:pt idx="0">
                  <c:v>2.5823500668161534</c:v>
                </c:pt>
                <c:pt idx="1">
                  <c:v>4.578347440693215</c:v>
                </c:pt>
                <c:pt idx="2">
                  <c:v>7.634368697039179</c:v>
                </c:pt>
                <c:pt idx="3">
                  <c:v>4.967727486098072</c:v>
                </c:pt>
                <c:pt idx="4">
                  <c:v>3.199595748389141</c:v>
                </c:pt>
                <c:pt idx="5">
                  <c:v>4.468023958176621</c:v>
                </c:pt>
                <c:pt idx="6">
                  <c:v>4.457011570318504</c:v>
                </c:pt>
                <c:pt idx="7">
                  <c:v>5.336526022417449</c:v>
                </c:pt>
                <c:pt idx="8">
                  <c:v>5.302545471769609</c:v>
                </c:pt>
                <c:pt idx="9">
                  <c:v>4.817528485409912</c:v>
                </c:pt>
                <c:pt idx="10">
                  <c:v>2.450891702846117</c:v>
                </c:pt>
                <c:pt idx="11">
                  <c:v>3.81771793721973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4</c:v>
                </c:pt>
                <c:pt idx="1">
                  <c:v>Av Price/Unit 11.78</c:v>
                </c:pt>
                <c:pt idx="2">
                  <c:v>Av Price/Unit 17.38</c:v>
                </c:pt>
                <c:pt idx="3">
                  <c:v>Av Price/Unit 12.81</c:v>
                </c:pt>
                <c:pt idx="4">
                  <c:v>Av Price/Unit 9.09</c:v>
                </c:pt>
                <c:pt idx="5">
                  <c:v>Av Price/Unit 11.40</c:v>
                </c:pt>
                <c:pt idx="6">
                  <c:v>Av Price/Unit 11.20</c:v>
                </c:pt>
                <c:pt idx="7">
                  <c:v>Av Price/Unit 13.53</c:v>
                </c:pt>
                <c:pt idx="8">
                  <c:v>Av Price/Unit 13.81</c:v>
                </c:pt>
                <c:pt idx="9">
                  <c:v>Av Price/Unit 12.58</c:v>
                </c:pt>
                <c:pt idx="10">
                  <c:v>Av Price/Unit 5.76</c:v>
                </c:pt>
                <c:pt idx="11">
                  <c:v>Av Price/Unit 9.80</c:v>
                </c:pt>
              </c:strCache>
            </c:strRef>
          </c:cat>
          <c:val>
            <c:numRef>
              <c:f>Sheet1!$D$2:$D$13</c:f>
              <c:numCache>
                <c:formatCode>General</c:formatCode>
                <c:ptCount val="12"/>
                <c:pt idx="0">
                  <c:v>0.2579440661970658</c:v>
                </c:pt>
                <c:pt idx="1">
                  <c:v>0.3346812238584551</c:v>
                </c:pt>
                <c:pt idx="2">
                  <c:v>0.3760928687734708</c:v>
                </c:pt>
                <c:pt idx="3">
                  <c:v>0.5876038179148306</c:v>
                </c:pt>
                <c:pt idx="4">
                  <c:v>0.3901583606211041</c:v>
                </c:pt>
                <c:pt idx="5">
                  <c:v>0.2734092773682377</c:v>
                </c:pt>
                <c:pt idx="6">
                  <c:v>0.22488298465829892</c:v>
                </c:pt>
                <c:pt idx="7">
                  <c:v>0.5274223366656585</c:v>
                </c:pt>
                <c:pt idx="8">
                  <c:v>0.5455001894657077</c:v>
                </c:pt>
                <c:pt idx="9">
                  <c:v>0.4382209356183413</c:v>
                </c:pt>
                <c:pt idx="10">
                  <c:v>-0.19808248914616478</c:v>
                </c:pt>
                <c:pt idx="11">
                  <c:v>0.323800141609629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4</c:v>
                </c:pt>
                <c:pt idx="1">
                  <c:v>Av Price/Unit 11.78</c:v>
                </c:pt>
                <c:pt idx="2">
                  <c:v>Av Price/Unit 17.38</c:v>
                </c:pt>
                <c:pt idx="3">
                  <c:v>Av Price/Unit 12.81</c:v>
                </c:pt>
                <c:pt idx="4">
                  <c:v>Av Price/Unit 9.09</c:v>
                </c:pt>
                <c:pt idx="5">
                  <c:v>Av Price/Unit 11.40</c:v>
                </c:pt>
                <c:pt idx="6">
                  <c:v>Av Price/Unit 11.20</c:v>
                </c:pt>
                <c:pt idx="7">
                  <c:v>Av Price/Unit 13.53</c:v>
                </c:pt>
                <c:pt idx="8">
                  <c:v>Av Price/Unit 13.81</c:v>
                </c:pt>
                <c:pt idx="9">
                  <c:v>Av Price/Unit 12.58</c:v>
                </c:pt>
                <c:pt idx="10">
                  <c:v>Av Price/Unit 5.76</c:v>
                </c:pt>
                <c:pt idx="11">
                  <c:v>Av Price/Unit 9.80</c:v>
                </c:pt>
              </c:strCache>
            </c:strRef>
          </c:cat>
          <c:val>
            <c:numRef>
              <c:f>Sheet1!$E$2:$E$13</c:f>
              <c:numCache>
                <c:formatCode>General</c:formatCode>
                <c:ptCount val="12"/>
                <c:pt idx="0">
                  <c:v>1.2401606607626852</c:v>
                </c:pt>
                <c:pt idx="1">
                  <c:v>1.9628217876477714</c:v>
                </c:pt>
                <c:pt idx="2">
                  <c:v>2.8973016980693167</c:v>
                </c:pt>
                <c:pt idx="3">
                  <c:v>2.1344214149876013</c:v>
                </c:pt>
                <c:pt idx="4">
                  <c:v>1.514973064328721</c:v>
                </c:pt>
                <c:pt idx="5">
                  <c:v>1.899704127175166</c:v>
                </c:pt>
                <c:pt idx="6">
                  <c:v>1.8660803233427254</c:v>
                </c:pt>
                <c:pt idx="7">
                  <c:v>2.2550489750580627</c:v>
                </c:pt>
                <c:pt idx="8">
                  <c:v>2.3010610079575597</c:v>
                </c:pt>
                <c:pt idx="9">
                  <c:v>2.096919870310329</c:v>
                </c:pt>
                <c:pt idx="10">
                  <c:v>0.960383502170767</c:v>
                </c:pt>
                <c:pt idx="11">
                  <c:v>1.633231059712060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19</c:v>
                </c:pt>
                <c:pt idx="1">
                  <c:v>Av Price/Unit 11.79</c:v>
                </c:pt>
                <c:pt idx="2">
                  <c:v>Av Price/Unit 17.47</c:v>
                </c:pt>
                <c:pt idx="3">
                  <c:v>Av Price/Unit 11.15</c:v>
                </c:pt>
                <c:pt idx="4">
                  <c:v>Av Price/Unit 12.51</c:v>
                </c:pt>
                <c:pt idx="5">
                  <c:v>Av Price/Unit 9.20</c:v>
                </c:pt>
                <c:pt idx="6">
                  <c:v>Av Price/Unit 11.44</c:v>
                </c:pt>
                <c:pt idx="7">
                  <c:v>Av Price/Unit 9.25</c:v>
                </c:pt>
                <c:pt idx="8">
                  <c:v>Av Price/Unit 11.57</c:v>
                </c:pt>
                <c:pt idx="9">
                  <c:v>Av Price/Unit 12.29</c:v>
                </c:pt>
                <c:pt idx="10">
                  <c:v>Av Price/Unit 9.95</c:v>
                </c:pt>
                <c:pt idx="11">
                  <c:v>Av Price/Unit 10.99</c:v>
                </c:pt>
              </c:strCache>
            </c:strRef>
          </c:cat>
          <c:val>
            <c:numRef>
              <c:f>Sheet1!$B$2:$B$13</c:f>
              <c:numCache>
                <c:formatCode>General</c:formatCode>
                <c:ptCount val="12"/>
                <c:pt idx="0">
                  <c:v>3.3443261036468326</c:v>
                </c:pt>
                <c:pt idx="1">
                  <c:v>4.891023331635253</c:v>
                </c:pt>
                <c:pt idx="2">
                  <c:v>6.483387079646017</c:v>
                </c:pt>
                <c:pt idx="3">
                  <c:v>4.619426224328595</c:v>
                </c:pt>
                <c:pt idx="4">
                  <c:v>5.072313447653429</c:v>
                </c:pt>
                <c:pt idx="5">
                  <c:v>4.104786001489202</c:v>
                </c:pt>
                <c:pt idx="6">
                  <c:v>3.9</c:v>
                </c:pt>
                <c:pt idx="7">
                  <c:v>2.6537701327433627</c:v>
                </c:pt>
                <c:pt idx="8">
                  <c:v>4.7427183844011145</c:v>
                </c:pt>
                <c:pt idx="9">
                  <c:v>5.158027322404371</c:v>
                </c:pt>
                <c:pt idx="10">
                  <c:v>4.015914163822526</c:v>
                </c:pt>
                <c:pt idx="11">
                  <c:v>4.52757407407407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19</c:v>
                </c:pt>
                <c:pt idx="1">
                  <c:v>Av Price/Unit 11.79</c:v>
                </c:pt>
                <c:pt idx="2">
                  <c:v>Av Price/Unit 17.47</c:v>
                </c:pt>
                <c:pt idx="3">
                  <c:v>Av Price/Unit 11.15</c:v>
                </c:pt>
                <c:pt idx="4">
                  <c:v>Av Price/Unit 12.51</c:v>
                </c:pt>
                <c:pt idx="5">
                  <c:v>Av Price/Unit 9.20</c:v>
                </c:pt>
                <c:pt idx="6">
                  <c:v>Av Price/Unit 11.44</c:v>
                </c:pt>
                <c:pt idx="7">
                  <c:v>Av Price/Unit 9.25</c:v>
                </c:pt>
                <c:pt idx="8">
                  <c:v>Av Price/Unit 11.57</c:v>
                </c:pt>
                <c:pt idx="9">
                  <c:v>Av Price/Unit 12.29</c:v>
                </c:pt>
                <c:pt idx="10">
                  <c:v>Av Price/Unit 9.95</c:v>
                </c:pt>
                <c:pt idx="11">
                  <c:v>Av Price/Unit 10.99</c:v>
                </c:pt>
              </c:strCache>
            </c:strRef>
          </c:cat>
          <c:val>
            <c:numRef>
              <c:f>Sheet1!$C$2:$C$13</c:f>
              <c:numCache>
                <c:formatCode>General</c:formatCode>
                <c:ptCount val="12"/>
                <c:pt idx="0">
                  <c:v>2.5704168138195778</c:v>
                </c:pt>
                <c:pt idx="1">
                  <c:v>4.570164747834947</c:v>
                </c:pt>
                <c:pt idx="2">
                  <c:v>7.545828672566371</c:v>
                </c:pt>
                <c:pt idx="3">
                  <c:v>4.454266982622433</c:v>
                </c:pt>
                <c:pt idx="4">
                  <c:v>4.905143682310469</c:v>
                </c:pt>
                <c:pt idx="5">
                  <c:v>3.2974845122859273</c:v>
                </c:pt>
                <c:pt idx="6">
                  <c:v>5.6000000000000005</c:v>
                </c:pt>
                <c:pt idx="7">
                  <c:v>4.957256637168142</c:v>
                </c:pt>
                <c:pt idx="8">
                  <c:v>4.453706128133705</c:v>
                </c:pt>
                <c:pt idx="9">
                  <c:v>4.767904371584699</c:v>
                </c:pt>
                <c:pt idx="10">
                  <c:v>3.8096238907849824</c:v>
                </c:pt>
                <c:pt idx="11">
                  <c:v>4.27890740740740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19</c:v>
                </c:pt>
                <c:pt idx="1">
                  <c:v>Av Price/Unit 11.79</c:v>
                </c:pt>
                <c:pt idx="2">
                  <c:v>Av Price/Unit 17.47</c:v>
                </c:pt>
                <c:pt idx="3">
                  <c:v>Av Price/Unit 11.15</c:v>
                </c:pt>
                <c:pt idx="4">
                  <c:v>Av Price/Unit 12.51</c:v>
                </c:pt>
                <c:pt idx="5">
                  <c:v>Av Price/Unit 9.20</c:v>
                </c:pt>
                <c:pt idx="6">
                  <c:v>Av Price/Unit 11.44</c:v>
                </c:pt>
                <c:pt idx="7">
                  <c:v>Av Price/Unit 9.25</c:v>
                </c:pt>
                <c:pt idx="8">
                  <c:v>Av Price/Unit 11.57</c:v>
                </c:pt>
                <c:pt idx="9">
                  <c:v>Av Price/Unit 12.29</c:v>
                </c:pt>
                <c:pt idx="10">
                  <c:v>Av Price/Unit 9.95</c:v>
                </c:pt>
                <c:pt idx="11">
                  <c:v>Av Price/Unit 10.99</c:v>
                </c:pt>
              </c:strCache>
            </c:strRef>
          </c:cat>
          <c:val>
            <c:numRef>
              <c:f>Sheet1!$D$2:$D$13</c:f>
              <c:numCache>
                <c:formatCode>General</c:formatCode>
                <c:ptCount val="12"/>
                <c:pt idx="0">
                  <c:v>0.07502035828535014</c:v>
                </c:pt>
                <c:pt idx="1">
                  <c:v>0.3609713873323166</c:v>
                </c:pt>
                <c:pt idx="2">
                  <c:v>0.5319936873156319</c:v>
                </c:pt>
                <c:pt idx="3">
                  <c:v>0.21873536071616684</c:v>
                </c:pt>
                <c:pt idx="4">
                  <c:v>0.44444584837545165</c:v>
                </c:pt>
                <c:pt idx="5">
                  <c:v>0.2677468602630917</c:v>
                </c:pt>
                <c:pt idx="6">
                  <c:v>0.031126871552404012</c:v>
                </c:pt>
                <c:pt idx="7">
                  <c:v>0.09822839233038305</c:v>
                </c:pt>
                <c:pt idx="8">
                  <c:v>0.44145849582172936</c:v>
                </c:pt>
                <c:pt idx="9">
                  <c:v>0.3184520340012149</c:v>
                </c:pt>
                <c:pt idx="10">
                  <c:v>0.46797730375426827</c:v>
                </c:pt>
                <c:pt idx="11">
                  <c:v>0.3511074800290465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19</c:v>
                </c:pt>
                <c:pt idx="1">
                  <c:v>Av Price/Unit 11.79</c:v>
                </c:pt>
                <c:pt idx="2">
                  <c:v>Av Price/Unit 17.47</c:v>
                </c:pt>
                <c:pt idx="3">
                  <c:v>Av Price/Unit 11.15</c:v>
                </c:pt>
                <c:pt idx="4">
                  <c:v>Av Price/Unit 12.51</c:v>
                </c:pt>
                <c:pt idx="5">
                  <c:v>Av Price/Unit 9.20</c:v>
                </c:pt>
                <c:pt idx="6">
                  <c:v>Av Price/Unit 11.44</c:v>
                </c:pt>
                <c:pt idx="7">
                  <c:v>Av Price/Unit 9.25</c:v>
                </c:pt>
                <c:pt idx="8">
                  <c:v>Av Price/Unit 11.57</c:v>
                </c:pt>
                <c:pt idx="9">
                  <c:v>Av Price/Unit 12.29</c:v>
                </c:pt>
                <c:pt idx="10">
                  <c:v>Av Price/Unit 9.95</c:v>
                </c:pt>
                <c:pt idx="11">
                  <c:v>Av Price/Unit 10.99</c:v>
                </c:pt>
              </c:strCache>
            </c:strRef>
          </c:cat>
          <c:val>
            <c:numRef>
              <c:f>Sheet1!$E$2:$E$13</c:f>
              <c:numCache>
                <c:formatCode>General</c:formatCode>
                <c:ptCount val="12"/>
                <c:pt idx="0">
                  <c:v>1.197952655150351</c:v>
                </c:pt>
                <c:pt idx="1">
                  <c:v>1.964425199524536</c:v>
                </c:pt>
                <c:pt idx="2">
                  <c:v>2.9122418879056067</c:v>
                </c:pt>
                <c:pt idx="3">
                  <c:v>1.8584781463928375</c:v>
                </c:pt>
                <c:pt idx="4">
                  <c:v>2.0843862815884475</c:v>
                </c:pt>
                <c:pt idx="5">
                  <c:v>1.534003474807644</c:v>
                </c:pt>
                <c:pt idx="6">
                  <c:v>1.90622537431048</c:v>
                </c:pt>
                <c:pt idx="7">
                  <c:v>1.5418510324483772</c:v>
                </c:pt>
                <c:pt idx="8">
                  <c:v>1.9275766016713092</c:v>
                </c:pt>
                <c:pt idx="9">
                  <c:v>2.0488767455980565</c:v>
                </c:pt>
                <c:pt idx="10">
                  <c:v>1.6587030716723534</c:v>
                </c:pt>
                <c:pt idx="11">
                  <c:v>1.831517792302106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32</c:v>
                </c:pt>
                <c:pt idx="1">
                  <c:v>Av Price/Unit 11.79</c:v>
                </c:pt>
                <c:pt idx="2">
                  <c:v>Av Price/Unit 9.16</c:v>
                </c:pt>
                <c:pt idx="3">
                  <c:v>Av Price/Unit 12.87</c:v>
                </c:pt>
                <c:pt idx="4">
                  <c:v>Av Price/Unit 17.52</c:v>
                </c:pt>
                <c:pt idx="5">
                  <c:v>Av Price/Unit 13.08</c:v>
                </c:pt>
                <c:pt idx="6">
                  <c:v>Av Price/Unit 11.20</c:v>
                </c:pt>
                <c:pt idx="7">
                  <c:v>Av Price/Unit 12.74</c:v>
                </c:pt>
                <c:pt idx="8">
                  <c:v>Av Price/Unit 9.87</c:v>
                </c:pt>
                <c:pt idx="9">
                  <c:v>Av Price/Unit 11.44</c:v>
                </c:pt>
                <c:pt idx="10">
                  <c:v>Av Price/Unit 13.55</c:v>
                </c:pt>
                <c:pt idx="11">
                  <c:v>Av Price/Unit 5.71</c:v>
                </c:pt>
              </c:strCache>
            </c:strRef>
          </c:cat>
          <c:val>
            <c:numRef>
              <c:f>Sheet1!$B$2:$B$13</c:f>
              <c:numCache>
                <c:formatCode>General</c:formatCode>
                <c:ptCount val="12"/>
                <c:pt idx="0">
                  <c:v>3.353625930556891</c:v>
                </c:pt>
                <c:pt idx="1">
                  <c:v>4.896732911849711</c:v>
                </c:pt>
                <c:pt idx="2">
                  <c:v>4.029371893744645</c:v>
                </c:pt>
                <c:pt idx="3">
                  <c:v>5.102353673664122</c:v>
                </c:pt>
                <c:pt idx="4">
                  <c:v>6.478492417061613</c:v>
                </c:pt>
                <c:pt idx="5">
                  <c:v>3.5679234567901235</c:v>
                </c:pt>
                <c:pt idx="6">
                  <c:v>4.632890410958904</c:v>
                </c:pt>
                <c:pt idx="7">
                  <c:v>5.213883864337102</c:v>
                </c:pt>
                <c:pt idx="8">
                  <c:v>4.020725423728813</c:v>
                </c:pt>
                <c:pt idx="9">
                  <c:v>4.737894123222749</c:v>
                </c:pt>
                <c:pt idx="10">
                  <c:v>5.409970504731861</c:v>
                </c:pt>
                <c:pt idx="11">
                  <c:v>2.55036813778256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32</c:v>
                </c:pt>
                <c:pt idx="1">
                  <c:v>Av Price/Unit 11.79</c:v>
                </c:pt>
                <c:pt idx="2">
                  <c:v>Av Price/Unit 9.16</c:v>
                </c:pt>
                <c:pt idx="3">
                  <c:v>Av Price/Unit 12.87</c:v>
                </c:pt>
                <c:pt idx="4">
                  <c:v>Av Price/Unit 17.52</c:v>
                </c:pt>
                <c:pt idx="5">
                  <c:v>Av Price/Unit 13.08</c:v>
                </c:pt>
                <c:pt idx="6">
                  <c:v>Av Price/Unit 11.20</c:v>
                </c:pt>
                <c:pt idx="7">
                  <c:v>Av Price/Unit 12.74</c:v>
                </c:pt>
                <c:pt idx="8">
                  <c:v>Av Price/Unit 9.87</c:v>
                </c:pt>
                <c:pt idx="9">
                  <c:v>Av Price/Unit 11.44</c:v>
                </c:pt>
                <c:pt idx="10">
                  <c:v>Av Price/Unit 13.55</c:v>
                </c:pt>
                <c:pt idx="11">
                  <c:v>Av Price/Unit 5.71</c:v>
                </c:pt>
              </c:strCache>
            </c:strRef>
          </c:cat>
          <c:val>
            <c:numRef>
              <c:f>Sheet1!$C$2:$C$13</c:f>
              <c:numCache>
                <c:formatCode>General</c:formatCode>
                <c:ptCount val="12"/>
                <c:pt idx="0">
                  <c:v>2.5772744253149944</c:v>
                </c:pt>
                <c:pt idx="1">
                  <c:v>4.574809374999999</c:v>
                </c:pt>
                <c:pt idx="2">
                  <c:v>3.2357990574121676</c:v>
                </c:pt>
                <c:pt idx="3">
                  <c:v>4.947468893129771</c:v>
                </c:pt>
                <c:pt idx="4">
                  <c:v>7.604870142180095</c:v>
                </c:pt>
                <c:pt idx="5">
                  <c:v>7.753791887125222</c:v>
                </c:pt>
                <c:pt idx="6">
                  <c:v>4.455535616438357</c:v>
                </c:pt>
                <c:pt idx="7">
                  <c:v>4.807042034943474</c:v>
                </c:pt>
                <c:pt idx="8">
                  <c:v>3.81408821630347</c:v>
                </c:pt>
                <c:pt idx="9">
                  <c:v>4.448899052132702</c:v>
                </c:pt>
                <c:pt idx="10">
                  <c:v>5.3359432176656165</c:v>
                </c:pt>
                <c:pt idx="11">
                  <c:v>2.44963186221743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32</c:v>
                </c:pt>
                <c:pt idx="1">
                  <c:v>Av Price/Unit 11.79</c:v>
                </c:pt>
                <c:pt idx="2">
                  <c:v>Av Price/Unit 9.16</c:v>
                </c:pt>
                <c:pt idx="3">
                  <c:v>Av Price/Unit 12.87</c:v>
                </c:pt>
                <c:pt idx="4">
                  <c:v>Av Price/Unit 17.52</c:v>
                </c:pt>
                <c:pt idx="5">
                  <c:v>Av Price/Unit 13.08</c:v>
                </c:pt>
                <c:pt idx="6">
                  <c:v>Av Price/Unit 11.20</c:v>
                </c:pt>
                <c:pt idx="7">
                  <c:v>Av Price/Unit 12.74</c:v>
                </c:pt>
                <c:pt idx="8">
                  <c:v>Av Price/Unit 9.87</c:v>
                </c:pt>
                <c:pt idx="9">
                  <c:v>Av Price/Unit 11.44</c:v>
                </c:pt>
                <c:pt idx="10">
                  <c:v>Av Price/Unit 13.55</c:v>
                </c:pt>
                <c:pt idx="11">
                  <c:v>Av Price/Unit 5.71</c:v>
                </c:pt>
              </c:strCache>
            </c:strRef>
          </c:cat>
          <c:val>
            <c:numRef>
              <c:f>Sheet1!$D$2:$D$13</c:f>
              <c:numCache>
                <c:formatCode>General</c:formatCode>
                <c:ptCount val="12"/>
                <c:pt idx="0">
                  <c:v>0.16973764868070962</c:v>
                </c:pt>
                <c:pt idx="1">
                  <c:v>0.35596605852601293</c:v>
                </c:pt>
                <c:pt idx="2">
                  <c:v>0.36622007997715134</c:v>
                </c:pt>
                <c:pt idx="3">
                  <c:v>0.6741368320610697</c:v>
                </c:pt>
                <c:pt idx="4">
                  <c:v>0.5157685624012665</c:v>
                </c:pt>
                <c:pt idx="5">
                  <c:v>-0.4237141681363905</c:v>
                </c:pt>
                <c:pt idx="6">
                  <c:v>0.24888178589548637</c:v>
                </c:pt>
                <c:pt idx="7">
                  <c:v>0.5991494689962327</c:v>
                </c:pt>
                <c:pt idx="8">
                  <c:v>0.388215684691958</c:v>
                </c:pt>
                <c:pt idx="9">
                  <c:v>0.3487518483412355</c:v>
                </c:pt>
                <c:pt idx="10">
                  <c:v>0.5435722397476361</c:v>
                </c:pt>
                <c:pt idx="11">
                  <c:v>-0.2466810190168642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32</c:v>
                </c:pt>
                <c:pt idx="1">
                  <c:v>Av Price/Unit 11.79</c:v>
                </c:pt>
                <c:pt idx="2">
                  <c:v>Av Price/Unit 9.16</c:v>
                </c:pt>
                <c:pt idx="3">
                  <c:v>Av Price/Unit 12.87</c:v>
                </c:pt>
                <c:pt idx="4">
                  <c:v>Av Price/Unit 17.52</c:v>
                </c:pt>
                <c:pt idx="5">
                  <c:v>Av Price/Unit 13.08</c:v>
                </c:pt>
                <c:pt idx="6">
                  <c:v>Av Price/Unit 11.20</c:v>
                </c:pt>
                <c:pt idx="7">
                  <c:v>Av Price/Unit 12.74</c:v>
                </c:pt>
                <c:pt idx="8">
                  <c:v>Av Price/Unit 9.87</c:v>
                </c:pt>
                <c:pt idx="9">
                  <c:v>Av Price/Unit 11.44</c:v>
                </c:pt>
                <c:pt idx="10">
                  <c:v>Av Price/Unit 13.55</c:v>
                </c:pt>
                <c:pt idx="11">
                  <c:v>Av Price/Unit 5.71</c:v>
                </c:pt>
              </c:strCache>
            </c:strRef>
          </c:cat>
          <c:val>
            <c:numRef>
              <c:f>Sheet1!$E$2:$E$13</c:f>
              <c:numCache>
                <c:formatCode>General</c:formatCode>
                <c:ptCount val="12"/>
                <c:pt idx="0">
                  <c:v>1.2201276009105189</c:v>
                </c:pt>
                <c:pt idx="1">
                  <c:v>1.9654985549132948</c:v>
                </c:pt>
                <c:pt idx="2">
                  <c:v>1.5262782062267923</c:v>
                </c:pt>
                <c:pt idx="3">
                  <c:v>2.1447996183206106</c:v>
                </c:pt>
                <c:pt idx="4">
                  <c:v>2.919826224328594</c:v>
                </c:pt>
                <c:pt idx="5">
                  <c:v>2.17960023515579</c:v>
                </c:pt>
                <c:pt idx="6">
                  <c:v>1.867453069507863</c:v>
                </c:pt>
                <c:pt idx="7">
                  <c:v>2.124015073655361</c:v>
                </c:pt>
                <c:pt idx="8">
                  <c:v>1.6446058649448474</c:v>
                </c:pt>
                <c:pt idx="9">
                  <c:v>1.9071090047393349</c:v>
                </c:pt>
                <c:pt idx="10">
                  <c:v>2.257886435331229</c:v>
                </c:pt>
                <c:pt idx="11">
                  <c:v>0.950663796196627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B62B6FC-C5A4-4FFA-918C-D7406957C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7AC1351-8872-4982-B884-548981D37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3A9E2ED-4A60-44E8-BDD0-0B3D5CFB9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23550B2-DEE1-4B14-AEDB-0DA78E8D8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1CF37DB-5A8A-4CC1-BFF8-3DD6661E0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E01B088-A784-4F3E-AB11-B38562453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3CCF856-8456-477D-9E09-FFE5171DD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2984763-3090-40CB-8784-8DC70A886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3.4879</c:v>
                </c:pt>
                <c:pt idx="1">
                  <c:v>13.2141</c:v>
                </c:pt>
                <c:pt idx="2">
                  <c:v>13.4406</c:v>
                </c:pt>
                <c:pt idx="3">
                  <c:v>13.4873</c:v>
                </c:pt>
                <c:pt idx="4">
                  <c:v>13.5966</c:v>
                </c:pt>
              </c:numCache>
            </c:numRef>
          </c:xVal>
          <c:yVal>
            <c:numRef>
              <c:f>Sheet1!$B$2:$B$6</c:f>
              <c:numCache>
                <c:formatCode>General</c:formatCode>
                <c:ptCount val="5"/>
                <c:pt idx="0">
                  <c:v>0.5096</c:v>
                </c:pt>
                <c:pt idx="1">
                  <c:v>0.5121</c:v>
                </c:pt>
                <c:pt idx="2">
                  <c:v>0.5105</c:v>
                </c:pt>
                <c:pt idx="3">
                  <c:v>0.5109</c:v>
                </c:pt>
                <c:pt idx="4">
                  <c:v>0.4992</c:v>
                </c:pt>
              </c:numCache>
            </c:numRef>
          </c:yVal>
          <c:bubbleSize>
            <c:numRef>
              <c:f>Sheet1!$C$2:$C$6</c:f>
              <c:numCache>
                <c:formatCode>General</c:formatCode>
                <c:ptCount val="5"/>
                <c:pt idx="0">
                  <c:v>18856.139100000004</c:v>
                </c:pt>
                <c:pt idx="1">
                  <c:v>16504.390499999998</c:v>
                </c:pt>
                <c:pt idx="2">
                  <c:v>183020.37859999997</c:v>
                </c:pt>
                <c:pt idx="3">
                  <c:v>43955.18529999999</c:v>
                </c:pt>
                <c:pt idx="4">
                  <c:v>100628.1164000000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6.31592"/>
          <c:min val="10.57128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074416291983834"/>
        <c:crossBetween val="midCat"/>
      </c:valAx>
      <c:valAx>
        <c:axId val="1011451359"/>
        <c:scaling>
          <c:orientation val="minMax"/>
          <c:max val="0.97452"/>
          <c:min val="0.1593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3.48166284817226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1</c:v>
                </c:pt>
                <c:pt idx="1">
                  <c:v>Av Price/Unit 11.76</c:v>
                </c:pt>
                <c:pt idx="2">
                  <c:v>Av Price/Unit 17.39</c:v>
                </c:pt>
                <c:pt idx="3">
                  <c:v>Av Price/Unit 13.07</c:v>
                </c:pt>
                <c:pt idx="4">
                  <c:v>Av Price/Unit 9.11</c:v>
                </c:pt>
                <c:pt idx="5">
                  <c:v>Av Price/Unit 11.37</c:v>
                </c:pt>
                <c:pt idx="6">
                  <c:v>Av Price/Unit 11.26</c:v>
                </c:pt>
                <c:pt idx="7">
                  <c:v>Av Price/Unit 13.42</c:v>
                </c:pt>
                <c:pt idx="8">
                  <c:v>Av Price/Unit 13.90</c:v>
                </c:pt>
                <c:pt idx="9">
                  <c:v>Av Price/Unit 12.90</c:v>
                </c:pt>
                <c:pt idx="10">
                  <c:v>Av Price/Unit 9.24</c:v>
                </c:pt>
                <c:pt idx="11">
                  <c:v>Av Price/Unit 9.86</c:v>
                </c:pt>
              </c:strCache>
            </c:strRef>
          </c:cat>
          <c:val>
            <c:numRef>
              <c:f>Sheet1!$B$2:$B$13</c:f>
              <c:numCache>
                <c:formatCode>General</c:formatCode>
                <c:ptCount val="12"/>
                <c:pt idx="0">
                  <c:v>3.3558954429843153</c:v>
                </c:pt>
                <c:pt idx="1">
                  <c:v>4.89998621711745</c:v>
                </c:pt>
                <c:pt idx="2">
                  <c:v>6.4753900556881465</c:v>
                </c:pt>
                <c:pt idx="3">
                  <c:v>5.1243916218779635</c:v>
                </c:pt>
                <c:pt idx="4">
                  <c:v>3.990921123899797</c:v>
                </c:pt>
                <c:pt idx="5">
                  <c:v>4.7536651849084794</c:v>
                </c:pt>
                <c:pt idx="6">
                  <c:v>4.645386730872125</c:v>
                </c:pt>
                <c:pt idx="7">
                  <c:v>5.397534090909091</c:v>
                </c:pt>
                <c:pt idx="8">
                  <c:v>5.6488645333333345</c:v>
                </c:pt>
                <c:pt idx="9">
                  <c:v>5.235849958088852</c:v>
                </c:pt>
                <c:pt idx="10">
                  <c:v>2.6524196428571427</c:v>
                </c:pt>
                <c:pt idx="11">
                  <c:v>4.02280305343511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1</c:v>
                </c:pt>
                <c:pt idx="1">
                  <c:v>Av Price/Unit 11.76</c:v>
                </c:pt>
                <c:pt idx="2">
                  <c:v>Av Price/Unit 17.39</c:v>
                </c:pt>
                <c:pt idx="3">
                  <c:v>Av Price/Unit 13.07</c:v>
                </c:pt>
                <c:pt idx="4">
                  <c:v>Av Price/Unit 9.11</c:v>
                </c:pt>
                <c:pt idx="5">
                  <c:v>Av Price/Unit 11.37</c:v>
                </c:pt>
                <c:pt idx="6">
                  <c:v>Av Price/Unit 11.26</c:v>
                </c:pt>
                <c:pt idx="7">
                  <c:v>Av Price/Unit 13.42</c:v>
                </c:pt>
                <c:pt idx="8">
                  <c:v>Av Price/Unit 13.90</c:v>
                </c:pt>
                <c:pt idx="9">
                  <c:v>Av Price/Unit 12.90</c:v>
                </c:pt>
                <c:pt idx="10">
                  <c:v>Av Price/Unit 9.24</c:v>
                </c:pt>
                <c:pt idx="11">
                  <c:v>Av Price/Unit 9.86</c:v>
                </c:pt>
              </c:strCache>
            </c:strRef>
          </c:cat>
          <c:val>
            <c:numRef>
              <c:f>Sheet1!$C$2:$C$13</c:f>
              <c:numCache>
                <c:formatCode>General</c:formatCode>
                <c:ptCount val="12"/>
                <c:pt idx="0">
                  <c:v>2.5789479440440863</c:v>
                </c:pt>
                <c:pt idx="1">
                  <c:v>4.5774558725453875</c:v>
                </c:pt>
                <c:pt idx="2">
                  <c:v>7.642292124105011</c:v>
                </c:pt>
                <c:pt idx="3">
                  <c:v>4.978519285488461</c:v>
                </c:pt>
                <c:pt idx="4">
                  <c:v>3.2043480027081923</c:v>
                </c:pt>
                <c:pt idx="5">
                  <c:v>4.464613933507658</c:v>
                </c:pt>
                <c:pt idx="6">
                  <c:v>4.4567130551096845</c:v>
                </c:pt>
                <c:pt idx="7">
                  <c:v>5.33069090909091</c:v>
                </c:pt>
                <c:pt idx="8">
                  <c:v>5.3274370666666675</c:v>
                </c:pt>
                <c:pt idx="9">
                  <c:v>4.822433277451802</c:v>
                </c:pt>
                <c:pt idx="10">
                  <c:v>4.952792207792208</c:v>
                </c:pt>
                <c:pt idx="11">
                  <c:v>3.816016030534351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1</c:v>
                </c:pt>
                <c:pt idx="1">
                  <c:v>Av Price/Unit 11.76</c:v>
                </c:pt>
                <c:pt idx="2">
                  <c:v>Av Price/Unit 17.39</c:v>
                </c:pt>
                <c:pt idx="3">
                  <c:v>Av Price/Unit 13.07</c:v>
                </c:pt>
                <c:pt idx="4">
                  <c:v>Av Price/Unit 9.11</c:v>
                </c:pt>
                <c:pt idx="5">
                  <c:v>Av Price/Unit 11.37</c:v>
                </c:pt>
                <c:pt idx="6">
                  <c:v>Av Price/Unit 11.26</c:v>
                </c:pt>
                <c:pt idx="7">
                  <c:v>Av Price/Unit 13.42</c:v>
                </c:pt>
                <c:pt idx="8">
                  <c:v>Av Price/Unit 13.90</c:v>
                </c:pt>
                <c:pt idx="9">
                  <c:v>Av Price/Unit 12.90</c:v>
                </c:pt>
                <c:pt idx="10">
                  <c:v>Av Price/Unit 9.24</c:v>
                </c:pt>
                <c:pt idx="11">
                  <c:v>Av Price/Unit 9.86</c:v>
                </c:pt>
              </c:strCache>
            </c:strRef>
          </c:cat>
          <c:val>
            <c:numRef>
              <c:f>Sheet1!$D$2:$D$13</c:f>
              <c:numCache>
                <c:formatCode>General</c:formatCode>
                <c:ptCount val="12"/>
                <c:pt idx="0">
                  <c:v>0.23849983750176662</c:v>
                </c:pt>
                <c:pt idx="1">
                  <c:v>0.32557674447326335</c:v>
                </c:pt>
                <c:pt idx="2">
                  <c:v>0.37250609917793653</c:v>
                </c:pt>
                <c:pt idx="3">
                  <c:v>0.7859668879755528</c:v>
                </c:pt>
                <c:pt idx="4">
                  <c:v>0.39293519145414724</c:v>
                </c:pt>
                <c:pt idx="5">
                  <c:v>0.25345541028514873</c:v>
                </c:pt>
                <c:pt idx="6">
                  <c:v>0.28086119136793464</c:v>
                </c:pt>
                <c:pt idx="7">
                  <c:v>0.4549475378787893</c:v>
                </c:pt>
                <c:pt idx="8">
                  <c:v>0.6088835851851879</c:v>
                </c:pt>
                <c:pt idx="9">
                  <c:v>0.693323358480022</c:v>
                </c:pt>
                <c:pt idx="10">
                  <c:v>0.0929753787878802</c:v>
                </c:pt>
                <c:pt idx="11">
                  <c:v>0.3800104325699731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1</c:v>
                </c:pt>
                <c:pt idx="1">
                  <c:v>Av Price/Unit 11.76</c:v>
                </c:pt>
                <c:pt idx="2">
                  <c:v>Av Price/Unit 17.39</c:v>
                </c:pt>
                <c:pt idx="3">
                  <c:v>Av Price/Unit 13.07</c:v>
                </c:pt>
                <c:pt idx="4">
                  <c:v>Av Price/Unit 9.11</c:v>
                </c:pt>
                <c:pt idx="5">
                  <c:v>Av Price/Unit 11.37</c:v>
                </c:pt>
                <c:pt idx="6">
                  <c:v>Av Price/Unit 11.26</c:v>
                </c:pt>
                <c:pt idx="7">
                  <c:v>Av Price/Unit 13.42</c:v>
                </c:pt>
                <c:pt idx="8">
                  <c:v>Av Price/Unit 13.90</c:v>
                </c:pt>
                <c:pt idx="9">
                  <c:v>Av Price/Unit 12.90</c:v>
                </c:pt>
                <c:pt idx="10">
                  <c:v>Av Price/Unit 9.24</c:v>
                </c:pt>
                <c:pt idx="11">
                  <c:v>Av Price/Unit 9.86</c:v>
                </c:pt>
              </c:strCache>
            </c:strRef>
          </c:cat>
          <c:val>
            <c:numRef>
              <c:f>Sheet1!$E$2:$E$13</c:f>
              <c:numCache>
                <c:formatCode>General</c:formatCode>
                <c:ptCount val="12"/>
                <c:pt idx="0">
                  <c:v>1.2346686449060331</c:v>
                </c:pt>
                <c:pt idx="1">
                  <c:v>1.9606026923551911</c:v>
                </c:pt>
                <c:pt idx="2">
                  <c:v>2.898037655794218</c:v>
                </c:pt>
                <c:pt idx="3">
                  <c:v>2.1777848034566323</c:v>
                </c:pt>
                <c:pt idx="4">
                  <c:v>1.5176408636124288</c:v>
                </c:pt>
                <c:pt idx="5">
                  <c:v>1.8943469057402542</c:v>
                </c:pt>
                <c:pt idx="6">
                  <c:v>1.8765828428749751</c:v>
                </c:pt>
                <c:pt idx="7">
                  <c:v>2.2366240530303028</c:v>
                </c:pt>
                <c:pt idx="8">
                  <c:v>2.317037037037035</c:v>
                </c:pt>
                <c:pt idx="9">
                  <c:v>2.150321318804134</c:v>
                </c:pt>
                <c:pt idx="10">
                  <c:v>1.5396374458874449</c:v>
                </c:pt>
                <c:pt idx="11">
                  <c:v>1.643765903307889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20</c:v>
                </c:pt>
                <c:pt idx="1">
                  <c:v>Av Price/Unit 17.34</c:v>
                </c:pt>
                <c:pt idx="2">
                  <c:v>Av Price/Unit 10.34</c:v>
                </c:pt>
                <c:pt idx="3">
                  <c:v>Av Price/Unit 23.81</c:v>
                </c:pt>
                <c:pt idx="4">
                  <c:v>Av Price/Unit 12.06</c:v>
                </c:pt>
                <c:pt idx="5">
                  <c:v>Av Price/Unit 7.27</c:v>
                </c:pt>
                <c:pt idx="6">
                  <c:v>Av Price/Unit 13.61</c:v>
                </c:pt>
                <c:pt idx="7">
                  <c:v>Av Price/Unit 8.90</c:v>
                </c:pt>
                <c:pt idx="8">
                  <c:v>Av Price/Unit 10.16</c:v>
                </c:pt>
                <c:pt idx="9">
                  <c:v>Av Price/Unit 20.66</c:v>
                </c:pt>
                <c:pt idx="10">
                  <c:v>Av Price/Unit 9.03</c:v>
                </c:pt>
                <c:pt idx="11">
                  <c:v>Av Price/Unit 12.89</c:v>
                </c:pt>
              </c:strCache>
            </c:strRef>
          </c:cat>
          <c:val>
            <c:numRef>
              <c:f>Sheet1!$B$2:$B$13</c:f>
              <c:numCache>
                <c:formatCode>General</c:formatCode>
                <c:ptCount val="12"/>
                <c:pt idx="0">
                  <c:v>2.6535080733944953</c:v>
                </c:pt>
                <c:pt idx="1">
                  <c:v>6.479372016320981</c:v>
                </c:pt>
                <c:pt idx="2">
                  <c:v>3.034594842186296</c:v>
                </c:pt>
                <c:pt idx="3">
                  <c:v>6.9416069943289225</c:v>
                </c:pt>
                <c:pt idx="4">
                  <c:v>3.3999999999999995</c:v>
                </c:pt>
                <c:pt idx="5">
                  <c:v>3.3495121908127206</c:v>
                </c:pt>
                <c:pt idx="6">
                  <c:v>4.4778</c:v>
                </c:pt>
                <c:pt idx="7">
                  <c:v>2.6827</c:v>
                </c:pt>
                <c:pt idx="8">
                  <c:v>3.0520827442827443</c:v>
                </c:pt>
                <c:pt idx="9">
                  <c:v>5.893006818181819</c:v>
                </c:pt>
                <c:pt idx="10">
                  <c:v>3.917382988505747</c:v>
                </c:pt>
                <c:pt idx="11">
                  <c:v>5.12577929515418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20</c:v>
                </c:pt>
                <c:pt idx="1">
                  <c:v>Av Price/Unit 17.34</c:v>
                </c:pt>
                <c:pt idx="2">
                  <c:v>Av Price/Unit 10.34</c:v>
                </c:pt>
                <c:pt idx="3">
                  <c:v>Av Price/Unit 23.81</c:v>
                </c:pt>
                <c:pt idx="4">
                  <c:v>Av Price/Unit 12.06</c:v>
                </c:pt>
                <c:pt idx="5">
                  <c:v>Av Price/Unit 7.27</c:v>
                </c:pt>
                <c:pt idx="6">
                  <c:v>Av Price/Unit 13.61</c:v>
                </c:pt>
                <c:pt idx="7">
                  <c:v>Av Price/Unit 8.90</c:v>
                </c:pt>
                <c:pt idx="8">
                  <c:v>Av Price/Unit 10.16</c:v>
                </c:pt>
                <c:pt idx="9">
                  <c:v>Av Price/Unit 20.66</c:v>
                </c:pt>
                <c:pt idx="10">
                  <c:v>Av Price/Unit 9.03</c:v>
                </c:pt>
                <c:pt idx="11">
                  <c:v>Av Price/Unit 12.89</c:v>
                </c:pt>
              </c:strCache>
            </c:strRef>
          </c:cat>
          <c:val>
            <c:numRef>
              <c:f>Sheet1!$C$2:$C$13</c:f>
              <c:numCache>
                <c:formatCode>General</c:formatCode>
                <c:ptCount val="12"/>
                <c:pt idx="0">
                  <c:v>4.956390325271059</c:v>
                </c:pt>
                <c:pt idx="1">
                  <c:v>7.594260047602856</c:v>
                </c:pt>
                <c:pt idx="2">
                  <c:v>5.489591993841416</c:v>
                </c:pt>
                <c:pt idx="3">
                  <c:v>12.716937618147446</c:v>
                </c:pt>
                <c:pt idx="4">
                  <c:v>6.6000000000000005</c:v>
                </c:pt>
                <c:pt idx="5">
                  <c:v>2.5742409893992932</c:v>
                </c:pt>
                <c:pt idx="6">
                  <c:v>6.633299999999999</c:v>
                </c:pt>
                <c:pt idx="7">
                  <c:v>4.434</c:v>
                </c:pt>
                <c:pt idx="8">
                  <c:v>5.38989604989605</c:v>
                </c:pt>
                <c:pt idx="9">
                  <c:v>10.964488636363637</c:v>
                </c:pt>
                <c:pt idx="10">
                  <c:v>3.144197011494253</c:v>
                </c:pt>
                <c:pt idx="11">
                  <c:v>4.98047444933920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20</c:v>
                </c:pt>
                <c:pt idx="1">
                  <c:v>Av Price/Unit 17.34</c:v>
                </c:pt>
                <c:pt idx="2">
                  <c:v>Av Price/Unit 10.34</c:v>
                </c:pt>
                <c:pt idx="3">
                  <c:v>Av Price/Unit 23.81</c:v>
                </c:pt>
                <c:pt idx="4">
                  <c:v>Av Price/Unit 12.06</c:v>
                </c:pt>
                <c:pt idx="5">
                  <c:v>Av Price/Unit 7.27</c:v>
                </c:pt>
                <c:pt idx="6">
                  <c:v>Av Price/Unit 13.61</c:v>
                </c:pt>
                <c:pt idx="7">
                  <c:v>Av Price/Unit 8.90</c:v>
                </c:pt>
                <c:pt idx="8">
                  <c:v>Av Price/Unit 10.16</c:v>
                </c:pt>
                <c:pt idx="9">
                  <c:v>Av Price/Unit 20.66</c:v>
                </c:pt>
                <c:pt idx="10">
                  <c:v>Av Price/Unit 9.03</c:v>
                </c:pt>
                <c:pt idx="11">
                  <c:v>Av Price/Unit 12.89</c:v>
                </c:pt>
              </c:strCache>
            </c:strRef>
          </c:cat>
          <c:val>
            <c:numRef>
              <c:f>Sheet1!$D$2:$D$13</c:f>
              <c:numCache>
                <c:formatCode>General</c:formatCode>
                <c:ptCount val="12"/>
                <c:pt idx="0">
                  <c:v>0.059409357798166695</c:v>
                </c:pt>
                <c:pt idx="1">
                  <c:v>0.3772349880992891</c:v>
                </c:pt>
                <c:pt idx="2">
                  <c:v>0.09333946625609357</c:v>
                </c:pt>
                <c:pt idx="3">
                  <c:v>0.1870760554505395</c:v>
                </c:pt>
                <c:pt idx="4">
                  <c:v>0.03376748673420238</c:v>
                </c:pt>
                <c:pt idx="5">
                  <c:v>0.13190053003533553</c:v>
                </c:pt>
                <c:pt idx="6">
                  <c:v>0.22869015334947562</c:v>
                </c:pt>
                <c:pt idx="7">
                  <c:v>0.2755994076467436</c:v>
                </c:pt>
                <c:pt idx="8">
                  <c:v>0.021292169092170354</c:v>
                </c:pt>
                <c:pt idx="9">
                  <c:v>0.36220151515151855</c:v>
                </c:pt>
                <c:pt idx="10">
                  <c:v>0.467155632183907</c:v>
                </c:pt>
                <c:pt idx="11">
                  <c:v>0.635256093979442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20</c:v>
                </c:pt>
                <c:pt idx="1">
                  <c:v>Av Price/Unit 17.34</c:v>
                </c:pt>
                <c:pt idx="2">
                  <c:v>Av Price/Unit 10.34</c:v>
                </c:pt>
                <c:pt idx="3">
                  <c:v>Av Price/Unit 23.81</c:v>
                </c:pt>
                <c:pt idx="4">
                  <c:v>Av Price/Unit 12.06</c:v>
                </c:pt>
                <c:pt idx="5">
                  <c:v>Av Price/Unit 7.27</c:v>
                </c:pt>
                <c:pt idx="6">
                  <c:v>Av Price/Unit 13.61</c:v>
                </c:pt>
                <c:pt idx="7">
                  <c:v>Av Price/Unit 8.90</c:v>
                </c:pt>
                <c:pt idx="8">
                  <c:v>Av Price/Unit 10.16</c:v>
                </c:pt>
                <c:pt idx="9">
                  <c:v>Av Price/Unit 20.66</c:v>
                </c:pt>
                <c:pt idx="10">
                  <c:v>Av Price/Unit 9.03</c:v>
                </c:pt>
                <c:pt idx="11">
                  <c:v>Av Price/Unit 12.89</c:v>
                </c:pt>
              </c:strCache>
            </c:strRef>
          </c:cat>
          <c:val>
            <c:numRef>
              <c:f>Sheet1!$E$2:$E$13</c:f>
              <c:numCache>
                <c:formatCode>General</c:formatCode>
                <c:ptCount val="12"/>
                <c:pt idx="0">
                  <c:v>1.5338615512927427</c:v>
                </c:pt>
                <c:pt idx="1">
                  <c:v>2.8901734104046217</c:v>
                </c:pt>
                <c:pt idx="2">
                  <c:v>1.7235052604567607</c:v>
                </c:pt>
                <c:pt idx="3">
                  <c:v>3.96912413358538</c:v>
                </c:pt>
                <c:pt idx="4">
                  <c:v>2.0067534973468395</c:v>
                </c:pt>
                <c:pt idx="5">
                  <c:v>1.2111307420494692</c:v>
                </c:pt>
                <c:pt idx="6">
                  <c:v>2.2679580306698957</c:v>
                </c:pt>
                <c:pt idx="7">
                  <c:v>1.4784598815293475</c:v>
                </c:pt>
                <c:pt idx="8">
                  <c:v>1.6926541926541914</c:v>
                </c:pt>
                <c:pt idx="9">
                  <c:v>3.4439393939393934</c:v>
                </c:pt>
                <c:pt idx="10">
                  <c:v>1.5057471264367817</c:v>
                </c:pt>
                <c:pt idx="11">
                  <c:v>2.148311306901614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24</c:v>
                </c:pt>
                <c:pt idx="1">
                  <c:v>Av Price/Unit 11.88</c:v>
                </c:pt>
                <c:pt idx="2">
                  <c:v>Av Price/Unit 11.06</c:v>
                </c:pt>
                <c:pt idx="3">
                  <c:v>Av Price/Unit 17.49</c:v>
                </c:pt>
                <c:pt idx="4">
                  <c:v>Av Price/Unit 12.67</c:v>
                </c:pt>
                <c:pt idx="5">
                  <c:v>Av Price/Unit 5.81</c:v>
                </c:pt>
                <c:pt idx="6">
                  <c:v>Av Price/Unit 9.70</c:v>
                </c:pt>
                <c:pt idx="7">
                  <c:v>Av Price/Unit 11.53</c:v>
                </c:pt>
                <c:pt idx="8">
                  <c:v>Av Price/Unit 12.64</c:v>
                </c:pt>
                <c:pt idx="9">
                  <c:v>Av Price/Unit 9.17</c:v>
                </c:pt>
                <c:pt idx="10">
                  <c:v>Av Price/Unit 14.08</c:v>
                </c:pt>
                <c:pt idx="11">
                  <c:v>Av Price/Unit 10.79</c:v>
                </c:pt>
              </c:strCache>
            </c:strRef>
          </c:cat>
          <c:val>
            <c:numRef>
              <c:f>Sheet1!$B$2:$B$13</c:f>
              <c:numCache>
                <c:formatCode>General</c:formatCode>
                <c:ptCount val="12"/>
                <c:pt idx="0">
                  <c:v>3.348787553041018</c:v>
                </c:pt>
                <c:pt idx="1">
                  <c:v>4.896087305122494</c:v>
                </c:pt>
                <c:pt idx="2">
                  <c:v>4.61589014084507</c:v>
                </c:pt>
                <c:pt idx="3">
                  <c:v>6.477983242258651</c:v>
                </c:pt>
                <c:pt idx="4">
                  <c:v>5.088856100981767</c:v>
                </c:pt>
                <c:pt idx="5">
                  <c:v>2.5493538241601144</c:v>
                </c:pt>
                <c:pt idx="6">
                  <c:v>2.87555974025974</c:v>
                </c:pt>
                <c:pt idx="7">
                  <c:v>4.708893725490196</c:v>
                </c:pt>
                <c:pt idx="8">
                  <c:v>5.217208242950109</c:v>
                </c:pt>
                <c:pt idx="9">
                  <c:v>4.0083442244224425</c:v>
                </c:pt>
                <c:pt idx="10">
                  <c:v>5.647602341137124</c:v>
                </c:pt>
                <c:pt idx="11">
                  <c:v>3.141381818181818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24</c:v>
                </c:pt>
                <c:pt idx="1">
                  <c:v>Av Price/Unit 11.88</c:v>
                </c:pt>
                <c:pt idx="2">
                  <c:v>Av Price/Unit 11.06</c:v>
                </c:pt>
                <c:pt idx="3">
                  <c:v>Av Price/Unit 17.49</c:v>
                </c:pt>
                <c:pt idx="4">
                  <c:v>Av Price/Unit 12.67</c:v>
                </c:pt>
                <c:pt idx="5">
                  <c:v>Av Price/Unit 5.81</c:v>
                </c:pt>
                <c:pt idx="6">
                  <c:v>Av Price/Unit 9.70</c:v>
                </c:pt>
                <c:pt idx="7">
                  <c:v>Av Price/Unit 11.53</c:v>
                </c:pt>
                <c:pt idx="8">
                  <c:v>Av Price/Unit 12.64</c:v>
                </c:pt>
                <c:pt idx="9">
                  <c:v>Av Price/Unit 9.17</c:v>
                </c:pt>
                <c:pt idx="10">
                  <c:v>Av Price/Unit 14.08</c:v>
                </c:pt>
                <c:pt idx="11">
                  <c:v>Av Price/Unit 10.79</c:v>
                </c:pt>
              </c:strCache>
            </c:strRef>
          </c:cat>
          <c:val>
            <c:numRef>
              <c:f>Sheet1!$C$2:$C$13</c:f>
              <c:numCache>
                <c:formatCode>General</c:formatCode>
                <c:ptCount val="12"/>
                <c:pt idx="0">
                  <c:v>2.5737066478076374</c:v>
                </c:pt>
                <c:pt idx="1">
                  <c:v>4.574284187082405</c:v>
                </c:pt>
                <c:pt idx="2">
                  <c:v>4.453933802816902</c:v>
                </c:pt>
                <c:pt idx="3">
                  <c:v>7.611012021857923</c:v>
                </c:pt>
                <c:pt idx="4">
                  <c:v>4.928451472650771</c:v>
                </c:pt>
                <c:pt idx="5">
                  <c:v>2.4506461758398856</c:v>
                </c:pt>
                <c:pt idx="6">
                  <c:v>5.188311688311687</c:v>
                </c:pt>
                <c:pt idx="7">
                  <c:v>4.4200019607843135</c:v>
                </c:pt>
                <c:pt idx="8">
                  <c:v>4.80937136659436</c:v>
                </c:pt>
                <c:pt idx="9">
                  <c:v>3.218599339933993</c:v>
                </c:pt>
                <c:pt idx="10">
                  <c:v>5.3311795986622075</c:v>
                </c:pt>
                <c:pt idx="11">
                  <c:v>5.79214876033057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24</c:v>
                </c:pt>
                <c:pt idx="1">
                  <c:v>Av Price/Unit 11.88</c:v>
                </c:pt>
                <c:pt idx="2">
                  <c:v>Av Price/Unit 11.06</c:v>
                </c:pt>
                <c:pt idx="3">
                  <c:v>Av Price/Unit 17.49</c:v>
                </c:pt>
                <c:pt idx="4">
                  <c:v>Av Price/Unit 12.67</c:v>
                </c:pt>
                <c:pt idx="5">
                  <c:v>Av Price/Unit 5.81</c:v>
                </c:pt>
                <c:pt idx="6">
                  <c:v>Av Price/Unit 9.70</c:v>
                </c:pt>
                <c:pt idx="7">
                  <c:v>Av Price/Unit 11.53</c:v>
                </c:pt>
                <c:pt idx="8">
                  <c:v>Av Price/Unit 12.64</c:v>
                </c:pt>
                <c:pt idx="9">
                  <c:v>Av Price/Unit 9.17</c:v>
                </c:pt>
                <c:pt idx="10">
                  <c:v>Av Price/Unit 14.08</c:v>
                </c:pt>
                <c:pt idx="11">
                  <c:v>Av Price/Unit 10.79</c:v>
                </c:pt>
              </c:strCache>
            </c:strRef>
          </c:cat>
          <c:val>
            <c:numRef>
              <c:f>Sheet1!$D$2:$D$13</c:f>
              <c:numCache>
                <c:formatCode>General</c:formatCode>
                <c:ptCount val="12"/>
                <c:pt idx="0">
                  <c:v>0.10679622819424761</c:v>
                </c:pt>
                <c:pt idx="1">
                  <c:v>0.42663942093541074</c:v>
                </c:pt>
                <c:pt idx="2">
                  <c:v>0.14563340556157556</c:v>
                </c:pt>
                <c:pt idx="3">
                  <c:v>0.48295373406192965</c:v>
                </c:pt>
                <c:pt idx="4">
                  <c:v>0.5401618513324014</c:v>
                </c:pt>
                <c:pt idx="5">
                  <c:v>-0.1614248272575649</c:v>
                </c:pt>
                <c:pt idx="6">
                  <c:v>0.016215151515151405</c:v>
                </c:pt>
                <c:pt idx="7">
                  <c:v>0.475679477124185</c:v>
                </c:pt>
                <c:pt idx="8">
                  <c:v>0.5066814172089664</c:v>
                </c:pt>
                <c:pt idx="9">
                  <c:v>0.4119453245324518</c:v>
                </c:pt>
                <c:pt idx="10">
                  <c:v>0.7575614269788193</c:v>
                </c:pt>
                <c:pt idx="11">
                  <c:v>0.0609597796143290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24</c:v>
                </c:pt>
                <c:pt idx="1">
                  <c:v>Av Price/Unit 11.88</c:v>
                </c:pt>
                <c:pt idx="2">
                  <c:v>Av Price/Unit 11.06</c:v>
                </c:pt>
                <c:pt idx="3">
                  <c:v>Av Price/Unit 17.49</c:v>
                </c:pt>
                <c:pt idx="4">
                  <c:v>Av Price/Unit 12.67</c:v>
                </c:pt>
                <c:pt idx="5">
                  <c:v>Av Price/Unit 5.81</c:v>
                </c:pt>
                <c:pt idx="6">
                  <c:v>Av Price/Unit 9.70</c:v>
                </c:pt>
                <c:pt idx="7">
                  <c:v>Av Price/Unit 11.53</c:v>
                </c:pt>
                <c:pt idx="8">
                  <c:v>Av Price/Unit 12.64</c:v>
                </c:pt>
                <c:pt idx="9">
                  <c:v>Av Price/Unit 9.17</c:v>
                </c:pt>
                <c:pt idx="10">
                  <c:v>Av Price/Unit 14.08</c:v>
                </c:pt>
                <c:pt idx="11">
                  <c:v>Av Price/Unit 10.79</c:v>
                </c:pt>
              </c:strCache>
            </c:strRef>
          </c:cat>
          <c:val>
            <c:numRef>
              <c:f>Sheet1!$E$2:$E$13</c:f>
              <c:numCache>
                <c:formatCode>General</c:formatCode>
                <c:ptCount val="12"/>
                <c:pt idx="0">
                  <c:v>1.20585808580858</c:v>
                </c:pt>
                <c:pt idx="1">
                  <c:v>1.9793986636971046</c:v>
                </c:pt>
                <c:pt idx="2">
                  <c:v>1.8430841459010467</c:v>
                </c:pt>
                <c:pt idx="3">
                  <c:v>2.914389799635701</c:v>
                </c:pt>
                <c:pt idx="4">
                  <c:v>2.111500701262271</c:v>
                </c:pt>
                <c:pt idx="5">
                  <c:v>0.9677150345484868</c:v>
                </c:pt>
                <c:pt idx="6">
                  <c:v>1.6160173160173168</c:v>
                </c:pt>
                <c:pt idx="7">
                  <c:v>1.9209150326797373</c:v>
                </c:pt>
                <c:pt idx="8">
                  <c:v>2.1066522053506858</c:v>
                </c:pt>
                <c:pt idx="9">
                  <c:v>1.5277777777777788</c:v>
                </c:pt>
                <c:pt idx="10">
                  <c:v>2.3472686733556287</c:v>
                </c:pt>
                <c:pt idx="11">
                  <c:v>1.79889807162534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3</c:v>
                </c:pt>
                <c:pt idx="1">
                  <c:v>Av Price/Unit 11.78</c:v>
                </c:pt>
                <c:pt idx="2">
                  <c:v>Av Price/Unit 17.42</c:v>
                </c:pt>
                <c:pt idx="3">
                  <c:v>Av Price/Unit 12.83</c:v>
                </c:pt>
                <c:pt idx="4">
                  <c:v>Av Price/Unit 9.12</c:v>
                </c:pt>
                <c:pt idx="5">
                  <c:v>Av Price/Unit 11.43</c:v>
                </c:pt>
                <c:pt idx="6">
                  <c:v>Av Price/Unit 11.18</c:v>
                </c:pt>
                <c:pt idx="7">
                  <c:v>Av Price/Unit 13.46</c:v>
                </c:pt>
                <c:pt idx="8">
                  <c:v>Av Price/Unit 13.86</c:v>
                </c:pt>
                <c:pt idx="9">
                  <c:v>Av Price/Unit 12.50</c:v>
                </c:pt>
                <c:pt idx="10">
                  <c:v>Av Price/Unit 9.22</c:v>
                </c:pt>
                <c:pt idx="11">
                  <c:v>Av Price/Unit 5.71</c:v>
                </c:pt>
              </c:strCache>
            </c:strRef>
          </c:cat>
          <c:val>
            <c:numRef>
              <c:f>Sheet1!$B$2:$B$13</c:f>
              <c:numCache>
                <c:formatCode>General</c:formatCode>
                <c:ptCount val="12"/>
                <c:pt idx="0">
                  <c:v>3.3595733821733824</c:v>
                </c:pt>
                <c:pt idx="1">
                  <c:v>4.899850854102493</c:v>
                </c:pt>
                <c:pt idx="2">
                  <c:v>6.47788861979779</c:v>
                </c:pt>
                <c:pt idx="3">
                  <c:v>5.112365545224006</c:v>
                </c:pt>
                <c:pt idx="4">
                  <c:v>3.9871078947368424</c:v>
                </c:pt>
                <c:pt idx="5">
                  <c:v>4.743316512776465</c:v>
                </c:pt>
                <c:pt idx="6">
                  <c:v>4.635426557526149</c:v>
                </c:pt>
                <c:pt idx="7">
                  <c:v>5.370509855072464</c:v>
                </c:pt>
                <c:pt idx="8">
                  <c:v>5.654356573922532</c:v>
                </c:pt>
                <c:pt idx="9">
                  <c:v>5.215860215053763</c:v>
                </c:pt>
                <c:pt idx="10">
                  <c:v>2.6536329434697854</c:v>
                </c:pt>
                <c:pt idx="11">
                  <c:v>2.54971065631616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3</c:v>
                </c:pt>
                <c:pt idx="1">
                  <c:v>Av Price/Unit 11.78</c:v>
                </c:pt>
                <c:pt idx="2">
                  <c:v>Av Price/Unit 17.42</c:v>
                </c:pt>
                <c:pt idx="3">
                  <c:v>Av Price/Unit 12.83</c:v>
                </c:pt>
                <c:pt idx="4">
                  <c:v>Av Price/Unit 9.12</c:v>
                </c:pt>
                <c:pt idx="5">
                  <c:v>Av Price/Unit 11.43</c:v>
                </c:pt>
                <c:pt idx="6">
                  <c:v>Av Price/Unit 11.18</c:v>
                </c:pt>
                <c:pt idx="7">
                  <c:v>Av Price/Unit 13.46</c:v>
                </c:pt>
                <c:pt idx="8">
                  <c:v>Av Price/Unit 13.86</c:v>
                </c:pt>
                <c:pt idx="9">
                  <c:v>Av Price/Unit 12.50</c:v>
                </c:pt>
                <c:pt idx="10">
                  <c:v>Av Price/Unit 9.22</c:v>
                </c:pt>
                <c:pt idx="11">
                  <c:v>Av Price/Unit 5.71</c:v>
                </c:pt>
              </c:strCache>
            </c:strRef>
          </c:cat>
          <c:val>
            <c:numRef>
              <c:f>Sheet1!$C$2:$C$13</c:f>
              <c:numCache>
                <c:formatCode>General</c:formatCode>
                <c:ptCount val="12"/>
                <c:pt idx="0">
                  <c:v>2.581660024420024</c:v>
                </c:pt>
                <c:pt idx="1">
                  <c:v>4.577345757490899</c:v>
                </c:pt>
                <c:pt idx="2">
                  <c:v>7.612153397601693</c:v>
                </c:pt>
                <c:pt idx="3">
                  <c:v>4.9615751310228235</c:v>
                </c:pt>
                <c:pt idx="4">
                  <c:v>3.2012289473684206</c:v>
                </c:pt>
                <c:pt idx="5">
                  <c:v>4.45430212583208</c:v>
                </c:pt>
                <c:pt idx="6">
                  <c:v>4.4557745793542525</c:v>
                </c:pt>
                <c:pt idx="7">
                  <c:v>5.31927768115942</c:v>
                </c:pt>
                <c:pt idx="8">
                  <c:v>5.31115259138025</c:v>
                </c:pt>
                <c:pt idx="9">
                  <c:v>4.808426827956989</c:v>
                </c:pt>
                <c:pt idx="10">
                  <c:v>4.9568031189083825</c:v>
                </c:pt>
                <c:pt idx="11">
                  <c:v>2.45028934368383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3</c:v>
                </c:pt>
                <c:pt idx="1">
                  <c:v>Av Price/Unit 11.78</c:v>
                </c:pt>
                <c:pt idx="2">
                  <c:v>Av Price/Unit 17.42</c:v>
                </c:pt>
                <c:pt idx="3">
                  <c:v>Av Price/Unit 12.83</c:v>
                </c:pt>
                <c:pt idx="4">
                  <c:v>Av Price/Unit 9.12</c:v>
                </c:pt>
                <c:pt idx="5">
                  <c:v>Av Price/Unit 11.43</c:v>
                </c:pt>
                <c:pt idx="6">
                  <c:v>Av Price/Unit 11.18</c:v>
                </c:pt>
                <c:pt idx="7">
                  <c:v>Av Price/Unit 13.46</c:v>
                </c:pt>
                <c:pt idx="8">
                  <c:v>Av Price/Unit 13.86</c:v>
                </c:pt>
                <c:pt idx="9">
                  <c:v>Av Price/Unit 12.50</c:v>
                </c:pt>
                <c:pt idx="10">
                  <c:v>Av Price/Unit 9.22</c:v>
                </c:pt>
                <c:pt idx="11">
                  <c:v>Av Price/Unit 5.71</c:v>
                </c:pt>
              </c:strCache>
            </c:strRef>
          </c:cat>
          <c:val>
            <c:numRef>
              <c:f>Sheet1!$D$2:$D$13</c:f>
              <c:numCache>
                <c:formatCode>General</c:formatCode>
                <c:ptCount val="12"/>
                <c:pt idx="0">
                  <c:v>0.2471060317460303</c:v>
                </c:pt>
                <c:pt idx="1">
                  <c:v>0.3376369644357329</c:v>
                </c:pt>
                <c:pt idx="2">
                  <c:v>0.4273574653186003</c:v>
                </c:pt>
                <c:pt idx="3">
                  <c:v>0.6170569399830956</c:v>
                </c:pt>
                <c:pt idx="4">
                  <c:v>0.4132399526423418</c:v>
                </c:pt>
                <c:pt idx="5">
                  <c:v>0.3256796220742988</c:v>
                </c:pt>
                <c:pt idx="6">
                  <c:v>0.22879824162498075</c:v>
                </c:pt>
                <c:pt idx="7">
                  <c:v>0.5304707890499198</c:v>
                </c:pt>
                <c:pt idx="8">
                  <c:v>0.5865912165848339</c:v>
                </c:pt>
                <c:pt idx="9">
                  <c:v>0.3946197670250893</c:v>
                </c:pt>
                <c:pt idx="10">
                  <c:v>0.07190636777127946</c:v>
                </c:pt>
                <c:pt idx="11">
                  <c:v>-0.2464126087979279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3</c:v>
                </c:pt>
                <c:pt idx="1">
                  <c:v>Av Price/Unit 11.78</c:v>
                </c:pt>
                <c:pt idx="2">
                  <c:v>Av Price/Unit 17.42</c:v>
                </c:pt>
                <c:pt idx="3">
                  <c:v>Av Price/Unit 12.83</c:v>
                </c:pt>
                <c:pt idx="4">
                  <c:v>Av Price/Unit 9.12</c:v>
                </c:pt>
                <c:pt idx="5">
                  <c:v>Av Price/Unit 11.43</c:v>
                </c:pt>
                <c:pt idx="6">
                  <c:v>Av Price/Unit 11.18</c:v>
                </c:pt>
                <c:pt idx="7">
                  <c:v>Av Price/Unit 13.46</c:v>
                </c:pt>
                <c:pt idx="8">
                  <c:v>Av Price/Unit 13.86</c:v>
                </c:pt>
                <c:pt idx="9">
                  <c:v>Av Price/Unit 12.50</c:v>
                </c:pt>
                <c:pt idx="10">
                  <c:v>Av Price/Unit 9.22</c:v>
                </c:pt>
                <c:pt idx="11">
                  <c:v>Av Price/Unit 5.71</c:v>
                </c:pt>
              </c:strCache>
            </c:strRef>
          </c:cat>
          <c:val>
            <c:numRef>
              <c:f>Sheet1!$E$2:$E$13</c:f>
              <c:numCache>
                <c:formatCode>General</c:formatCode>
                <c:ptCount val="12"/>
                <c:pt idx="0">
                  <c:v>1.2376678876678886</c:v>
                </c:pt>
                <c:pt idx="1">
                  <c:v>1.962965555866704</c:v>
                </c:pt>
                <c:pt idx="2">
                  <c:v>2.903479896543616</c:v>
                </c:pt>
                <c:pt idx="3">
                  <c:v>2.1382079459002523</c:v>
                </c:pt>
                <c:pt idx="4">
                  <c:v>1.5203153589495215</c:v>
                </c:pt>
                <c:pt idx="5">
                  <c:v>1.904659652136567</c:v>
                </c:pt>
                <c:pt idx="6">
                  <c:v>1.8639912081249057</c:v>
                </c:pt>
                <c:pt idx="7">
                  <c:v>2.2440418679549103</c:v>
                </c:pt>
                <c:pt idx="8">
                  <c:v>2.310420076377523</c:v>
                </c:pt>
                <c:pt idx="9">
                  <c:v>2.083781362007168</c:v>
                </c:pt>
                <c:pt idx="10">
                  <c:v>1.5364684860298898</c:v>
                </c:pt>
                <c:pt idx="11">
                  <c:v>0.950717478240412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6</c:v>
                </c:pt>
                <c:pt idx="1">
                  <c:v>Av Price/Unit 11.79</c:v>
                </c:pt>
                <c:pt idx="2">
                  <c:v>Av Price/Unit 17.37</c:v>
                </c:pt>
                <c:pt idx="3">
                  <c:v>Av Price/Unit 12.81</c:v>
                </c:pt>
                <c:pt idx="4">
                  <c:v>Av Price/Unit 11.17</c:v>
                </c:pt>
                <c:pt idx="5">
                  <c:v>Av Price/Unit 11.38</c:v>
                </c:pt>
                <c:pt idx="6">
                  <c:v>Av Price/Unit 9.05</c:v>
                </c:pt>
                <c:pt idx="7">
                  <c:v>Av Price/Unit 5.76</c:v>
                </c:pt>
                <c:pt idx="8">
                  <c:v>Av Price/Unit 13.57</c:v>
                </c:pt>
                <c:pt idx="9">
                  <c:v>Av Price/Unit 9.22</c:v>
                </c:pt>
                <c:pt idx="10">
                  <c:v>Av Price/Unit 9.67</c:v>
                </c:pt>
                <c:pt idx="11">
                  <c:v>Av Price/Unit 13.77</c:v>
                </c:pt>
              </c:strCache>
            </c:strRef>
          </c:cat>
          <c:val>
            <c:numRef>
              <c:f>Sheet1!$B$2:$B$13</c:f>
              <c:numCache>
                <c:formatCode>General</c:formatCode>
                <c:ptCount val="12"/>
                <c:pt idx="0">
                  <c:v>3.3613558288458734</c:v>
                </c:pt>
                <c:pt idx="1">
                  <c:v>4.900498124481327</c:v>
                </c:pt>
                <c:pt idx="2">
                  <c:v>6.476712570986061</c:v>
                </c:pt>
                <c:pt idx="3">
                  <c:v>5.116616756032172</c:v>
                </c:pt>
                <c:pt idx="4">
                  <c:v>4.645729809523811</c:v>
                </c:pt>
                <c:pt idx="5">
                  <c:v>4.760414509803921</c:v>
                </c:pt>
                <c:pt idx="6">
                  <c:v>3.9766575452255553</c:v>
                </c:pt>
                <c:pt idx="7">
                  <c:v>2.5512164502164505</c:v>
                </c:pt>
                <c:pt idx="8">
                  <c:v>5.405899118683902</c:v>
                </c:pt>
                <c:pt idx="9">
                  <c:v>2.653367169811321</c:v>
                </c:pt>
                <c:pt idx="10">
                  <c:v>2.8750830674215133</c:v>
                </c:pt>
                <c:pt idx="11">
                  <c:v>5.65955679012345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6</c:v>
                </c:pt>
                <c:pt idx="1">
                  <c:v>Av Price/Unit 11.79</c:v>
                </c:pt>
                <c:pt idx="2">
                  <c:v>Av Price/Unit 17.37</c:v>
                </c:pt>
                <c:pt idx="3">
                  <c:v>Av Price/Unit 12.81</c:v>
                </c:pt>
                <c:pt idx="4">
                  <c:v>Av Price/Unit 11.17</c:v>
                </c:pt>
                <c:pt idx="5">
                  <c:v>Av Price/Unit 11.38</c:v>
                </c:pt>
                <c:pt idx="6">
                  <c:v>Av Price/Unit 9.05</c:v>
                </c:pt>
                <c:pt idx="7">
                  <c:v>Av Price/Unit 5.76</c:v>
                </c:pt>
                <c:pt idx="8">
                  <c:v>Av Price/Unit 13.57</c:v>
                </c:pt>
                <c:pt idx="9">
                  <c:v>Av Price/Unit 9.22</c:v>
                </c:pt>
                <c:pt idx="10">
                  <c:v>Av Price/Unit 9.67</c:v>
                </c:pt>
                <c:pt idx="11">
                  <c:v>Av Price/Unit 13.77</c:v>
                </c:pt>
              </c:strCache>
            </c:strRef>
          </c:cat>
          <c:val>
            <c:numRef>
              <c:f>Sheet1!$C$2:$C$13</c:f>
              <c:numCache>
                <c:formatCode>General</c:formatCode>
                <c:ptCount val="12"/>
                <c:pt idx="0">
                  <c:v>2.5829743850967835</c:v>
                </c:pt>
                <c:pt idx="1">
                  <c:v>4.577872298755187</c:v>
                </c:pt>
                <c:pt idx="2">
                  <c:v>7.626339390810533</c:v>
                </c:pt>
                <c:pt idx="3">
                  <c:v>4.967564879356568</c:v>
                </c:pt>
                <c:pt idx="4">
                  <c:v>4.456745380952382</c:v>
                </c:pt>
                <c:pt idx="5">
                  <c:v>4.471339215686274</c:v>
                </c:pt>
                <c:pt idx="6">
                  <c:v>3.1926810167162807</c:v>
                </c:pt>
                <c:pt idx="7">
                  <c:v>2.4487835497835504</c:v>
                </c:pt>
                <c:pt idx="8">
                  <c:v>5.334223736780259</c:v>
                </c:pt>
                <c:pt idx="9">
                  <c:v>4.955924528301887</c:v>
                </c:pt>
                <c:pt idx="10">
                  <c:v>5.187596500257334</c:v>
                </c:pt>
                <c:pt idx="11">
                  <c:v>5.29573340595497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6</c:v>
                </c:pt>
                <c:pt idx="1">
                  <c:v>Av Price/Unit 11.79</c:v>
                </c:pt>
                <c:pt idx="2">
                  <c:v>Av Price/Unit 17.37</c:v>
                </c:pt>
                <c:pt idx="3">
                  <c:v>Av Price/Unit 12.81</c:v>
                </c:pt>
                <c:pt idx="4">
                  <c:v>Av Price/Unit 11.17</c:v>
                </c:pt>
                <c:pt idx="5">
                  <c:v>Av Price/Unit 11.38</c:v>
                </c:pt>
                <c:pt idx="6">
                  <c:v>Av Price/Unit 9.05</c:v>
                </c:pt>
                <c:pt idx="7">
                  <c:v>Av Price/Unit 5.76</c:v>
                </c:pt>
                <c:pt idx="8">
                  <c:v>Av Price/Unit 13.57</c:v>
                </c:pt>
                <c:pt idx="9">
                  <c:v>Av Price/Unit 9.22</c:v>
                </c:pt>
                <c:pt idx="10">
                  <c:v>Av Price/Unit 9.67</c:v>
                </c:pt>
                <c:pt idx="11">
                  <c:v>Av Price/Unit 13.77</c:v>
                </c:pt>
              </c:strCache>
            </c:strRef>
          </c:cat>
          <c:val>
            <c:numRef>
              <c:f>Sheet1!$D$2:$D$13</c:f>
              <c:numCache>
                <c:formatCode>General</c:formatCode>
                <c:ptCount val="12"/>
                <c:pt idx="0">
                  <c:v>0.26934562169504783</c:v>
                </c:pt>
                <c:pt idx="1">
                  <c:v>0.3491575491009673</c:v>
                </c:pt>
                <c:pt idx="2">
                  <c:v>0.3716511874032076</c:v>
                </c:pt>
                <c:pt idx="3">
                  <c:v>0.5934632112004774</c:v>
                </c:pt>
                <c:pt idx="4">
                  <c:v>0.2023335952380947</c:v>
                </c:pt>
                <c:pt idx="5">
                  <c:v>0.251470675381265</c:v>
                </c:pt>
                <c:pt idx="6">
                  <c:v>0.37550534310357975</c:v>
                </c:pt>
                <c:pt idx="7">
                  <c:v>-0.20021645021645007</c:v>
                </c:pt>
                <c:pt idx="8">
                  <c:v>0.5642782608695658</c:v>
                </c:pt>
                <c:pt idx="9">
                  <c:v>0.07781522012578712</c:v>
                </c:pt>
                <c:pt idx="10">
                  <c:v>-0.00769586550008583</c:v>
                </c:pt>
                <c:pt idx="11">
                  <c:v>0.52256020334059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6</c:v>
                </c:pt>
                <c:pt idx="1">
                  <c:v>Av Price/Unit 11.79</c:v>
                </c:pt>
                <c:pt idx="2">
                  <c:v>Av Price/Unit 17.37</c:v>
                </c:pt>
                <c:pt idx="3">
                  <c:v>Av Price/Unit 12.81</c:v>
                </c:pt>
                <c:pt idx="4">
                  <c:v>Av Price/Unit 11.17</c:v>
                </c:pt>
                <c:pt idx="5">
                  <c:v>Av Price/Unit 11.38</c:v>
                </c:pt>
                <c:pt idx="6">
                  <c:v>Av Price/Unit 9.05</c:v>
                </c:pt>
                <c:pt idx="7">
                  <c:v>Av Price/Unit 5.76</c:v>
                </c:pt>
                <c:pt idx="8">
                  <c:v>Av Price/Unit 13.57</c:v>
                </c:pt>
                <c:pt idx="9">
                  <c:v>Av Price/Unit 9.22</c:v>
                </c:pt>
                <c:pt idx="10">
                  <c:v>Av Price/Unit 9.67</c:v>
                </c:pt>
                <c:pt idx="11">
                  <c:v>Av Price/Unit 13.77</c:v>
                </c:pt>
              </c:strCache>
            </c:strRef>
          </c:cat>
          <c:val>
            <c:numRef>
              <c:f>Sheet1!$E$2:$E$13</c:f>
              <c:numCache>
                <c:formatCode>General</c:formatCode>
                <c:ptCount val="12"/>
                <c:pt idx="0">
                  <c:v>1.2427351671275402</c:v>
                </c:pt>
                <c:pt idx="1">
                  <c:v>1.9655048409405251</c:v>
                </c:pt>
                <c:pt idx="2">
                  <c:v>2.894940629839955</c:v>
                </c:pt>
                <c:pt idx="3">
                  <c:v>2.135537682454572</c:v>
                </c:pt>
                <c:pt idx="4">
                  <c:v>1.860952380952381</c:v>
                </c:pt>
                <c:pt idx="5">
                  <c:v>1.8966448801742912</c:v>
                </c:pt>
                <c:pt idx="6">
                  <c:v>1.5089687810090828</c:v>
                </c:pt>
                <c:pt idx="7">
                  <c:v>0.95995670995671</c:v>
                </c:pt>
                <c:pt idx="8">
                  <c:v>2.260869565217391</c:v>
                </c:pt>
                <c:pt idx="9">
                  <c:v>1.5374213836477981</c:v>
                </c:pt>
                <c:pt idx="10">
                  <c:v>1.610996740435752</c:v>
                </c:pt>
                <c:pt idx="11">
                  <c:v>2.295570079883805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1.76</c:v>
                </c:pt>
                <c:pt idx="2">
                  <c:v>Av Price/Unit 9.08</c:v>
                </c:pt>
                <c:pt idx="3">
                  <c:v>Av Price/Unit 12.76</c:v>
                </c:pt>
                <c:pt idx="4">
                  <c:v>Av Price/Unit 17.41</c:v>
                </c:pt>
                <c:pt idx="5">
                  <c:v>Av Price/Unit 11.41</c:v>
                </c:pt>
                <c:pt idx="6">
                  <c:v>Av Price/Unit 11.26</c:v>
                </c:pt>
                <c:pt idx="7">
                  <c:v>Av Price/Unit 13.51</c:v>
                </c:pt>
                <c:pt idx="8">
                  <c:v>Av Price/Unit 13.82</c:v>
                </c:pt>
                <c:pt idx="9">
                  <c:v>Av Price/Unit 12.49</c:v>
                </c:pt>
                <c:pt idx="10">
                  <c:v>Av Price/Unit 9.81</c:v>
                </c:pt>
                <c:pt idx="11">
                  <c:v>Av Price/Unit 5.73</c:v>
                </c:pt>
              </c:strCache>
            </c:strRef>
          </c:cat>
          <c:val>
            <c:numRef>
              <c:f>Sheet1!$B$2:$B$13</c:f>
              <c:numCache>
                <c:formatCode>General</c:formatCode>
                <c:ptCount val="12"/>
                <c:pt idx="0">
                  <c:v>3.3581887054319215</c:v>
                </c:pt>
                <c:pt idx="1">
                  <c:v>4.900773195876289</c:v>
                </c:pt>
                <c:pt idx="2">
                  <c:v>3.983468646030743</c:v>
                </c:pt>
                <c:pt idx="3">
                  <c:v>5.1216126317374275</c:v>
                </c:pt>
                <c:pt idx="4">
                  <c:v>6.475922252810277</c:v>
                </c:pt>
                <c:pt idx="5">
                  <c:v>4.761273919402016</c:v>
                </c:pt>
                <c:pt idx="6">
                  <c:v>4.653014344195186</c:v>
                </c:pt>
                <c:pt idx="7">
                  <c:v>5.410045758928572</c:v>
                </c:pt>
                <c:pt idx="8">
                  <c:v>5.652071677138715</c:v>
                </c:pt>
                <c:pt idx="9">
                  <c:v>5.231071395456653</c:v>
                </c:pt>
                <c:pt idx="10">
                  <c:v>4.025180746327908</c:v>
                </c:pt>
                <c:pt idx="11">
                  <c:v>2.54954057279236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1.76</c:v>
                </c:pt>
                <c:pt idx="2">
                  <c:v>Av Price/Unit 9.08</c:v>
                </c:pt>
                <c:pt idx="3">
                  <c:v>Av Price/Unit 12.76</c:v>
                </c:pt>
                <c:pt idx="4">
                  <c:v>Av Price/Unit 17.41</c:v>
                </c:pt>
                <c:pt idx="5">
                  <c:v>Av Price/Unit 11.41</c:v>
                </c:pt>
                <c:pt idx="6">
                  <c:v>Av Price/Unit 11.26</c:v>
                </c:pt>
                <c:pt idx="7">
                  <c:v>Av Price/Unit 13.51</c:v>
                </c:pt>
                <c:pt idx="8">
                  <c:v>Av Price/Unit 13.82</c:v>
                </c:pt>
                <c:pt idx="9">
                  <c:v>Av Price/Unit 12.49</c:v>
                </c:pt>
                <c:pt idx="10">
                  <c:v>Av Price/Unit 9.81</c:v>
                </c:pt>
                <c:pt idx="11">
                  <c:v>Av Price/Unit 5.73</c:v>
                </c:pt>
              </c:strCache>
            </c:strRef>
          </c:cat>
          <c:val>
            <c:numRef>
              <c:f>Sheet1!$C$2:$C$13</c:f>
              <c:numCache>
                <c:formatCode>General</c:formatCode>
                <c:ptCount val="12"/>
                <c:pt idx="0">
                  <c:v>2.5806389758315387</c:v>
                </c:pt>
                <c:pt idx="1">
                  <c:v>4.578096063730085</c:v>
                </c:pt>
                <c:pt idx="2">
                  <c:v>3.1982522004632554</c:v>
                </c:pt>
                <c:pt idx="3">
                  <c:v>4.974603824149352</c:v>
                </c:pt>
                <c:pt idx="4">
                  <c:v>7.635872539573297</c:v>
                </c:pt>
                <c:pt idx="5">
                  <c:v>4.472195563860903</c:v>
                </c:pt>
                <c:pt idx="6">
                  <c:v>4.457431750450303</c:v>
                </c:pt>
                <c:pt idx="7">
                  <c:v>5.335975</c:v>
                </c:pt>
                <c:pt idx="8">
                  <c:v>5.3179275495408405</c:v>
                </c:pt>
                <c:pt idx="9">
                  <c:v>4.819085025498378</c:v>
                </c:pt>
                <c:pt idx="10">
                  <c:v>3.818222270742358</c:v>
                </c:pt>
                <c:pt idx="11">
                  <c:v>2.45045942720763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1.76</c:v>
                </c:pt>
                <c:pt idx="2">
                  <c:v>Av Price/Unit 9.08</c:v>
                </c:pt>
                <c:pt idx="3">
                  <c:v>Av Price/Unit 12.76</c:v>
                </c:pt>
                <c:pt idx="4">
                  <c:v>Av Price/Unit 17.41</c:v>
                </c:pt>
                <c:pt idx="5">
                  <c:v>Av Price/Unit 11.41</c:v>
                </c:pt>
                <c:pt idx="6">
                  <c:v>Av Price/Unit 11.26</c:v>
                </c:pt>
                <c:pt idx="7">
                  <c:v>Av Price/Unit 13.51</c:v>
                </c:pt>
                <c:pt idx="8">
                  <c:v>Av Price/Unit 13.82</c:v>
                </c:pt>
                <c:pt idx="9">
                  <c:v>Av Price/Unit 12.49</c:v>
                </c:pt>
                <c:pt idx="10">
                  <c:v>Av Price/Unit 9.81</c:v>
                </c:pt>
                <c:pt idx="11">
                  <c:v>Av Price/Unit 5.73</c:v>
                </c:pt>
              </c:strCache>
            </c:strRef>
          </c:cat>
          <c:val>
            <c:numRef>
              <c:f>Sheet1!$D$2:$D$13</c:f>
              <c:numCache>
                <c:formatCode>General</c:formatCode>
                <c:ptCount val="12"/>
                <c:pt idx="0">
                  <c:v>0.23019202041956</c:v>
                </c:pt>
                <c:pt idx="1">
                  <c:v>0.3239296469853201</c:v>
                </c:pt>
                <c:pt idx="2">
                  <c:v>0.38838163122060987</c:v>
                </c:pt>
                <c:pt idx="3">
                  <c:v>0.5400927832982045</c:v>
                </c:pt>
                <c:pt idx="4">
                  <c:v>0.39879632178634417</c:v>
                </c:pt>
                <c:pt idx="5">
                  <c:v>0.2772823312750514</c:v>
                </c:pt>
                <c:pt idx="6">
                  <c:v>0.27023207794334425</c:v>
                </c:pt>
                <c:pt idx="7">
                  <c:v>0.5090819302721084</c:v>
                </c:pt>
                <c:pt idx="8">
                  <c:v>0.5448227485097483</c:v>
                </c:pt>
                <c:pt idx="9">
                  <c:v>0.3566585999072771</c:v>
                </c:pt>
                <c:pt idx="10">
                  <c:v>0.3317987825856834</c:v>
                </c:pt>
                <c:pt idx="11">
                  <c:v>-0.2215095465393792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7.40</c:v>
                </c:pt>
                <c:pt idx="1">
                  <c:v>Av Price/Unit 11.76</c:v>
                </c:pt>
                <c:pt idx="2">
                  <c:v>Av Price/Unit 9.08</c:v>
                </c:pt>
                <c:pt idx="3">
                  <c:v>Av Price/Unit 12.76</c:v>
                </c:pt>
                <c:pt idx="4">
                  <c:v>Av Price/Unit 17.41</c:v>
                </c:pt>
                <c:pt idx="5">
                  <c:v>Av Price/Unit 11.41</c:v>
                </c:pt>
                <c:pt idx="6">
                  <c:v>Av Price/Unit 11.26</c:v>
                </c:pt>
                <c:pt idx="7">
                  <c:v>Av Price/Unit 13.51</c:v>
                </c:pt>
                <c:pt idx="8">
                  <c:v>Av Price/Unit 13.82</c:v>
                </c:pt>
                <c:pt idx="9">
                  <c:v>Av Price/Unit 12.49</c:v>
                </c:pt>
                <c:pt idx="10">
                  <c:v>Av Price/Unit 9.81</c:v>
                </c:pt>
                <c:pt idx="11">
                  <c:v>Av Price/Unit 5.73</c:v>
                </c:pt>
              </c:strCache>
            </c:strRef>
          </c:cat>
          <c:val>
            <c:numRef>
              <c:f>Sheet1!$E$2:$E$13</c:f>
              <c:numCache>
                <c:formatCode>General</c:formatCode>
                <c:ptCount val="12"/>
                <c:pt idx="0">
                  <c:v>1.2338039403366021</c:v>
                </c:pt>
                <c:pt idx="1">
                  <c:v>1.9605592002499197</c:v>
                </c:pt>
                <c:pt idx="2">
                  <c:v>1.5140204955429204</c:v>
                </c:pt>
                <c:pt idx="3">
                  <c:v>2.1272709023386525</c:v>
                </c:pt>
                <c:pt idx="4">
                  <c:v>2.902118222833984</c:v>
                </c:pt>
                <c:pt idx="5">
                  <c:v>1.902150362907593</c:v>
                </c:pt>
                <c:pt idx="6">
                  <c:v>1.8761257573276555</c:v>
                </c:pt>
                <c:pt idx="7">
                  <c:v>2.251009778911564</c:v>
                </c:pt>
                <c:pt idx="8">
                  <c:v>2.30296439503786</c:v>
                </c:pt>
                <c:pt idx="9">
                  <c:v>2.0813630041724616</c:v>
                </c:pt>
                <c:pt idx="10">
                  <c:v>1.6350403599311887</c:v>
                </c:pt>
                <c:pt idx="11">
                  <c:v>0.955698090692124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E6E5E5"/>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F507778-916C-4FEB-BD6A-78EA25471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01175AE-9F91-4AD9-BB8D-04862AFA5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DA425F2-521E-423F-BFDA-B44CE8D95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705CAA5-FDD5-4930-A6BD-B307BD20A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37DBE4A-6E4E-4E96-89C2-E95A79A07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085F8A0-F136-4954-A692-1A879CDDE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449F974-A43B-48A4-85C5-2D8AC0C8B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161F09B-44B6-421E-92BB-832B28537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6929</c:v>
                </c:pt>
                <c:pt idx="1">
                  <c:v>9.2988</c:v>
                </c:pt>
                <c:pt idx="2">
                  <c:v>9.5681</c:v>
                </c:pt>
                <c:pt idx="3">
                  <c:v>9.6984</c:v>
                </c:pt>
                <c:pt idx="4">
                  <c:v>9.5434</c:v>
                </c:pt>
              </c:numCache>
            </c:numRef>
          </c:xVal>
          <c:yVal>
            <c:numRef>
              <c:f>Sheet1!$B$2:$B$6</c:f>
              <c:numCache>
                <c:formatCode>General</c:formatCode>
                <c:ptCount val="5"/>
                <c:pt idx="0">
                  <c:v>0.5439</c:v>
                </c:pt>
                <c:pt idx="1">
                  <c:v>0.5382</c:v>
                </c:pt>
                <c:pt idx="2">
                  <c:v>0.545</c:v>
                </c:pt>
                <c:pt idx="3">
                  <c:v>0.5433</c:v>
                </c:pt>
                <c:pt idx="4">
                  <c:v>0.5444</c:v>
                </c:pt>
              </c:numCache>
            </c:numRef>
          </c:yVal>
          <c:bubbleSize>
            <c:numRef>
              <c:f>Sheet1!$C$2:$C$6</c:f>
              <c:numCache>
                <c:formatCode>General</c:formatCode>
                <c:ptCount val="5"/>
                <c:pt idx="0">
                  <c:v>74092.63629999998</c:v>
                </c:pt>
                <c:pt idx="1">
                  <c:v>70335.78250000003</c:v>
                </c:pt>
                <c:pt idx="2">
                  <c:v>666941.9177999997</c:v>
                </c:pt>
                <c:pt idx="3">
                  <c:v>155533.2407</c:v>
                </c:pt>
                <c:pt idx="4">
                  <c:v>241667.20350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638079999999999"/>
          <c:min val="7.439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441980676120778"/>
        <c:crossBetween val="midCat"/>
      </c:valAx>
      <c:valAx>
        <c:axId val="1011451359"/>
        <c:scaling>
          <c:orientation val="minMax"/>
          <c:max val="1.014"/>
          <c:min val="0.19056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9.57190791608804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11.39</c:v>
                </c:pt>
                <c:pt idx="2">
                  <c:v>Av Price/Unit 34.59</c:v>
                </c:pt>
                <c:pt idx="3">
                  <c:v>Av Price/Unit 9.36</c:v>
                </c:pt>
                <c:pt idx="4">
                  <c:v>Av Price/Unit 18.19</c:v>
                </c:pt>
              </c:strCache>
            </c:strRef>
          </c:cat>
          <c:val>
            <c:numRef>
              <c:f>Sheet1!$B$2:$B$6</c:f>
              <c:numCache>
                <c:formatCode>General</c:formatCode>
                <c:ptCount val="5"/>
                <c:pt idx="0">
                  <c:v>15.338199999999992</c:v>
                </c:pt>
                <c:pt idx="1">
                  <c:v>4.138299999999998</c:v>
                </c:pt>
                <c:pt idx="2">
                  <c:v>18.077499999999997</c:v>
                </c:pt>
                <c:pt idx="3">
                  <c:v>5.028444468122893</c:v>
                </c:pt>
                <c:pt idx="4">
                  <c:v>9.861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11.39</c:v>
                </c:pt>
                <c:pt idx="2">
                  <c:v>Av Price/Unit 34.59</c:v>
                </c:pt>
                <c:pt idx="3">
                  <c:v>Av Price/Unit 9.36</c:v>
                </c:pt>
                <c:pt idx="4">
                  <c:v>Av Price/Unit 18.19</c:v>
                </c:pt>
              </c:strCache>
            </c:strRef>
          </c:cat>
          <c:val>
            <c:numRef>
              <c:f>Sheet1!$C$2:$C$6</c:f>
              <c:numCache>
                <c:formatCode>General</c:formatCode>
                <c:ptCount val="5"/>
                <c:pt idx="0">
                  <c:v>12.150000000000006</c:v>
                </c:pt>
                <c:pt idx="1">
                  <c:v>6.857000000000001</c:v>
                </c:pt>
                <c:pt idx="2">
                  <c:v>14.150000000000002</c:v>
                </c:pt>
                <c:pt idx="3">
                  <c:v>3.0521788847451607</c:v>
                </c:pt>
                <c:pt idx="4">
                  <c:v>7.2000000000000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11.39</c:v>
                </c:pt>
                <c:pt idx="2">
                  <c:v>Av Price/Unit 34.59</c:v>
                </c:pt>
                <c:pt idx="3">
                  <c:v>Av Price/Unit 9.36</c:v>
                </c:pt>
                <c:pt idx="4">
                  <c:v>Av Price/Unit 18.19</c:v>
                </c:pt>
              </c:strCache>
            </c:strRef>
          </c:cat>
          <c:val>
            <c:numRef>
              <c:f>Sheet1!$D$2:$D$6</c:f>
              <c:numCache>
                <c:formatCode>General</c:formatCode>
                <c:ptCount val="5"/>
                <c:pt idx="0">
                  <c:v>-3.232290581017697</c:v>
                </c:pt>
                <c:pt idx="1">
                  <c:v>-1.5129862033379595</c:v>
                </c:pt>
                <c:pt idx="2">
                  <c:v>-3.4043728956229025</c:v>
                </c:pt>
                <c:pt idx="3">
                  <c:v>-0.2794631089800559</c:v>
                </c:pt>
                <c:pt idx="4">
                  <c:v>-1.899630925817186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11.39</c:v>
                </c:pt>
                <c:pt idx="2">
                  <c:v>Av Price/Unit 34.59</c:v>
                </c:pt>
                <c:pt idx="3">
                  <c:v>Av Price/Unit 9.36</c:v>
                </c:pt>
                <c:pt idx="4">
                  <c:v>Av Price/Unit 18.19</c:v>
                </c:pt>
              </c:strCache>
            </c:strRef>
          </c:cat>
          <c:val>
            <c:numRef>
              <c:f>Sheet1!$E$2:$E$6</c:f>
              <c:numCache>
                <c:formatCode>General</c:formatCode>
                <c:ptCount val="5"/>
                <c:pt idx="0">
                  <c:v>4.851181883796463</c:v>
                </c:pt>
                <c:pt idx="1">
                  <c:v>1.8964627593324055</c:v>
                </c:pt>
                <c:pt idx="2">
                  <c:v>5.764625420875415</c:v>
                </c:pt>
                <c:pt idx="3">
                  <c:v>1.5602320487776011</c:v>
                </c:pt>
                <c:pt idx="4">
                  <c:v>3.032393814836565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7</c:v>
                </c:pt>
                <c:pt idx="1">
                  <c:v>Av Price/Unit 11.32</c:v>
                </c:pt>
                <c:pt idx="2">
                  <c:v>Av Price/Unit 9.31</c:v>
                </c:pt>
                <c:pt idx="3">
                  <c:v>Av Price/Unit 34.41</c:v>
                </c:pt>
                <c:pt idx="4">
                  <c:v>Av Price/Unit 18.13</c:v>
                </c:pt>
              </c:strCache>
            </c:strRef>
          </c:cat>
          <c:val>
            <c:numRef>
              <c:f>Sheet1!$B$2:$B$6</c:f>
              <c:numCache>
                <c:formatCode>General</c:formatCode>
                <c:ptCount val="5"/>
                <c:pt idx="0">
                  <c:v>15.338200000000002</c:v>
                </c:pt>
                <c:pt idx="1">
                  <c:v>4.1383</c:v>
                </c:pt>
                <c:pt idx="2">
                  <c:v>5.061643485211831</c:v>
                </c:pt>
                <c:pt idx="3">
                  <c:v>18.0775</c:v>
                </c:pt>
                <c:pt idx="4">
                  <c:v>9.861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7</c:v>
                </c:pt>
                <c:pt idx="1">
                  <c:v>Av Price/Unit 11.32</c:v>
                </c:pt>
                <c:pt idx="2">
                  <c:v>Av Price/Unit 9.31</c:v>
                </c:pt>
                <c:pt idx="3">
                  <c:v>Av Price/Unit 34.41</c:v>
                </c:pt>
                <c:pt idx="4">
                  <c:v>Av Price/Unit 18.13</c:v>
                </c:pt>
              </c:strCache>
            </c:strRef>
          </c:cat>
          <c:val>
            <c:numRef>
              <c:f>Sheet1!$C$2:$C$6</c:f>
              <c:numCache>
                <c:formatCode>General</c:formatCode>
                <c:ptCount val="5"/>
                <c:pt idx="0">
                  <c:v>12.15</c:v>
                </c:pt>
                <c:pt idx="1">
                  <c:v>6.856999999999999</c:v>
                </c:pt>
                <c:pt idx="2">
                  <c:v>3.0682264588329335</c:v>
                </c:pt>
                <c:pt idx="3">
                  <c:v>14.150000000000002</c:v>
                </c:pt>
                <c:pt idx="4">
                  <c:v>7.1999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7</c:v>
                </c:pt>
                <c:pt idx="1">
                  <c:v>Av Price/Unit 11.32</c:v>
                </c:pt>
                <c:pt idx="2">
                  <c:v>Av Price/Unit 9.31</c:v>
                </c:pt>
                <c:pt idx="3">
                  <c:v>Av Price/Unit 34.41</c:v>
                </c:pt>
                <c:pt idx="4">
                  <c:v>Av Price/Unit 18.13</c:v>
                </c:pt>
              </c:strCache>
            </c:strRef>
          </c:cat>
          <c:val>
            <c:numRef>
              <c:f>Sheet1!$D$2:$D$6</c:f>
              <c:numCache>
                <c:formatCode>General</c:formatCode>
                <c:ptCount val="5"/>
                <c:pt idx="0">
                  <c:v>-3.2601002063402724</c:v>
                </c:pt>
                <c:pt idx="1">
                  <c:v>-1.527674100719425</c:v>
                </c:pt>
                <c:pt idx="2">
                  <c:v>-0.3707439115374367</c:v>
                </c:pt>
                <c:pt idx="3">
                  <c:v>-3.5522011952191157</c:v>
                </c:pt>
                <c:pt idx="4">
                  <c:v>-1.955637356321837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7</c:v>
                </c:pt>
                <c:pt idx="1">
                  <c:v>Av Price/Unit 11.32</c:v>
                </c:pt>
                <c:pt idx="2">
                  <c:v>Av Price/Unit 9.31</c:v>
                </c:pt>
                <c:pt idx="3">
                  <c:v>Av Price/Unit 34.41</c:v>
                </c:pt>
                <c:pt idx="4">
                  <c:v>Av Price/Unit 18.13</c:v>
                </c:pt>
              </c:strCache>
            </c:strRef>
          </c:cat>
          <c:val>
            <c:numRef>
              <c:f>Sheet1!$E$2:$E$6</c:f>
              <c:numCache>
                <c:formatCode>General</c:formatCode>
                <c:ptCount val="5"/>
                <c:pt idx="0">
                  <c:v>4.845619958731948</c:v>
                </c:pt>
                <c:pt idx="1">
                  <c:v>1.8935251798561135</c:v>
                </c:pt>
                <c:pt idx="2">
                  <c:v>1.5518252065014646</c:v>
                </c:pt>
                <c:pt idx="3">
                  <c:v>5.735059760956175</c:v>
                </c:pt>
                <c:pt idx="4">
                  <c:v>3.02119252873563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3</c:v>
                </c:pt>
                <c:pt idx="1">
                  <c:v>Av Price/Unit 11.43</c:v>
                </c:pt>
                <c:pt idx="2">
                  <c:v>Av Price/Unit 34.79</c:v>
                </c:pt>
                <c:pt idx="3">
                  <c:v>Av Price/Unit 9.39</c:v>
                </c:pt>
                <c:pt idx="4">
                  <c:v>Av Price/Unit 18.37</c:v>
                </c:pt>
              </c:strCache>
            </c:strRef>
          </c:cat>
          <c:val>
            <c:numRef>
              <c:f>Sheet1!$B$2:$B$6</c:f>
              <c:numCache>
                <c:formatCode>General</c:formatCode>
                <c:ptCount val="5"/>
                <c:pt idx="0">
                  <c:v>15.338199999999999</c:v>
                </c:pt>
                <c:pt idx="1">
                  <c:v>4.1383</c:v>
                </c:pt>
                <c:pt idx="2">
                  <c:v>18.0775</c:v>
                </c:pt>
                <c:pt idx="3">
                  <c:v>5.050979591836734</c:v>
                </c:pt>
                <c:pt idx="4">
                  <c:v>9.861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3</c:v>
                </c:pt>
                <c:pt idx="1">
                  <c:v>Av Price/Unit 11.43</c:v>
                </c:pt>
                <c:pt idx="2">
                  <c:v>Av Price/Unit 34.79</c:v>
                </c:pt>
                <c:pt idx="3">
                  <c:v>Av Price/Unit 9.39</c:v>
                </c:pt>
                <c:pt idx="4">
                  <c:v>Av Price/Unit 18.37</c:v>
                </c:pt>
              </c:strCache>
            </c:strRef>
          </c:cat>
          <c:val>
            <c:numRef>
              <c:f>Sheet1!$C$2:$C$6</c:f>
              <c:numCache>
                <c:formatCode>General</c:formatCode>
                <c:ptCount val="5"/>
                <c:pt idx="0">
                  <c:v>12.15</c:v>
                </c:pt>
                <c:pt idx="1">
                  <c:v>6.857</c:v>
                </c:pt>
                <c:pt idx="2">
                  <c:v>14.150000000000002</c:v>
                </c:pt>
                <c:pt idx="3">
                  <c:v>3.0630717996289425</c:v>
                </c:pt>
                <c:pt idx="4">
                  <c:v>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3</c:v>
                </c:pt>
                <c:pt idx="1">
                  <c:v>Av Price/Unit 11.43</c:v>
                </c:pt>
                <c:pt idx="2">
                  <c:v>Av Price/Unit 34.79</c:v>
                </c:pt>
                <c:pt idx="3">
                  <c:v>Av Price/Unit 9.39</c:v>
                </c:pt>
                <c:pt idx="4">
                  <c:v>Av Price/Unit 18.37</c:v>
                </c:pt>
              </c:strCache>
            </c:strRef>
          </c:cat>
          <c:val>
            <c:numRef>
              <c:f>Sheet1!$D$2:$D$6</c:f>
              <c:numCache>
                <c:formatCode>General</c:formatCode>
                <c:ptCount val="5"/>
                <c:pt idx="0">
                  <c:v>-3.2120762405137206</c:v>
                </c:pt>
                <c:pt idx="1">
                  <c:v>-1.5786333333333307</c:v>
                </c:pt>
                <c:pt idx="2">
                  <c:v>-3.237023809523805</c:v>
                </c:pt>
                <c:pt idx="3">
                  <c:v>-0.2893760667903509</c:v>
                </c:pt>
                <c:pt idx="4">
                  <c:v>-1.754308333333330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3</c:v>
                </c:pt>
                <c:pt idx="1">
                  <c:v>Av Price/Unit 11.43</c:v>
                </c:pt>
                <c:pt idx="2">
                  <c:v>Av Price/Unit 34.79</c:v>
                </c:pt>
                <c:pt idx="3">
                  <c:v>Av Price/Unit 9.39</c:v>
                </c:pt>
                <c:pt idx="4">
                  <c:v>Av Price/Unit 18.37</c:v>
                </c:pt>
              </c:strCache>
            </c:strRef>
          </c:cat>
          <c:val>
            <c:numRef>
              <c:f>Sheet1!$E$2:$E$6</c:f>
              <c:numCache>
                <c:formatCode>General</c:formatCode>
                <c:ptCount val="5"/>
                <c:pt idx="0">
                  <c:v>4.855224751897254</c:v>
                </c:pt>
                <c:pt idx="1">
                  <c:v>1.8833333333333326</c:v>
                </c:pt>
                <c:pt idx="2">
                  <c:v>5.798095238095234</c:v>
                </c:pt>
                <c:pt idx="3">
                  <c:v>1.5649350649350648</c:v>
                </c:pt>
                <c:pt idx="4">
                  <c:v>3.061458333333331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34.46</c:v>
                </c:pt>
                <c:pt idx="2">
                  <c:v>Av Price/Unit 11.43</c:v>
                </c:pt>
                <c:pt idx="3">
                  <c:v>Av Price/Unit 9.47</c:v>
                </c:pt>
                <c:pt idx="4">
                  <c:v>Av Price/Unit 18.42</c:v>
                </c:pt>
              </c:strCache>
            </c:strRef>
          </c:cat>
          <c:val>
            <c:numRef>
              <c:f>Sheet1!$B$2:$B$6</c:f>
              <c:numCache>
                <c:formatCode>General</c:formatCode>
                <c:ptCount val="5"/>
                <c:pt idx="0">
                  <c:v>15.3382</c:v>
                </c:pt>
                <c:pt idx="1">
                  <c:v>18.077499999999997</c:v>
                </c:pt>
                <c:pt idx="2">
                  <c:v>4.1383</c:v>
                </c:pt>
                <c:pt idx="3">
                  <c:v>5.047996527777778</c:v>
                </c:pt>
                <c:pt idx="4">
                  <c:v>9.861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34.46</c:v>
                </c:pt>
                <c:pt idx="2">
                  <c:v>Av Price/Unit 11.43</c:v>
                </c:pt>
                <c:pt idx="3">
                  <c:v>Av Price/Unit 9.47</c:v>
                </c:pt>
                <c:pt idx="4">
                  <c:v>Av Price/Unit 18.42</c:v>
                </c:pt>
              </c:strCache>
            </c:strRef>
          </c:cat>
          <c:val>
            <c:numRef>
              <c:f>Sheet1!$C$2:$C$6</c:f>
              <c:numCache>
                <c:formatCode>General</c:formatCode>
                <c:ptCount val="5"/>
                <c:pt idx="0">
                  <c:v>12.150000000000002</c:v>
                </c:pt>
                <c:pt idx="1">
                  <c:v>14.150000000000002</c:v>
                </c:pt>
                <c:pt idx="2">
                  <c:v>6.857000000000001</c:v>
                </c:pt>
                <c:pt idx="3">
                  <c:v>3.0616298611111112</c:v>
                </c:pt>
                <c:pt idx="4">
                  <c:v>7.1999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34.46</c:v>
                </c:pt>
                <c:pt idx="2">
                  <c:v>Av Price/Unit 11.43</c:v>
                </c:pt>
                <c:pt idx="3">
                  <c:v>Av Price/Unit 9.47</c:v>
                </c:pt>
                <c:pt idx="4">
                  <c:v>Av Price/Unit 18.42</c:v>
                </c:pt>
              </c:strCache>
            </c:strRef>
          </c:cat>
          <c:val>
            <c:numRef>
              <c:f>Sheet1!$D$2:$D$6</c:f>
              <c:numCache>
                <c:formatCode>General</c:formatCode>
                <c:ptCount val="5"/>
                <c:pt idx="0">
                  <c:v>-3.2294744156260045</c:v>
                </c:pt>
                <c:pt idx="1">
                  <c:v>-3.5147340425531794</c:v>
                </c:pt>
                <c:pt idx="2">
                  <c:v>-1.4148940671350516</c:v>
                </c:pt>
                <c:pt idx="3">
                  <c:v>-0.21900138888888776</c:v>
                </c:pt>
                <c:pt idx="4">
                  <c:v>-1.712137634408598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34.46</c:v>
                </c:pt>
                <c:pt idx="2">
                  <c:v>Av Price/Unit 11.43</c:v>
                </c:pt>
                <c:pt idx="3">
                  <c:v>Av Price/Unit 9.47</c:v>
                </c:pt>
                <c:pt idx="4">
                  <c:v>Av Price/Unit 18.42</c:v>
                </c:pt>
              </c:strCache>
            </c:strRef>
          </c:cat>
          <c:val>
            <c:numRef>
              <c:f>Sheet1!$E$2:$E$6</c:f>
              <c:numCache>
                <c:formatCode>General</c:formatCode>
                <c:ptCount val="5"/>
                <c:pt idx="0">
                  <c:v>4.851745116874801</c:v>
                </c:pt>
                <c:pt idx="1">
                  <c:v>5.742553191489358</c:v>
                </c:pt>
                <c:pt idx="2">
                  <c:v>1.9160811865729885</c:v>
                </c:pt>
                <c:pt idx="3">
                  <c:v>1.5781249999999984</c:v>
                </c:pt>
                <c:pt idx="4">
                  <c:v>3.06989247311827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9</c:v>
                </c:pt>
                <c:pt idx="1">
                  <c:v>Av Price/Unit 11.36</c:v>
                </c:pt>
                <c:pt idx="2">
                  <c:v>Av Price/Unit 9.38</c:v>
                </c:pt>
                <c:pt idx="3">
                  <c:v>Av Price/Unit 36.17</c:v>
                </c:pt>
                <c:pt idx="4">
                  <c:v>Av Price/Unit 18.41</c:v>
                </c:pt>
              </c:strCache>
            </c:strRef>
          </c:cat>
          <c:val>
            <c:numRef>
              <c:f>Sheet1!$B$2:$B$6</c:f>
              <c:numCache>
                <c:formatCode>General</c:formatCode>
                <c:ptCount val="5"/>
                <c:pt idx="0">
                  <c:v>15.3382</c:v>
                </c:pt>
                <c:pt idx="1">
                  <c:v>4.1383</c:v>
                </c:pt>
                <c:pt idx="2">
                  <c:v>5.08820788530466</c:v>
                </c:pt>
                <c:pt idx="3">
                  <c:v>18.0775</c:v>
                </c:pt>
                <c:pt idx="4">
                  <c:v>9.86159999999999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9</c:v>
                </c:pt>
                <c:pt idx="1">
                  <c:v>Av Price/Unit 11.36</c:v>
                </c:pt>
                <c:pt idx="2">
                  <c:v>Av Price/Unit 9.38</c:v>
                </c:pt>
                <c:pt idx="3">
                  <c:v>Av Price/Unit 36.17</c:v>
                </c:pt>
                <c:pt idx="4">
                  <c:v>Av Price/Unit 18.41</c:v>
                </c:pt>
              </c:strCache>
            </c:strRef>
          </c:cat>
          <c:val>
            <c:numRef>
              <c:f>Sheet1!$C$2:$C$6</c:f>
              <c:numCache>
                <c:formatCode>General</c:formatCode>
                <c:ptCount val="5"/>
                <c:pt idx="0">
                  <c:v>12.15</c:v>
                </c:pt>
                <c:pt idx="1">
                  <c:v>6.857</c:v>
                </c:pt>
                <c:pt idx="2">
                  <c:v>3.081067025089606</c:v>
                </c:pt>
                <c:pt idx="3">
                  <c:v>14.149999999999999</c:v>
                </c:pt>
                <c:pt idx="4">
                  <c:v>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9</c:v>
                </c:pt>
                <c:pt idx="1">
                  <c:v>Av Price/Unit 11.36</c:v>
                </c:pt>
                <c:pt idx="2">
                  <c:v>Av Price/Unit 9.38</c:v>
                </c:pt>
                <c:pt idx="3">
                  <c:v>Av Price/Unit 36.17</c:v>
                </c:pt>
                <c:pt idx="4">
                  <c:v>Av Price/Unit 18.41</c:v>
                </c:pt>
              </c:strCache>
            </c:strRef>
          </c:cat>
          <c:val>
            <c:numRef>
              <c:f>Sheet1!$D$2:$D$6</c:f>
              <c:numCache>
                <c:formatCode>General</c:formatCode>
                <c:ptCount val="5"/>
                <c:pt idx="0">
                  <c:v>-3.162241297935104</c:v>
                </c:pt>
                <c:pt idx="1">
                  <c:v>-1.4423672389127304</c:v>
                </c:pt>
                <c:pt idx="2">
                  <c:v>-0.352667980884112</c:v>
                </c:pt>
                <c:pt idx="3">
                  <c:v>-2.083269230769229</c:v>
                </c:pt>
                <c:pt idx="4">
                  <c:v>-1.722616949152538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9</c:v>
                </c:pt>
                <c:pt idx="1">
                  <c:v>Av Price/Unit 11.36</c:v>
                </c:pt>
                <c:pt idx="2">
                  <c:v>Av Price/Unit 9.38</c:v>
                </c:pt>
                <c:pt idx="3">
                  <c:v>Av Price/Unit 36.17</c:v>
                </c:pt>
                <c:pt idx="4">
                  <c:v>Av Price/Unit 18.41</c:v>
                </c:pt>
              </c:strCache>
            </c:strRef>
          </c:cat>
          <c:val>
            <c:numRef>
              <c:f>Sheet1!$E$2:$E$6</c:f>
              <c:numCache>
                <c:formatCode>General</c:formatCode>
                <c:ptCount val="5"/>
                <c:pt idx="0">
                  <c:v>4.865191740412977</c:v>
                </c:pt>
                <c:pt idx="1">
                  <c:v>1.9105865522174528</c:v>
                </c:pt>
                <c:pt idx="2">
                  <c:v>1.563321385902032</c:v>
                </c:pt>
                <c:pt idx="3">
                  <c:v>6.028846153846154</c:v>
                </c:pt>
                <c:pt idx="4">
                  <c:v>3.06779661016948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11.28</c:v>
                </c:pt>
                <c:pt idx="2">
                  <c:v>Av Price/Unit 34.59</c:v>
                </c:pt>
                <c:pt idx="3">
                  <c:v>Av Price/Unit 9.47</c:v>
                </c:pt>
                <c:pt idx="4">
                  <c:v>Av Price/Unit 18.26</c:v>
                </c:pt>
              </c:strCache>
            </c:strRef>
          </c:cat>
          <c:val>
            <c:numRef>
              <c:f>Sheet1!$B$2:$B$6</c:f>
              <c:numCache>
                <c:formatCode>General</c:formatCode>
                <c:ptCount val="5"/>
                <c:pt idx="0">
                  <c:v>15.3382</c:v>
                </c:pt>
                <c:pt idx="1">
                  <c:v>4.1383</c:v>
                </c:pt>
                <c:pt idx="2">
                  <c:v>18.077500000000004</c:v>
                </c:pt>
                <c:pt idx="3">
                  <c:v>5.09703972911964</c:v>
                </c:pt>
                <c:pt idx="4">
                  <c:v>9.86159999999999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11.28</c:v>
                </c:pt>
                <c:pt idx="2">
                  <c:v>Av Price/Unit 34.59</c:v>
                </c:pt>
                <c:pt idx="3">
                  <c:v>Av Price/Unit 9.47</c:v>
                </c:pt>
                <c:pt idx="4">
                  <c:v>Av Price/Unit 18.26</c:v>
                </c:pt>
              </c:strCache>
            </c:strRef>
          </c:cat>
          <c:val>
            <c:numRef>
              <c:f>Sheet1!$C$2:$C$6</c:f>
              <c:numCache>
                <c:formatCode>General</c:formatCode>
                <c:ptCount val="5"/>
                <c:pt idx="0">
                  <c:v>12.149999999999999</c:v>
                </c:pt>
                <c:pt idx="1">
                  <c:v>6.857</c:v>
                </c:pt>
                <c:pt idx="2">
                  <c:v>14.149999999999999</c:v>
                </c:pt>
                <c:pt idx="3">
                  <c:v>3.0853361173814897</c:v>
                </c:pt>
                <c:pt idx="4">
                  <c:v>7.2000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11.28</c:v>
                </c:pt>
                <c:pt idx="2">
                  <c:v>Av Price/Unit 34.59</c:v>
                </c:pt>
                <c:pt idx="3">
                  <c:v>Av Price/Unit 9.47</c:v>
                </c:pt>
                <c:pt idx="4">
                  <c:v>Av Price/Unit 18.26</c:v>
                </c:pt>
              </c:strCache>
            </c:strRef>
          </c:cat>
          <c:val>
            <c:numRef>
              <c:f>Sheet1!$D$2:$D$6</c:f>
              <c:numCache>
                <c:formatCode>General</c:formatCode>
                <c:ptCount val="5"/>
                <c:pt idx="0">
                  <c:v>-3.231171887550204</c:v>
                </c:pt>
                <c:pt idx="1">
                  <c:v>-1.7364249423697569</c:v>
                </c:pt>
                <c:pt idx="2">
                  <c:v>-3.40474867724868</c:v>
                </c:pt>
                <c:pt idx="3">
                  <c:v>-0.28922310007524477</c:v>
                </c:pt>
                <c:pt idx="4">
                  <c:v>-1.847139215686274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1</c:v>
                </c:pt>
                <c:pt idx="1">
                  <c:v>Av Price/Unit 11.28</c:v>
                </c:pt>
                <c:pt idx="2">
                  <c:v>Av Price/Unit 34.59</c:v>
                </c:pt>
                <c:pt idx="3">
                  <c:v>Av Price/Unit 9.47</c:v>
                </c:pt>
                <c:pt idx="4">
                  <c:v>Av Price/Unit 18.26</c:v>
                </c:pt>
              </c:strCache>
            </c:strRef>
          </c:cat>
          <c:val>
            <c:numRef>
              <c:f>Sheet1!$E$2:$E$6</c:f>
              <c:numCache>
                <c:formatCode>General</c:formatCode>
                <c:ptCount val="5"/>
                <c:pt idx="0">
                  <c:v>4.851405622489959</c:v>
                </c:pt>
                <c:pt idx="1">
                  <c:v>1.8517750115260496</c:v>
                </c:pt>
                <c:pt idx="2">
                  <c:v>5.764550264550262</c:v>
                </c:pt>
                <c:pt idx="3">
                  <c:v>1.5786305492851762</c:v>
                </c:pt>
                <c:pt idx="4">
                  <c:v>3.04289215686274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63</c:v>
                </c:pt>
                <c:pt idx="1">
                  <c:v>Av Price/Unit 11.51</c:v>
                </c:pt>
                <c:pt idx="2">
                  <c:v>Av Price/Unit 9.47</c:v>
                </c:pt>
              </c:strCache>
            </c:strRef>
          </c:cat>
          <c:val>
            <c:numRef>
              <c:f>Sheet1!$B$2:$B$4</c:f>
              <c:numCache>
                <c:formatCode>General</c:formatCode>
                <c:ptCount val="3"/>
                <c:pt idx="0">
                  <c:v>15.338199999999999</c:v>
                </c:pt>
                <c:pt idx="1">
                  <c:v>4.1383</c:v>
                </c:pt>
                <c:pt idx="2">
                  <c:v>5.01933185185185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63</c:v>
                </c:pt>
                <c:pt idx="1">
                  <c:v>Av Price/Unit 11.51</c:v>
                </c:pt>
                <c:pt idx="2">
                  <c:v>Av Price/Unit 9.47</c:v>
                </c:pt>
              </c:strCache>
            </c:strRef>
          </c:cat>
          <c:val>
            <c:numRef>
              <c:f>Sheet1!$C$2:$C$4</c:f>
              <c:numCache>
                <c:formatCode>General</c:formatCode>
                <c:ptCount val="3"/>
                <c:pt idx="0">
                  <c:v>12.149999999999999</c:v>
                </c:pt>
                <c:pt idx="1">
                  <c:v>6.857</c:v>
                </c:pt>
                <c:pt idx="2">
                  <c:v>3.04777407407407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63</c:v>
                </c:pt>
                <c:pt idx="1">
                  <c:v>Av Price/Unit 11.51</c:v>
                </c:pt>
                <c:pt idx="2">
                  <c:v>Av Price/Unit 9.47</c:v>
                </c:pt>
              </c:strCache>
            </c:strRef>
          </c:cat>
          <c:val>
            <c:numRef>
              <c:f>Sheet1!$D$2:$D$4</c:f>
              <c:numCache>
                <c:formatCode>General</c:formatCode>
                <c:ptCount val="3"/>
                <c:pt idx="0">
                  <c:v>-2.797424318658287</c:v>
                </c:pt>
                <c:pt idx="1">
                  <c:v>-1.3606846153846153</c:v>
                </c:pt>
                <c:pt idx="2">
                  <c:v>-0.1782170370370357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63</c:v>
                </c:pt>
                <c:pt idx="1">
                  <c:v>Av Price/Unit 11.51</c:v>
                </c:pt>
                <c:pt idx="2">
                  <c:v>Av Price/Unit 9.47</c:v>
                </c:pt>
              </c:strCache>
            </c:strRef>
          </c:cat>
          <c:val>
            <c:numRef>
              <c:f>Sheet1!$E$2:$E$4</c:f>
              <c:numCache>
                <c:formatCode>General</c:formatCode>
                <c:ptCount val="3"/>
                <c:pt idx="0">
                  <c:v>4.9381551362683425</c:v>
                </c:pt>
                <c:pt idx="1">
                  <c:v>1.9269230769230759</c:v>
                </c:pt>
                <c:pt idx="2">
                  <c:v>1.577777777777776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6</c:v>
                </c:pt>
                <c:pt idx="1">
                  <c:v>Av Price/Unit 11.40</c:v>
                </c:pt>
                <c:pt idx="2">
                  <c:v>Av Price/Unit 9.48</c:v>
                </c:pt>
                <c:pt idx="3">
                  <c:v>Av Price/Unit 35.10</c:v>
                </c:pt>
                <c:pt idx="4">
                  <c:v>Av Price/Unit 18.16</c:v>
                </c:pt>
              </c:strCache>
            </c:strRef>
          </c:cat>
          <c:val>
            <c:numRef>
              <c:f>Sheet1!$B$2:$B$6</c:f>
              <c:numCache>
                <c:formatCode>General</c:formatCode>
                <c:ptCount val="5"/>
                <c:pt idx="0">
                  <c:v>15.338199999999999</c:v>
                </c:pt>
                <c:pt idx="1">
                  <c:v>4.138300000000001</c:v>
                </c:pt>
                <c:pt idx="2">
                  <c:v>4.985511467889908</c:v>
                </c:pt>
                <c:pt idx="3">
                  <c:v>18.077500000000004</c:v>
                </c:pt>
                <c:pt idx="4">
                  <c:v>9.861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6</c:v>
                </c:pt>
                <c:pt idx="1">
                  <c:v>Av Price/Unit 11.40</c:v>
                </c:pt>
                <c:pt idx="2">
                  <c:v>Av Price/Unit 9.48</c:v>
                </c:pt>
                <c:pt idx="3">
                  <c:v>Av Price/Unit 35.10</c:v>
                </c:pt>
                <c:pt idx="4">
                  <c:v>Av Price/Unit 18.16</c:v>
                </c:pt>
              </c:strCache>
            </c:strRef>
          </c:cat>
          <c:val>
            <c:numRef>
              <c:f>Sheet1!$C$2:$C$6</c:f>
              <c:numCache>
                <c:formatCode>General</c:formatCode>
                <c:ptCount val="5"/>
                <c:pt idx="0">
                  <c:v>12.149999999999999</c:v>
                </c:pt>
                <c:pt idx="1">
                  <c:v>6.857000000000001</c:v>
                </c:pt>
                <c:pt idx="2">
                  <c:v>3.031426146788991</c:v>
                </c:pt>
                <c:pt idx="3">
                  <c:v>14.149999999999999</c:v>
                </c:pt>
                <c:pt idx="4">
                  <c:v>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6</c:v>
                </c:pt>
                <c:pt idx="1">
                  <c:v>Av Price/Unit 11.40</c:v>
                </c:pt>
                <c:pt idx="2">
                  <c:v>Av Price/Unit 9.48</c:v>
                </c:pt>
                <c:pt idx="3">
                  <c:v>Av Price/Unit 35.10</c:v>
                </c:pt>
                <c:pt idx="4">
                  <c:v>Av Price/Unit 18.16</c:v>
                </c:pt>
              </c:strCache>
            </c:strRef>
          </c:cat>
          <c:val>
            <c:numRef>
              <c:f>Sheet1!$D$2:$D$6</c:f>
              <c:numCache>
                <c:formatCode>General</c:formatCode>
                <c:ptCount val="5"/>
                <c:pt idx="0">
                  <c:v>-3.1841852086635</c:v>
                </c:pt>
                <c:pt idx="1">
                  <c:v>-1.3633048661800498</c:v>
                </c:pt>
                <c:pt idx="2">
                  <c:v>-0.11556146788990773</c:v>
                </c:pt>
                <c:pt idx="3">
                  <c:v>-2.976658249158252</c:v>
                </c:pt>
                <c:pt idx="4">
                  <c:v>-1.92627236467236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16</c:v>
                </c:pt>
                <c:pt idx="1">
                  <c:v>Av Price/Unit 11.40</c:v>
                </c:pt>
                <c:pt idx="2">
                  <c:v>Av Price/Unit 9.48</c:v>
                </c:pt>
                <c:pt idx="3">
                  <c:v>Av Price/Unit 35.10</c:v>
                </c:pt>
                <c:pt idx="4">
                  <c:v>Av Price/Unit 18.16</c:v>
                </c:pt>
              </c:strCache>
            </c:strRef>
          </c:cat>
          <c:val>
            <c:numRef>
              <c:f>Sheet1!$E$2:$E$6</c:f>
              <c:numCache>
                <c:formatCode>General</c:formatCode>
                <c:ptCount val="5"/>
                <c:pt idx="0">
                  <c:v>4.860802958267305</c:v>
                </c:pt>
                <c:pt idx="1">
                  <c:v>1.9263990267639892</c:v>
                </c:pt>
                <c:pt idx="2">
                  <c:v>1.5802752293577982</c:v>
                </c:pt>
                <c:pt idx="3">
                  <c:v>5.850168350168353</c:v>
                </c:pt>
                <c:pt idx="4">
                  <c:v>3.02706552706552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85A11CE-2EA1-4E58-814F-A1455DFF0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81E8D9D-F8C3-40D7-938B-173696655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E0A7290-3EC4-4582-9F40-CC78B8B3A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208C932-823B-473C-8A95-294209A0CC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027A339-48F6-4DA7-935E-20E420283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D5E34F6-FE38-40B8-94D0-661188158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440B392-D867-40D3-8578-55FD763AC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EDDB3BC-22BD-477D-AE24-46A6B8EF8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2.6475</c:v>
                </c:pt>
                <c:pt idx="1">
                  <c:v>12.215</c:v>
                </c:pt>
                <c:pt idx="2">
                  <c:v>12.635</c:v>
                </c:pt>
                <c:pt idx="3">
                  <c:v>12.8876</c:v>
                </c:pt>
                <c:pt idx="4">
                  <c:v>12.4284</c:v>
                </c:pt>
              </c:numCache>
            </c:numRef>
          </c:xVal>
          <c:yVal>
            <c:numRef>
              <c:f>Sheet1!$B$2:$B$6</c:f>
              <c:numCache>
                <c:formatCode>General</c:formatCode>
                <c:ptCount val="5"/>
                <c:pt idx="0">
                  <c:v>0.5116</c:v>
                </c:pt>
                <c:pt idx="1">
                  <c:v>0.4772</c:v>
                </c:pt>
                <c:pt idx="2">
                  <c:v>0.4917</c:v>
                </c:pt>
                <c:pt idx="3">
                  <c:v>0.5111</c:v>
                </c:pt>
                <c:pt idx="4">
                  <c:v>0.4852</c:v>
                </c:pt>
              </c:numCache>
            </c:numRef>
          </c:yVal>
          <c:bubbleSize>
            <c:numRef>
              <c:f>Sheet1!$C$2:$C$6</c:f>
              <c:numCache>
                <c:formatCode>General</c:formatCode>
                <c:ptCount val="5"/>
                <c:pt idx="0">
                  <c:v>40358.300099999986</c:v>
                </c:pt>
                <c:pt idx="1">
                  <c:v>34030.9714</c:v>
                </c:pt>
                <c:pt idx="2">
                  <c:v>443097.2416</c:v>
                </c:pt>
                <c:pt idx="3">
                  <c:v>72995.3914</c:v>
                </c:pt>
                <c:pt idx="4">
                  <c:v>176148.4067999999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46512"/>
          <c:min val="9.77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9245763640843404"/>
        <c:crossBetween val="midCat"/>
      </c:valAx>
      <c:valAx>
        <c:axId val="1011451359"/>
        <c:scaling>
          <c:orientation val="minMax"/>
          <c:max val="0.9739200000000001"/>
          <c:min val="0.14176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59359522673951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5</c:v>
                </c:pt>
                <c:pt idx="1">
                  <c:v>Av Price/Unit 11.43</c:v>
                </c:pt>
                <c:pt idx="2">
                  <c:v>Av Price/Unit 34.41</c:v>
                </c:pt>
                <c:pt idx="3">
                  <c:v>Av Price/Unit 9.33</c:v>
                </c:pt>
                <c:pt idx="4">
                  <c:v>Av Price/Unit 18.16</c:v>
                </c:pt>
              </c:strCache>
            </c:strRef>
          </c:cat>
          <c:val>
            <c:numRef>
              <c:f>Sheet1!$B$2:$B$6</c:f>
              <c:numCache>
                <c:formatCode>General</c:formatCode>
                <c:ptCount val="5"/>
                <c:pt idx="0">
                  <c:v>15.338199999999997</c:v>
                </c:pt>
                <c:pt idx="1">
                  <c:v>4.1383</c:v>
                </c:pt>
                <c:pt idx="2">
                  <c:v>18.077499999999997</c:v>
                </c:pt>
                <c:pt idx="3">
                  <c:v>5.046961566352429</c:v>
                </c:pt>
                <c:pt idx="4">
                  <c:v>9.86159999999999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5</c:v>
                </c:pt>
                <c:pt idx="1">
                  <c:v>Av Price/Unit 11.43</c:v>
                </c:pt>
                <c:pt idx="2">
                  <c:v>Av Price/Unit 34.41</c:v>
                </c:pt>
                <c:pt idx="3">
                  <c:v>Av Price/Unit 9.33</c:v>
                </c:pt>
                <c:pt idx="4">
                  <c:v>Av Price/Unit 18.16</c:v>
                </c:pt>
              </c:strCache>
            </c:strRef>
          </c:cat>
          <c:val>
            <c:numRef>
              <c:f>Sheet1!$C$2:$C$6</c:f>
              <c:numCache>
                <c:formatCode>General</c:formatCode>
                <c:ptCount val="5"/>
                <c:pt idx="0">
                  <c:v>12.150000000000002</c:v>
                </c:pt>
                <c:pt idx="1">
                  <c:v>6.857</c:v>
                </c:pt>
                <c:pt idx="2">
                  <c:v>14.15</c:v>
                </c:pt>
                <c:pt idx="3">
                  <c:v>3.061129586656998</c:v>
                </c:pt>
                <c:pt idx="4">
                  <c:v>7.2000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5</c:v>
                </c:pt>
                <c:pt idx="1">
                  <c:v>Av Price/Unit 11.43</c:v>
                </c:pt>
                <c:pt idx="2">
                  <c:v>Av Price/Unit 34.41</c:v>
                </c:pt>
                <c:pt idx="3">
                  <c:v>Av Price/Unit 9.33</c:v>
                </c:pt>
                <c:pt idx="4">
                  <c:v>Av Price/Unit 18.16</c:v>
                </c:pt>
              </c:strCache>
            </c:strRef>
          </c:cat>
          <c:val>
            <c:numRef>
              <c:f>Sheet1!$D$2:$D$6</c:f>
              <c:numCache>
                <c:formatCode>General</c:formatCode>
                <c:ptCount val="5"/>
                <c:pt idx="0">
                  <c:v>-3.2769369791666563</c:v>
                </c:pt>
                <c:pt idx="1">
                  <c:v>-1.4809567689984906</c:v>
                </c:pt>
                <c:pt idx="2">
                  <c:v>-3.551377068557926</c:v>
                </c:pt>
                <c:pt idx="3">
                  <c:v>-0.33494636209813944</c:v>
                </c:pt>
                <c:pt idx="4">
                  <c:v>-1.931321473495055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5</c:v>
                </c:pt>
                <c:pt idx="1">
                  <c:v>Av Price/Unit 11.43</c:v>
                </c:pt>
                <c:pt idx="2">
                  <c:v>Av Price/Unit 34.41</c:v>
                </c:pt>
                <c:pt idx="3">
                  <c:v>Av Price/Unit 9.33</c:v>
                </c:pt>
                <c:pt idx="4">
                  <c:v>Av Price/Unit 18.16</c:v>
                </c:pt>
              </c:strCache>
            </c:strRef>
          </c:cat>
          <c:val>
            <c:numRef>
              <c:f>Sheet1!$E$2:$E$6</c:f>
              <c:numCache>
                <c:formatCode>General</c:formatCode>
                <c:ptCount val="5"/>
                <c:pt idx="0">
                  <c:v>4.84225260416666</c:v>
                </c:pt>
                <c:pt idx="1">
                  <c:v>1.902868646200302</c:v>
                </c:pt>
                <c:pt idx="2">
                  <c:v>5.735224586288416</c:v>
                </c:pt>
                <c:pt idx="3">
                  <c:v>1.554628958182258</c:v>
                </c:pt>
                <c:pt idx="4">
                  <c:v>3.02605570530098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8</c:v>
                </c:pt>
                <c:pt idx="1">
                  <c:v>Av Price/Unit 11.35</c:v>
                </c:pt>
                <c:pt idx="2">
                  <c:v>Av Price/Unit 34.47</c:v>
                </c:pt>
                <c:pt idx="3">
                  <c:v>Av Price/Unit 9.33</c:v>
                </c:pt>
                <c:pt idx="4">
                  <c:v>Av Price/Unit 18.15</c:v>
                </c:pt>
              </c:strCache>
            </c:strRef>
          </c:cat>
          <c:val>
            <c:numRef>
              <c:f>Sheet1!$B$2:$B$6</c:f>
              <c:numCache>
                <c:formatCode>General</c:formatCode>
                <c:ptCount val="5"/>
                <c:pt idx="0">
                  <c:v>15.3382</c:v>
                </c:pt>
                <c:pt idx="1">
                  <c:v>4.1383</c:v>
                </c:pt>
                <c:pt idx="2">
                  <c:v>18.0775</c:v>
                </c:pt>
                <c:pt idx="3">
                  <c:v>4.972934525447043</c:v>
                </c:pt>
                <c:pt idx="4">
                  <c:v>9.8616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8</c:v>
                </c:pt>
                <c:pt idx="1">
                  <c:v>Av Price/Unit 11.35</c:v>
                </c:pt>
                <c:pt idx="2">
                  <c:v>Av Price/Unit 34.47</c:v>
                </c:pt>
                <c:pt idx="3">
                  <c:v>Av Price/Unit 9.33</c:v>
                </c:pt>
                <c:pt idx="4">
                  <c:v>Av Price/Unit 18.15</c:v>
                </c:pt>
              </c:strCache>
            </c:strRef>
          </c:cat>
          <c:val>
            <c:numRef>
              <c:f>Sheet1!$C$2:$C$6</c:f>
              <c:numCache>
                <c:formatCode>General</c:formatCode>
                <c:ptCount val="5"/>
                <c:pt idx="0">
                  <c:v>12.149999999999999</c:v>
                </c:pt>
                <c:pt idx="1">
                  <c:v>6.856999999999999</c:v>
                </c:pt>
                <c:pt idx="2">
                  <c:v>14.150000000000002</c:v>
                </c:pt>
                <c:pt idx="3">
                  <c:v>3.0253467675378265</c:v>
                </c:pt>
                <c:pt idx="4">
                  <c:v>7.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8</c:v>
                </c:pt>
                <c:pt idx="1">
                  <c:v>Av Price/Unit 11.35</c:v>
                </c:pt>
                <c:pt idx="2">
                  <c:v>Av Price/Unit 34.47</c:v>
                </c:pt>
                <c:pt idx="3">
                  <c:v>Av Price/Unit 9.33</c:v>
                </c:pt>
                <c:pt idx="4">
                  <c:v>Av Price/Unit 18.15</c:v>
                </c:pt>
              </c:strCache>
            </c:strRef>
          </c:cat>
          <c:val>
            <c:numRef>
              <c:f>Sheet1!$D$2:$D$6</c:f>
              <c:numCache>
                <c:formatCode>General</c:formatCode>
                <c:ptCount val="5"/>
                <c:pt idx="0">
                  <c:v>-3.251125598991173</c:v>
                </c:pt>
                <c:pt idx="1">
                  <c:v>-1.5151830409356712</c:v>
                </c:pt>
                <c:pt idx="2">
                  <c:v>-3.499935897435897</c:v>
                </c:pt>
                <c:pt idx="3">
                  <c:v>-0.21973933975240634</c:v>
                </c:pt>
                <c:pt idx="4">
                  <c:v>-1.93411243781094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8</c:v>
                </c:pt>
                <c:pt idx="1">
                  <c:v>Av Price/Unit 11.35</c:v>
                </c:pt>
                <c:pt idx="2">
                  <c:v>Av Price/Unit 34.47</c:v>
                </c:pt>
                <c:pt idx="3">
                  <c:v>Av Price/Unit 9.33</c:v>
                </c:pt>
                <c:pt idx="4">
                  <c:v>Av Price/Unit 18.15</c:v>
                </c:pt>
              </c:strCache>
            </c:strRef>
          </c:cat>
          <c:val>
            <c:numRef>
              <c:f>Sheet1!$E$2:$E$6</c:f>
              <c:numCache>
                <c:formatCode>General</c:formatCode>
                <c:ptCount val="5"/>
                <c:pt idx="0">
                  <c:v>4.847414880201765</c:v>
                </c:pt>
                <c:pt idx="1">
                  <c:v>1.8960233918128646</c:v>
                </c:pt>
                <c:pt idx="2">
                  <c:v>5.745512820512819</c:v>
                </c:pt>
                <c:pt idx="3">
                  <c:v>1.5557083906464912</c:v>
                </c:pt>
                <c:pt idx="4">
                  <c:v>3.02549751243780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7</c:v>
                </c:pt>
                <c:pt idx="1">
                  <c:v>Av Price/Unit 11.47</c:v>
                </c:pt>
                <c:pt idx="2">
                  <c:v>Av Price/Unit 9.39</c:v>
                </c:pt>
                <c:pt idx="3">
                  <c:v>Av Price/Unit 35.28</c:v>
                </c:pt>
                <c:pt idx="4">
                  <c:v>Av Price/Unit 18.32</c:v>
                </c:pt>
              </c:strCache>
            </c:strRef>
          </c:cat>
          <c:val>
            <c:numRef>
              <c:f>Sheet1!$B$2:$B$6</c:f>
              <c:numCache>
                <c:formatCode>General</c:formatCode>
                <c:ptCount val="5"/>
                <c:pt idx="0">
                  <c:v>15.338200000000002</c:v>
                </c:pt>
                <c:pt idx="1">
                  <c:v>4.1383</c:v>
                </c:pt>
                <c:pt idx="2">
                  <c:v>5.046293392070484</c:v>
                </c:pt>
                <c:pt idx="3">
                  <c:v>18.077499999999997</c:v>
                </c:pt>
                <c:pt idx="4">
                  <c:v>9.861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7</c:v>
                </c:pt>
                <c:pt idx="1">
                  <c:v>Av Price/Unit 11.47</c:v>
                </c:pt>
                <c:pt idx="2">
                  <c:v>Av Price/Unit 9.39</c:v>
                </c:pt>
                <c:pt idx="3">
                  <c:v>Av Price/Unit 35.28</c:v>
                </c:pt>
                <c:pt idx="4">
                  <c:v>Av Price/Unit 18.32</c:v>
                </c:pt>
              </c:strCache>
            </c:strRef>
          </c:cat>
          <c:val>
            <c:numRef>
              <c:f>Sheet1!$C$2:$C$6</c:f>
              <c:numCache>
                <c:formatCode>General</c:formatCode>
                <c:ptCount val="5"/>
                <c:pt idx="0">
                  <c:v>12.150000000000002</c:v>
                </c:pt>
                <c:pt idx="1">
                  <c:v>6.857000000000001</c:v>
                </c:pt>
                <c:pt idx="2">
                  <c:v>3.0608066079295155</c:v>
                </c:pt>
                <c:pt idx="3">
                  <c:v>14.150000000000002</c:v>
                </c:pt>
                <c:pt idx="4">
                  <c:v>7.1999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7</c:v>
                </c:pt>
                <c:pt idx="1">
                  <c:v>Av Price/Unit 11.47</c:v>
                </c:pt>
                <c:pt idx="2">
                  <c:v>Av Price/Unit 9.39</c:v>
                </c:pt>
                <c:pt idx="3">
                  <c:v>Av Price/Unit 35.28</c:v>
                </c:pt>
                <c:pt idx="4">
                  <c:v>Av Price/Unit 18.32</c:v>
                </c:pt>
              </c:strCache>
            </c:strRef>
          </c:cat>
          <c:val>
            <c:numRef>
              <c:f>Sheet1!$D$2:$D$6</c:f>
              <c:numCache>
                <c:formatCode>General</c:formatCode>
                <c:ptCount val="5"/>
                <c:pt idx="0">
                  <c:v>-3.264080584192442</c:v>
                </c:pt>
                <c:pt idx="1">
                  <c:v>-1.4217677758653675</c:v>
                </c:pt>
                <c:pt idx="2">
                  <c:v>-0.28551409691629903</c:v>
                </c:pt>
                <c:pt idx="3">
                  <c:v>-2.8301785714285757</c:v>
                </c:pt>
                <c:pt idx="4">
                  <c:v>-1.79684305555555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07</c:v>
                </c:pt>
                <c:pt idx="1">
                  <c:v>Av Price/Unit 11.47</c:v>
                </c:pt>
                <c:pt idx="2">
                  <c:v>Av Price/Unit 9.39</c:v>
                </c:pt>
                <c:pt idx="3">
                  <c:v>Av Price/Unit 35.28</c:v>
                </c:pt>
                <c:pt idx="4">
                  <c:v>Av Price/Unit 18.32</c:v>
                </c:pt>
              </c:strCache>
            </c:strRef>
          </c:cat>
          <c:val>
            <c:numRef>
              <c:f>Sheet1!$E$2:$E$6</c:f>
              <c:numCache>
                <c:formatCode>General</c:formatCode>
                <c:ptCount val="5"/>
                <c:pt idx="0">
                  <c:v>4.84482388316151</c:v>
                </c:pt>
                <c:pt idx="1">
                  <c:v>1.914706444826926</c:v>
                </c:pt>
                <c:pt idx="2">
                  <c:v>1.5643171806167402</c:v>
                </c:pt>
                <c:pt idx="3">
                  <c:v>5.87946428571429</c:v>
                </c:pt>
                <c:pt idx="4">
                  <c:v>3.05295138888888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5</c:v>
                </c:pt>
                <c:pt idx="1">
                  <c:v>Av Price/Unit 97.87</c:v>
                </c:pt>
                <c:pt idx="2">
                  <c:v>Av Price/Unit 35.28</c:v>
                </c:pt>
                <c:pt idx="3">
                  <c:v>Av Price/Unit 38.63</c:v>
                </c:pt>
                <c:pt idx="4">
                  <c:v>Av Price/Unit 223.87</c:v>
                </c:pt>
                <c:pt idx="5">
                  <c:v>Av Price/Unit 60.91</c:v>
                </c:pt>
                <c:pt idx="6">
                  <c:v>Av Price/Unit 37.85</c:v>
                </c:pt>
                <c:pt idx="7">
                  <c:v>Av Price/Unit 52.42</c:v>
                </c:pt>
                <c:pt idx="8">
                  <c:v>Av Price/Unit 56.29</c:v>
                </c:pt>
                <c:pt idx="9">
                  <c:v>Av Price/Unit 46.39</c:v>
                </c:pt>
                <c:pt idx="10">
                  <c:v>Av Price/Unit 46.75</c:v>
                </c:pt>
                <c:pt idx="11">
                  <c:v>Av Price/Unit 70.91</c:v>
                </c:pt>
              </c:strCache>
            </c:strRef>
          </c:cat>
          <c:val>
            <c:numRef>
              <c:f>Sheet1!$B$2:$B$13</c:f>
              <c:numCache>
                <c:formatCode>General</c:formatCode>
                <c:ptCount val="12"/>
                <c:pt idx="0">
                  <c:v>30.069014140761926</c:v>
                </c:pt>
                <c:pt idx="1">
                  <c:v>31.651592223489164</c:v>
                </c:pt>
                <c:pt idx="2">
                  <c:v>12.495015936463606</c:v>
                </c:pt>
                <c:pt idx="3">
                  <c:v>13.309109734513275</c:v>
                </c:pt>
                <c:pt idx="4">
                  <c:v>74.4577516986706</c:v>
                </c:pt>
                <c:pt idx="5">
                  <c:v>21.371167947959787</c:v>
                </c:pt>
                <c:pt idx="6">
                  <c:v>14.801490783637258</c:v>
                </c:pt>
                <c:pt idx="7">
                  <c:v>18.089262947368425</c:v>
                </c:pt>
                <c:pt idx="8">
                  <c:v>18.408631375703944</c:v>
                </c:pt>
                <c:pt idx="9">
                  <c:v>16.104544085231442</c:v>
                </c:pt>
                <c:pt idx="10">
                  <c:v>15.960434305317326</c:v>
                </c:pt>
                <c:pt idx="11">
                  <c:v>26.0654438311688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5</c:v>
                </c:pt>
                <c:pt idx="1">
                  <c:v>Av Price/Unit 97.87</c:v>
                </c:pt>
                <c:pt idx="2">
                  <c:v>Av Price/Unit 35.28</c:v>
                </c:pt>
                <c:pt idx="3">
                  <c:v>Av Price/Unit 38.63</c:v>
                </c:pt>
                <c:pt idx="4">
                  <c:v>Av Price/Unit 223.87</c:v>
                </c:pt>
                <c:pt idx="5">
                  <c:v>Av Price/Unit 60.91</c:v>
                </c:pt>
                <c:pt idx="6">
                  <c:v>Av Price/Unit 37.85</c:v>
                </c:pt>
                <c:pt idx="7">
                  <c:v>Av Price/Unit 52.42</c:v>
                </c:pt>
                <c:pt idx="8">
                  <c:v>Av Price/Unit 56.29</c:v>
                </c:pt>
                <c:pt idx="9">
                  <c:v>Av Price/Unit 46.39</c:v>
                </c:pt>
                <c:pt idx="10">
                  <c:v>Av Price/Unit 46.75</c:v>
                </c:pt>
                <c:pt idx="11">
                  <c:v>Av Price/Unit 70.91</c:v>
                </c:pt>
              </c:strCache>
            </c:strRef>
          </c:cat>
          <c:val>
            <c:numRef>
              <c:f>Sheet1!$C$2:$C$13</c:f>
              <c:numCache>
                <c:formatCode>General</c:formatCode>
                <c:ptCount val="12"/>
                <c:pt idx="0">
                  <c:v>47.784625311318145</c:v>
                </c:pt>
                <c:pt idx="1">
                  <c:v>49.78331106043329</c:v>
                </c:pt>
                <c:pt idx="2">
                  <c:v>16.77661600628382</c:v>
                </c:pt>
                <c:pt idx="3">
                  <c:v>16.205999999999996</c:v>
                </c:pt>
                <c:pt idx="4">
                  <c:v>109.928</c:v>
                </c:pt>
                <c:pt idx="5">
                  <c:v>28.595303370786514</c:v>
                </c:pt>
                <c:pt idx="6">
                  <c:v>18.316000344997537</c:v>
                </c:pt>
                <c:pt idx="7">
                  <c:v>24.49873192982456</c:v>
                </c:pt>
                <c:pt idx="8">
                  <c:v>28.30796299275945</c:v>
                </c:pt>
                <c:pt idx="9">
                  <c:v>22.14817656135195</c:v>
                </c:pt>
                <c:pt idx="10">
                  <c:v>22.2115667238422</c:v>
                </c:pt>
                <c:pt idx="11">
                  <c:v>32.1963931818181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5</c:v>
                </c:pt>
                <c:pt idx="1">
                  <c:v>Av Price/Unit 97.87</c:v>
                </c:pt>
                <c:pt idx="2">
                  <c:v>Av Price/Unit 35.28</c:v>
                </c:pt>
                <c:pt idx="3">
                  <c:v>Av Price/Unit 38.63</c:v>
                </c:pt>
                <c:pt idx="4">
                  <c:v>Av Price/Unit 223.87</c:v>
                </c:pt>
                <c:pt idx="5">
                  <c:v>Av Price/Unit 60.91</c:v>
                </c:pt>
                <c:pt idx="6">
                  <c:v>Av Price/Unit 37.85</c:v>
                </c:pt>
                <c:pt idx="7">
                  <c:v>Av Price/Unit 52.42</c:v>
                </c:pt>
                <c:pt idx="8">
                  <c:v>Av Price/Unit 56.29</c:v>
                </c:pt>
                <c:pt idx="9">
                  <c:v>Av Price/Unit 46.39</c:v>
                </c:pt>
                <c:pt idx="10">
                  <c:v>Av Price/Unit 46.75</c:v>
                </c:pt>
                <c:pt idx="11">
                  <c:v>Av Price/Unit 70.91</c:v>
                </c:pt>
              </c:strCache>
            </c:strRef>
          </c:cat>
          <c:val>
            <c:numRef>
              <c:f>Sheet1!$D$2:$D$13</c:f>
              <c:numCache>
                <c:formatCode>General</c:formatCode>
                <c:ptCount val="12"/>
                <c:pt idx="0">
                  <c:v>0.018635553300754282</c:v>
                </c:pt>
                <c:pt idx="1">
                  <c:v>0.12362959331053958</c:v>
                </c:pt>
                <c:pt idx="2">
                  <c:v>0.12500505032874187</c:v>
                </c:pt>
                <c:pt idx="3">
                  <c:v>2.676101217759623</c:v>
                </c:pt>
                <c:pt idx="4">
                  <c:v>2.176286706056203</c:v>
                </c:pt>
                <c:pt idx="5">
                  <c:v>0.7889988172678812</c:v>
                </c:pt>
                <c:pt idx="6">
                  <c:v>-1.5740378675866573</c:v>
                </c:pt>
                <c:pt idx="7">
                  <c:v>1.0979700350877266</c:v>
                </c:pt>
                <c:pt idx="8">
                  <c:v>0.19410555108608918</c:v>
                </c:pt>
                <c:pt idx="9">
                  <c:v>0.4081904481998464</c:v>
                </c:pt>
                <c:pt idx="10">
                  <c:v>0.7881190394511179</c:v>
                </c:pt>
                <c:pt idx="11">
                  <c:v>0.831837770562778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5</c:v>
                </c:pt>
                <c:pt idx="1">
                  <c:v>Av Price/Unit 97.87</c:v>
                </c:pt>
                <c:pt idx="2">
                  <c:v>Av Price/Unit 35.28</c:v>
                </c:pt>
                <c:pt idx="3">
                  <c:v>Av Price/Unit 38.63</c:v>
                </c:pt>
                <c:pt idx="4">
                  <c:v>Av Price/Unit 223.87</c:v>
                </c:pt>
                <c:pt idx="5">
                  <c:v>Av Price/Unit 60.91</c:v>
                </c:pt>
                <c:pt idx="6">
                  <c:v>Av Price/Unit 37.85</c:v>
                </c:pt>
                <c:pt idx="7">
                  <c:v>Av Price/Unit 52.42</c:v>
                </c:pt>
                <c:pt idx="8">
                  <c:v>Av Price/Unit 56.29</c:v>
                </c:pt>
                <c:pt idx="9">
                  <c:v>Av Price/Unit 46.39</c:v>
                </c:pt>
                <c:pt idx="10">
                  <c:v>Av Price/Unit 46.75</c:v>
                </c:pt>
                <c:pt idx="11">
                  <c:v>Av Price/Unit 70.91</c:v>
                </c:pt>
              </c:strCache>
            </c:strRef>
          </c:cat>
          <c:val>
            <c:numRef>
              <c:f>Sheet1!$E$2:$E$13</c:f>
              <c:numCache>
                <c:formatCode>General</c:formatCode>
                <c:ptCount val="12"/>
                <c:pt idx="0">
                  <c:v>15.574455001076158</c:v>
                </c:pt>
                <c:pt idx="1">
                  <c:v>16.311706575446593</c:v>
                </c:pt>
                <c:pt idx="2">
                  <c:v>5.879327398615231</c:v>
                </c:pt>
                <c:pt idx="3">
                  <c:v>6.438242190454582</c:v>
                </c:pt>
                <c:pt idx="4">
                  <c:v>37.31240768094533</c:v>
                </c:pt>
                <c:pt idx="5">
                  <c:v>10.151094027202838</c:v>
                </c:pt>
                <c:pt idx="6">
                  <c:v>6.308690652209624</c:v>
                </c:pt>
                <c:pt idx="7">
                  <c:v>8.737192982456135</c:v>
                </c:pt>
                <c:pt idx="8">
                  <c:v>9.38213998390989</c:v>
                </c:pt>
                <c:pt idx="9">
                  <c:v>7.732182218956649</c:v>
                </c:pt>
                <c:pt idx="10">
                  <c:v>7.792024013722121</c:v>
                </c:pt>
                <c:pt idx="11">
                  <c:v>11.81872294372294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8</c:v>
                </c:pt>
                <c:pt idx="1">
                  <c:v>Av Price/Unit 98.01</c:v>
                </c:pt>
                <c:pt idx="2">
                  <c:v>Av Price/Unit 224.01</c:v>
                </c:pt>
                <c:pt idx="3">
                  <c:v>Av Price/Unit 35.06</c:v>
                </c:pt>
                <c:pt idx="4">
                  <c:v>Av Price/Unit 38.63</c:v>
                </c:pt>
                <c:pt idx="5">
                  <c:v>Av Price/Unit 60.41</c:v>
                </c:pt>
                <c:pt idx="6">
                  <c:v>Av Price/Unit 30.32</c:v>
                </c:pt>
                <c:pt idx="7">
                  <c:v>Av Price/Unit 37.42</c:v>
                </c:pt>
                <c:pt idx="8">
                  <c:v>Av Price/Unit 45.85</c:v>
                </c:pt>
                <c:pt idx="9">
                  <c:v>Av Price/Unit 56.67</c:v>
                </c:pt>
                <c:pt idx="10">
                  <c:v>Av Price/Unit 52.46</c:v>
                </c:pt>
                <c:pt idx="11">
                  <c:v>Av Price/Unit 70.55</c:v>
                </c:pt>
              </c:strCache>
            </c:strRef>
          </c:cat>
          <c:val>
            <c:numRef>
              <c:f>Sheet1!$B$2:$B$13</c:f>
              <c:numCache>
                <c:formatCode>General</c:formatCode>
                <c:ptCount val="12"/>
                <c:pt idx="0">
                  <c:v>30.19345878280934</c:v>
                </c:pt>
                <c:pt idx="1">
                  <c:v>31.741672107438017</c:v>
                </c:pt>
                <c:pt idx="2">
                  <c:v>74.45476505494504</c:v>
                </c:pt>
                <c:pt idx="3">
                  <c:v>12.519917629629628</c:v>
                </c:pt>
                <c:pt idx="4">
                  <c:v>13.317240000000002</c:v>
                </c:pt>
                <c:pt idx="5">
                  <c:v>21.330279577464786</c:v>
                </c:pt>
                <c:pt idx="6">
                  <c:v>8.783877419354837</c:v>
                </c:pt>
                <c:pt idx="7">
                  <c:v>14.863148133116885</c:v>
                </c:pt>
                <c:pt idx="8">
                  <c:v>16.11610050188206</c:v>
                </c:pt>
                <c:pt idx="9">
                  <c:v>18.487400775193798</c:v>
                </c:pt>
                <c:pt idx="10">
                  <c:v>18.138556088560886</c:v>
                </c:pt>
                <c:pt idx="11">
                  <c:v>25.95817855153203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8</c:v>
                </c:pt>
                <c:pt idx="1">
                  <c:v>Av Price/Unit 98.01</c:v>
                </c:pt>
                <c:pt idx="2">
                  <c:v>Av Price/Unit 224.01</c:v>
                </c:pt>
                <c:pt idx="3">
                  <c:v>Av Price/Unit 35.06</c:v>
                </c:pt>
                <c:pt idx="4">
                  <c:v>Av Price/Unit 38.63</c:v>
                </c:pt>
                <c:pt idx="5">
                  <c:v>Av Price/Unit 60.41</c:v>
                </c:pt>
                <c:pt idx="6">
                  <c:v>Av Price/Unit 30.32</c:v>
                </c:pt>
                <c:pt idx="7">
                  <c:v>Av Price/Unit 37.42</c:v>
                </c:pt>
                <c:pt idx="8">
                  <c:v>Av Price/Unit 45.85</c:v>
                </c:pt>
                <c:pt idx="9">
                  <c:v>Av Price/Unit 56.67</c:v>
                </c:pt>
                <c:pt idx="10">
                  <c:v>Av Price/Unit 52.46</c:v>
                </c:pt>
                <c:pt idx="11">
                  <c:v>Av Price/Unit 70.55</c:v>
                </c:pt>
              </c:strCache>
            </c:strRef>
          </c:cat>
          <c:val>
            <c:numRef>
              <c:f>Sheet1!$C$2:$C$13</c:f>
              <c:numCache>
                <c:formatCode>General</c:formatCode>
                <c:ptCount val="12"/>
                <c:pt idx="0">
                  <c:v>47.723595183155474</c:v>
                </c:pt>
                <c:pt idx="1">
                  <c:v>49.74534779614325</c:v>
                </c:pt>
                <c:pt idx="2">
                  <c:v>109.92800000000001</c:v>
                </c:pt>
                <c:pt idx="3">
                  <c:v>16.76842</c:v>
                </c:pt>
                <c:pt idx="4">
                  <c:v>16.205999999999996</c:v>
                </c:pt>
                <c:pt idx="5">
                  <c:v>28.576132237871672</c:v>
                </c:pt>
                <c:pt idx="6">
                  <c:v>18.90161290322581</c:v>
                </c:pt>
                <c:pt idx="7">
                  <c:v>18.33026672077922</c:v>
                </c:pt>
                <c:pt idx="8">
                  <c:v>22.152184567126728</c:v>
                </c:pt>
                <c:pt idx="9">
                  <c:v>28.27291472868217</c:v>
                </c:pt>
                <c:pt idx="10">
                  <c:v>24.517869926199257</c:v>
                </c:pt>
                <c:pt idx="11">
                  <c:v>32.0777699164345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8</c:v>
                </c:pt>
                <c:pt idx="1">
                  <c:v>Av Price/Unit 98.01</c:v>
                </c:pt>
                <c:pt idx="2">
                  <c:v>Av Price/Unit 224.01</c:v>
                </c:pt>
                <c:pt idx="3">
                  <c:v>Av Price/Unit 35.06</c:v>
                </c:pt>
                <c:pt idx="4">
                  <c:v>Av Price/Unit 38.63</c:v>
                </c:pt>
                <c:pt idx="5">
                  <c:v>Av Price/Unit 60.41</c:v>
                </c:pt>
                <c:pt idx="6">
                  <c:v>Av Price/Unit 30.32</c:v>
                </c:pt>
                <c:pt idx="7">
                  <c:v>Av Price/Unit 37.42</c:v>
                </c:pt>
                <c:pt idx="8">
                  <c:v>Av Price/Unit 45.85</c:v>
                </c:pt>
                <c:pt idx="9">
                  <c:v>Av Price/Unit 56.67</c:v>
                </c:pt>
                <c:pt idx="10">
                  <c:v>Av Price/Unit 52.46</c:v>
                </c:pt>
                <c:pt idx="11">
                  <c:v>Av Price/Unit 70.55</c:v>
                </c:pt>
              </c:strCache>
            </c:strRef>
          </c:cat>
          <c:val>
            <c:numRef>
              <c:f>Sheet1!$D$2:$D$13</c:f>
              <c:numCache>
                <c:formatCode>General</c:formatCode>
                <c:ptCount val="12"/>
                <c:pt idx="0">
                  <c:v>0.062467233919846876</c:v>
                </c:pt>
                <c:pt idx="1">
                  <c:v>0.18595989439855032</c:v>
                </c:pt>
                <c:pt idx="2">
                  <c:v>2.2930591208791213</c:v>
                </c:pt>
                <c:pt idx="3">
                  <c:v>-0.07506602469135615</c:v>
                </c:pt>
                <c:pt idx="4">
                  <c:v>2.6677674374577514</c:v>
                </c:pt>
                <c:pt idx="5">
                  <c:v>0.4352678925404305</c:v>
                </c:pt>
                <c:pt idx="6">
                  <c:v>-2.4206263124604703</c:v>
                </c:pt>
                <c:pt idx="7">
                  <c:v>-2.008349918831172</c:v>
                </c:pt>
                <c:pt idx="8">
                  <c:v>-0.05937666248431128</c:v>
                </c:pt>
                <c:pt idx="9">
                  <c:v>0.4619067183462562</c:v>
                </c:pt>
                <c:pt idx="10">
                  <c:v>1.0612861623616396</c:v>
                </c:pt>
                <c:pt idx="11">
                  <c:v>0.754725441039951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8</c:v>
                </c:pt>
                <c:pt idx="1">
                  <c:v>Av Price/Unit 98.01</c:v>
                </c:pt>
                <c:pt idx="2">
                  <c:v>Av Price/Unit 224.01</c:v>
                </c:pt>
                <c:pt idx="3">
                  <c:v>Av Price/Unit 35.06</c:v>
                </c:pt>
                <c:pt idx="4">
                  <c:v>Av Price/Unit 38.63</c:v>
                </c:pt>
                <c:pt idx="5">
                  <c:v>Av Price/Unit 60.41</c:v>
                </c:pt>
                <c:pt idx="6">
                  <c:v>Av Price/Unit 30.32</c:v>
                </c:pt>
                <c:pt idx="7">
                  <c:v>Av Price/Unit 37.42</c:v>
                </c:pt>
                <c:pt idx="8">
                  <c:v>Av Price/Unit 45.85</c:v>
                </c:pt>
                <c:pt idx="9">
                  <c:v>Av Price/Unit 56.67</c:v>
                </c:pt>
                <c:pt idx="10">
                  <c:v>Av Price/Unit 52.46</c:v>
                </c:pt>
                <c:pt idx="11">
                  <c:v>Av Price/Unit 70.55</c:v>
                </c:pt>
              </c:strCache>
            </c:strRef>
          </c:cat>
          <c:val>
            <c:numRef>
              <c:f>Sheet1!$E$2:$E$13</c:f>
              <c:numCache>
                <c:formatCode>General</c:formatCode>
                <c:ptCount val="12"/>
                <c:pt idx="0">
                  <c:v>15.595904239976925</c:v>
                </c:pt>
                <c:pt idx="1">
                  <c:v>16.334595959595948</c:v>
                </c:pt>
                <c:pt idx="2">
                  <c:v>37.33516483516483</c:v>
                </c:pt>
                <c:pt idx="3">
                  <c:v>5.842654320987651</c:v>
                </c:pt>
                <c:pt idx="4">
                  <c:v>6.438201487491544</c:v>
                </c:pt>
                <c:pt idx="5">
                  <c:v>10.068335941575375</c:v>
                </c:pt>
                <c:pt idx="6">
                  <c:v>5.052972802024034</c:v>
                </c:pt>
                <c:pt idx="7">
                  <c:v>6.237012987012987</c:v>
                </c:pt>
                <c:pt idx="8">
                  <c:v>7.641781681304889</c:v>
                </c:pt>
                <c:pt idx="9">
                  <c:v>9.444444444444436</c:v>
                </c:pt>
                <c:pt idx="10">
                  <c:v>8.743542435424342</c:v>
                </c:pt>
                <c:pt idx="11">
                  <c:v>11.75812441968430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04</c:v>
                </c:pt>
                <c:pt idx="1">
                  <c:v>Av Price/Unit 97.67</c:v>
                </c:pt>
                <c:pt idx="2">
                  <c:v>Av Price/Unit 225.81</c:v>
                </c:pt>
                <c:pt idx="3">
                  <c:v>Av Price/Unit 35.46</c:v>
                </c:pt>
                <c:pt idx="4">
                  <c:v>Av Price/Unit 38.67</c:v>
                </c:pt>
                <c:pt idx="5">
                  <c:v>Av Price/Unit 56.51</c:v>
                </c:pt>
                <c:pt idx="6">
                  <c:v>Av Price/Unit 61.14</c:v>
                </c:pt>
                <c:pt idx="7">
                  <c:v>Av Price/Unit 52.79</c:v>
                </c:pt>
                <c:pt idx="8">
                  <c:v>Av Price/Unit 39.58</c:v>
                </c:pt>
                <c:pt idx="9">
                  <c:v>Av Price/Unit 47.21</c:v>
                </c:pt>
                <c:pt idx="10">
                  <c:v>Av Price/Unit 47.40</c:v>
                </c:pt>
                <c:pt idx="11">
                  <c:v>Av Price/Unit 81.83</c:v>
                </c:pt>
              </c:strCache>
            </c:strRef>
          </c:cat>
          <c:val>
            <c:numRef>
              <c:f>Sheet1!$B$2:$B$13</c:f>
              <c:numCache>
                <c:formatCode>General</c:formatCode>
                <c:ptCount val="12"/>
                <c:pt idx="0">
                  <c:v>30.217047800586514</c:v>
                </c:pt>
                <c:pt idx="1">
                  <c:v>31.612613738630927</c:v>
                </c:pt>
                <c:pt idx="2">
                  <c:v>74.46531439999998</c:v>
                </c:pt>
                <c:pt idx="3">
                  <c:v>12.474357142857146</c:v>
                </c:pt>
                <c:pt idx="4">
                  <c:v>13.308875510204084</c:v>
                </c:pt>
                <c:pt idx="5">
                  <c:v>18.31280836575876</c:v>
                </c:pt>
                <c:pt idx="6">
                  <c:v>21.3631230125523</c:v>
                </c:pt>
                <c:pt idx="7">
                  <c:v>18.105555474452554</c:v>
                </c:pt>
                <c:pt idx="8">
                  <c:v>14.784678251599148</c:v>
                </c:pt>
                <c:pt idx="9">
                  <c:v>16.09787461928934</c:v>
                </c:pt>
                <c:pt idx="10">
                  <c:v>15.956473426573424</c:v>
                </c:pt>
                <c:pt idx="11">
                  <c:v>27.3006818181818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04</c:v>
                </c:pt>
                <c:pt idx="1">
                  <c:v>Av Price/Unit 97.67</c:v>
                </c:pt>
                <c:pt idx="2">
                  <c:v>Av Price/Unit 225.81</c:v>
                </c:pt>
                <c:pt idx="3">
                  <c:v>Av Price/Unit 35.46</c:v>
                </c:pt>
                <c:pt idx="4">
                  <c:v>Av Price/Unit 38.67</c:v>
                </c:pt>
                <c:pt idx="5">
                  <c:v>Av Price/Unit 56.51</c:v>
                </c:pt>
                <c:pt idx="6">
                  <c:v>Av Price/Unit 61.14</c:v>
                </c:pt>
                <c:pt idx="7">
                  <c:v>Av Price/Unit 52.79</c:v>
                </c:pt>
                <c:pt idx="8">
                  <c:v>Av Price/Unit 39.58</c:v>
                </c:pt>
                <c:pt idx="9">
                  <c:v>Av Price/Unit 47.21</c:v>
                </c:pt>
                <c:pt idx="10">
                  <c:v>Av Price/Unit 47.40</c:v>
                </c:pt>
                <c:pt idx="11">
                  <c:v>Av Price/Unit 81.83</c:v>
                </c:pt>
              </c:strCache>
            </c:strRef>
          </c:cat>
          <c:val>
            <c:numRef>
              <c:f>Sheet1!$C$2:$C$13</c:f>
              <c:numCache>
                <c:formatCode>General</c:formatCode>
                <c:ptCount val="12"/>
                <c:pt idx="0">
                  <c:v>47.71202665955745</c:v>
                </c:pt>
                <c:pt idx="1">
                  <c:v>49.79973815222594</c:v>
                </c:pt>
                <c:pt idx="2">
                  <c:v>109.928</c:v>
                </c:pt>
                <c:pt idx="3">
                  <c:v>16.78341552795031</c:v>
                </c:pt>
                <c:pt idx="4">
                  <c:v>16.206</c:v>
                </c:pt>
                <c:pt idx="5">
                  <c:v>28.35059922178988</c:v>
                </c:pt>
                <c:pt idx="6">
                  <c:v>28.59153138075314</c:v>
                </c:pt>
                <c:pt idx="7">
                  <c:v>24.505057481751823</c:v>
                </c:pt>
                <c:pt idx="8">
                  <c:v>18.31211023454158</c:v>
                </c:pt>
                <c:pt idx="9">
                  <c:v>22.145863451776655</c:v>
                </c:pt>
                <c:pt idx="10">
                  <c:v>22.216508391608393</c:v>
                </c:pt>
                <c:pt idx="11">
                  <c:v>38.4569090909090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04</c:v>
                </c:pt>
                <c:pt idx="1">
                  <c:v>Av Price/Unit 97.67</c:v>
                </c:pt>
                <c:pt idx="2">
                  <c:v>Av Price/Unit 225.81</c:v>
                </c:pt>
                <c:pt idx="3">
                  <c:v>Av Price/Unit 35.46</c:v>
                </c:pt>
                <c:pt idx="4">
                  <c:v>Av Price/Unit 38.67</c:v>
                </c:pt>
                <c:pt idx="5">
                  <c:v>Av Price/Unit 56.51</c:v>
                </c:pt>
                <c:pt idx="6">
                  <c:v>Av Price/Unit 61.14</c:v>
                </c:pt>
                <c:pt idx="7">
                  <c:v>Av Price/Unit 52.79</c:v>
                </c:pt>
                <c:pt idx="8">
                  <c:v>Av Price/Unit 39.58</c:v>
                </c:pt>
                <c:pt idx="9">
                  <c:v>Av Price/Unit 47.21</c:v>
                </c:pt>
                <c:pt idx="10">
                  <c:v>Av Price/Unit 47.40</c:v>
                </c:pt>
                <c:pt idx="11">
                  <c:v>Av Price/Unit 81.83</c:v>
                </c:pt>
              </c:strCache>
            </c:strRef>
          </c:cat>
          <c:val>
            <c:numRef>
              <c:f>Sheet1!$D$2:$D$13</c:f>
              <c:numCache>
                <c:formatCode>General</c:formatCode>
                <c:ptCount val="12"/>
                <c:pt idx="0">
                  <c:v>-0.3948613614147263</c:v>
                </c:pt>
                <c:pt idx="1">
                  <c:v>-0.02293111536620529</c:v>
                </c:pt>
                <c:pt idx="2">
                  <c:v>3.780018933333338</c:v>
                </c:pt>
                <c:pt idx="3">
                  <c:v>0.28932877846790106</c:v>
                </c:pt>
                <c:pt idx="4">
                  <c:v>2.706012845138055</c:v>
                </c:pt>
                <c:pt idx="5">
                  <c:v>0.42478955901427184</c:v>
                </c:pt>
                <c:pt idx="6">
                  <c:v>0.9954850767085048</c:v>
                </c:pt>
                <c:pt idx="7">
                  <c:v>1.3796546836982913</c:v>
                </c:pt>
                <c:pt idx="8">
                  <c:v>-0.11349068941010643</c:v>
                </c:pt>
                <c:pt idx="9">
                  <c:v>1.0963634517766465</c:v>
                </c:pt>
                <c:pt idx="10">
                  <c:v>1.3258526806526874</c:v>
                </c:pt>
                <c:pt idx="11">
                  <c:v>2.4350497835497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04</c:v>
                </c:pt>
                <c:pt idx="1">
                  <c:v>Av Price/Unit 97.67</c:v>
                </c:pt>
                <c:pt idx="2">
                  <c:v>Av Price/Unit 225.81</c:v>
                </c:pt>
                <c:pt idx="3">
                  <c:v>Av Price/Unit 35.46</c:v>
                </c:pt>
                <c:pt idx="4">
                  <c:v>Av Price/Unit 38.67</c:v>
                </c:pt>
                <c:pt idx="5">
                  <c:v>Av Price/Unit 56.51</c:v>
                </c:pt>
                <c:pt idx="6">
                  <c:v>Av Price/Unit 61.14</c:v>
                </c:pt>
                <c:pt idx="7">
                  <c:v>Av Price/Unit 52.79</c:v>
                </c:pt>
                <c:pt idx="8">
                  <c:v>Av Price/Unit 39.58</c:v>
                </c:pt>
                <c:pt idx="9">
                  <c:v>Av Price/Unit 47.21</c:v>
                </c:pt>
                <c:pt idx="10">
                  <c:v>Av Price/Unit 47.40</c:v>
                </c:pt>
                <c:pt idx="11">
                  <c:v>Av Price/Unit 81.83</c:v>
                </c:pt>
              </c:strCache>
            </c:strRef>
          </c:cat>
          <c:val>
            <c:numRef>
              <c:f>Sheet1!$E$2:$E$13</c:f>
              <c:numCache>
                <c:formatCode>General</c:formatCode>
                <c:ptCount val="12"/>
                <c:pt idx="0">
                  <c:v>15.506842619745836</c:v>
                </c:pt>
                <c:pt idx="1">
                  <c:v>16.277884155098132</c:v>
                </c:pt>
                <c:pt idx="2">
                  <c:v>37.634666666666654</c:v>
                </c:pt>
                <c:pt idx="3">
                  <c:v>5.909420289855074</c:v>
                </c:pt>
                <c:pt idx="4">
                  <c:v>6.444177671068427</c:v>
                </c:pt>
                <c:pt idx="5">
                  <c:v>9.417639429312576</c:v>
                </c:pt>
                <c:pt idx="6">
                  <c:v>10.190027894002787</c:v>
                </c:pt>
                <c:pt idx="7">
                  <c:v>8.798053527980533</c:v>
                </c:pt>
                <c:pt idx="8">
                  <c:v>6.596659559346132</c:v>
                </c:pt>
                <c:pt idx="9">
                  <c:v>7.868020304568528</c:v>
                </c:pt>
                <c:pt idx="10">
                  <c:v>7.899766899766895</c:v>
                </c:pt>
                <c:pt idx="11">
                  <c:v>13.6385281385281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98.14</c:v>
                </c:pt>
                <c:pt idx="2">
                  <c:v>Av Price/Unit 225.95</c:v>
                </c:pt>
                <c:pt idx="3">
                  <c:v>Av Price/Unit 56.70</c:v>
                </c:pt>
                <c:pt idx="4">
                  <c:v>Av Price/Unit 79.95</c:v>
                </c:pt>
                <c:pt idx="5">
                  <c:v>Av Price/Unit 35.47</c:v>
                </c:pt>
                <c:pt idx="6">
                  <c:v>Av Price/Unit 38.88</c:v>
                </c:pt>
                <c:pt idx="7">
                  <c:v>Av Price/Unit 61.44</c:v>
                </c:pt>
                <c:pt idx="8">
                  <c:v>Av Price/Unit 47.47</c:v>
                </c:pt>
                <c:pt idx="9">
                  <c:v>Av Price/Unit 52.86</c:v>
                </c:pt>
                <c:pt idx="10">
                  <c:v>Av Price/Unit 203.06</c:v>
                </c:pt>
                <c:pt idx="11">
                  <c:v>Av Price/Unit 46.89</c:v>
                </c:pt>
              </c:strCache>
            </c:strRef>
          </c:cat>
          <c:val>
            <c:numRef>
              <c:f>Sheet1!$B$2:$B$13</c:f>
              <c:numCache>
                <c:formatCode>General</c:formatCode>
                <c:ptCount val="12"/>
                <c:pt idx="0">
                  <c:v>29.951883288312622</c:v>
                </c:pt>
                <c:pt idx="1">
                  <c:v>31.53569957142857</c:v>
                </c:pt>
                <c:pt idx="2">
                  <c:v>74.43275783132529</c:v>
                </c:pt>
                <c:pt idx="3">
                  <c:v>18.51649573643411</c:v>
                </c:pt>
                <c:pt idx="4">
                  <c:v>27.56075138121547</c:v>
                </c:pt>
                <c:pt idx="5">
                  <c:v>12.504427832512318</c:v>
                </c:pt>
                <c:pt idx="6">
                  <c:v>13.272809197324415</c:v>
                </c:pt>
                <c:pt idx="7">
                  <c:v>21.192672140762465</c:v>
                </c:pt>
                <c:pt idx="8">
                  <c:v>16.091855910543128</c:v>
                </c:pt>
                <c:pt idx="9">
                  <c:v>18.018307194244603</c:v>
                </c:pt>
                <c:pt idx="10">
                  <c:v>65.41125625</c:v>
                </c:pt>
                <c:pt idx="11">
                  <c:v>15.95958181818181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98.14</c:v>
                </c:pt>
                <c:pt idx="2">
                  <c:v>Av Price/Unit 225.95</c:v>
                </c:pt>
                <c:pt idx="3">
                  <c:v>Av Price/Unit 56.70</c:v>
                </c:pt>
                <c:pt idx="4">
                  <c:v>Av Price/Unit 79.95</c:v>
                </c:pt>
                <c:pt idx="5">
                  <c:v>Av Price/Unit 35.47</c:v>
                </c:pt>
                <c:pt idx="6">
                  <c:v>Av Price/Unit 38.88</c:v>
                </c:pt>
                <c:pt idx="7">
                  <c:v>Av Price/Unit 61.44</c:v>
                </c:pt>
                <c:pt idx="8">
                  <c:v>Av Price/Unit 47.47</c:v>
                </c:pt>
                <c:pt idx="9">
                  <c:v>Av Price/Unit 52.86</c:v>
                </c:pt>
                <c:pt idx="10">
                  <c:v>Av Price/Unit 203.06</c:v>
                </c:pt>
                <c:pt idx="11">
                  <c:v>Av Price/Unit 46.89</c:v>
                </c:pt>
              </c:strCache>
            </c:strRef>
          </c:cat>
          <c:val>
            <c:numRef>
              <c:f>Sheet1!$C$2:$C$13</c:f>
              <c:numCache>
                <c:formatCode>General</c:formatCode>
                <c:ptCount val="12"/>
                <c:pt idx="0">
                  <c:v>47.84206861156132</c:v>
                </c:pt>
                <c:pt idx="1">
                  <c:v>49.832152857142866</c:v>
                </c:pt>
                <c:pt idx="2">
                  <c:v>109.928</c:v>
                </c:pt>
                <c:pt idx="3">
                  <c:v>28.259968992248062</c:v>
                </c:pt>
                <c:pt idx="4">
                  <c:v>38.45216022099447</c:v>
                </c:pt>
                <c:pt idx="5">
                  <c:v>16.773518226600984</c:v>
                </c:pt>
                <c:pt idx="6">
                  <c:v>16.206</c:v>
                </c:pt>
                <c:pt idx="7">
                  <c:v>28.51161290322581</c:v>
                </c:pt>
                <c:pt idx="8">
                  <c:v>22.143776038338657</c:v>
                </c:pt>
                <c:pt idx="9">
                  <c:v>24.47118345323741</c:v>
                </c:pt>
                <c:pt idx="10">
                  <c:v>95.26581249999998</c:v>
                </c:pt>
                <c:pt idx="11">
                  <c:v>22.21263030303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98.14</c:v>
                </c:pt>
                <c:pt idx="2">
                  <c:v>Av Price/Unit 225.95</c:v>
                </c:pt>
                <c:pt idx="3">
                  <c:v>Av Price/Unit 56.70</c:v>
                </c:pt>
                <c:pt idx="4">
                  <c:v>Av Price/Unit 79.95</c:v>
                </c:pt>
                <c:pt idx="5">
                  <c:v>Av Price/Unit 35.47</c:v>
                </c:pt>
                <c:pt idx="6">
                  <c:v>Av Price/Unit 38.88</c:v>
                </c:pt>
                <c:pt idx="7">
                  <c:v>Av Price/Unit 61.44</c:v>
                </c:pt>
                <c:pt idx="8">
                  <c:v>Av Price/Unit 47.47</c:v>
                </c:pt>
                <c:pt idx="9">
                  <c:v>Av Price/Unit 52.86</c:v>
                </c:pt>
                <c:pt idx="10">
                  <c:v>Av Price/Unit 203.06</c:v>
                </c:pt>
                <c:pt idx="11">
                  <c:v>Av Price/Unit 46.89</c:v>
                </c:pt>
              </c:strCache>
            </c:strRef>
          </c:cat>
          <c:val>
            <c:numRef>
              <c:f>Sheet1!$D$2:$D$13</c:f>
              <c:numCache>
                <c:formatCode>General</c:formatCode>
                <c:ptCount val="12"/>
                <c:pt idx="0">
                  <c:v>-0.04483730716124512</c:v>
                </c:pt>
                <c:pt idx="1">
                  <c:v>0.4172666190476235</c:v>
                </c:pt>
                <c:pt idx="2">
                  <c:v>3.929068139223574</c:v>
                </c:pt>
                <c:pt idx="3">
                  <c:v>0.4764422480620141</c:v>
                </c:pt>
                <c:pt idx="4">
                  <c:v>0.6123186003683401</c:v>
                </c:pt>
                <c:pt idx="5">
                  <c:v>0.276651642036132</c:v>
                </c:pt>
                <c:pt idx="6">
                  <c:v>2.9194628205128197</c:v>
                </c:pt>
                <c:pt idx="7">
                  <c:v>1.4980609970674408</c:v>
                </c:pt>
                <c:pt idx="8">
                  <c:v>1.3197461128860581</c:v>
                </c:pt>
                <c:pt idx="9">
                  <c:v>1.560269544364516</c:v>
                </c:pt>
                <c:pt idx="10">
                  <c:v>8.541681249999982</c:v>
                </c:pt>
                <c:pt idx="11">
                  <c:v>0.9060707070707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98.14</c:v>
                </c:pt>
                <c:pt idx="2">
                  <c:v>Av Price/Unit 225.95</c:v>
                </c:pt>
                <c:pt idx="3">
                  <c:v>Av Price/Unit 56.70</c:v>
                </c:pt>
                <c:pt idx="4">
                  <c:v>Av Price/Unit 79.95</c:v>
                </c:pt>
                <c:pt idx="5">
                  <c:v>Av Price/Unit 35.47</c:v>
                </c:pt>
                <c:pt idx="6">
                  <c:v>Av Price/Unit 38.88</c:v>
                </c:pt>
                <c:pt idx="7">
                  <c:v>Av Price/Unit 61.44</c:v>
                </c:pt>
                <c:pt idx="8">
                  <c:v>Av Price/Unit 47.47</c:v>
                </c:pt>
                <c:pt idx="9">
                  <c:v>Av Price/Unit 52.86</c:v>
                </c:pt>
                <c:pt idx="10">
                  <c:v>Av Price/Unit 203.06</c:v>
                </c:pt>
                <c:pt idx="11">
                  <c:v>Av Price/Unit 46.89</c:v>
                </c:pt>
              </c:strCache>
            </c:strRef>
          </c:cat>
          <c:val>
            <c:numRef>
              <c:f>Sheet1!$E$2:$E$13</c:f>
              <c:numCache>
                <c:formatCode>General</c:formatCode>
                <c:ptCount val="12"/>
                <c:pt idx="0">
                  <c:v>15.549822918542512</c:v>
                </c:pt>
                <c:pt idx="1">
                  <c:v>16.357023809523806</c:v>
                </c:pt>
                <c:pt idx="2">
                  <c:v>37.65796519410975</c:v>
                </c:pt>
                <c:pt idx="3">
                  <c:v>9.450581395348838</c:v>
                </c:pt>
                <c:pt idx="4">
                  <c:v>13.325046040515646</c:v>
                </c:pt>
                <c:pt idx="5">
                  <c:v>5.910919540229882</c:v>
                </c:pt>
                <c:pt idx="6">
                  <c:v>6.479654403567445</c:v>
                </c:pt>
                <c:pt idx="7">
                  <c:v>10.240469208211143</c:v>
                </c:pt>
                <c:pt idx="8">
                  <c:v>7.9110756123535655</c:v>
                </c:pt>
                <c:pt idx="9">
                  <c:v>8.809952038369302</c:v>
                </c:pt>
                <c:pt idx="10">
                  <c:v>33.84375</c:v>
                </c:pt>
                <c:pt idx="11">
                  <c:v>7.81565656565656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77</c:v>
                </c:pt>
                <c:pt idx="1">
                  <c:v>Av Price/Unit 98.34</c:v>
                </c:pt>
                <c:pt idx="2">
                  <c:v>Av Price/Unit 230.01</c:v>
                </c:pt>
                <c:pt idx="3">
                  <c:v>Av Price/Unit 35.48</c:v>
                </c:pt>
                <c:pt idx="4">
                  <c:v>Av Price/Unit 61.81</c:v>
                </c:pt>
                <c:pt idx="5">
                  <c:v>Av Price/Unit 39.20</c:v>
                </c:pt>
                <c:pt idx="6">
                  <c:v>Av Price/Unit 56.84</c:v>
                </c:pt>
                <c:pt idx="7">
                  <c:v>Av Price/Unit 38.84</c:v>
                </c:pt>
                <c:pt idx="8">
                  <c:v>Av Price/Unit 54.32</c:v>
                </c:pt>
                <c:pt idx="9">
                  <c:v>Av Price/Unit 47.07</c:v>
                </c:pt>
                <c:pt idx="10">
                  <c:v>Av Price/Unit 72.22</c:v>
                </c:pt>
                <c:pt idx="11">
                  <c:v>Av Price/Unit 84.58</c:v>
                </c:pt>
              </c:strCache>
            </c:strRef>
          </c:cat>
          <c:val>
            <c:numRef>
              <c:f>Sheet1!$B$2:$B$13</c:f>
              <c:numCache>
                <c:formatCode>General</c:formatCode>
                <c:ptCount val="12"/>
                <c:pt idx="0">
                  <c:v>30.002478294573653</c:v>
                </c:pt>
                <c:pt idx="1">
                  <c:v>31.703690322580652</c:v>
                </c:pt>
                <c:pt idx="2">
                  <c:v>74.3992909638554</c:v>
                </c:pt>
                <c:pt idx="3">
                  <c:v>12.544901884570084</c:v>
                </c:pt>
                <c:pt idx="4">
                  <c:v>21.524557142857148</c:v>
                </c:pt>
                <c:pt idx="5">
                  <c:v>13.301770960187355</c:v>
                </c:pt>
                <c:pt idx="6">
                  <c:v>18.444295278969957</c:v>
                </c:pt>
                <c:pt idx="7">
                  <c:v>14.847440138408306</c:v>
                </c:pt>
                <c:pt idx="8">
                  <c:v>18.1009</c:v>
                </c:pt>
                <c:pt idx="9">
                  <c:v>16.127966666666666</c:v>
                </c:pt>
                <c:pt idx="10">
                  <c:v>26.234534615384614</c:v>
                </c:pt>
                <c:pt idx="11">
                  <c:v>27.91802727272727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77</c:v>
                </c:pt>
                <c:pt idx="1">
                  <c:v>Av Price/Unit 98.34</c:v>
                </c:pt>
                <c:pt idx="2">
                  <c:v>Av Price/Unit 230.01</c:v>
                </c:pt>
                <c:pt idx="3">
                  <c:v>Av Price/Unit 35.48</c:v>
                </c:pt>
                <c:pt idx="4">
                  <c:v>Av Price/Unit 61.81</c:v>
                </c:pt>
                <c:pt idx="5">
                  <c:v>Av Price/Unit 39.20</c:v>
                </c:pt>
                <c:pt idx="6">
                  <c:v>Av Price/Unit 56.84</c:v>
                </c:pt>
                <c:pt idx="7">
                  <c:v>Av Price/Unit 38.84</c:v>
                </c:pt>
                <c:pt idx="8">
                  <c:v>Av Price/Unit 54.32</c:v>
                </c:pt>
                <c:pt idx="9">
                  <c:v>Av Price/Unit 47.07</c:v>
                </c:pt>
                <c:pt idx="10">
                  <c:v>Av Price/Unit 72.22</c:v>
                </c:pt>
                <c:pt idx="11">
                  <c:v>Av Price/Unit 84.58</c:v>
                </c:pt>
              </c:strCache>
            </c:strRef>
          </c:cat>
          <c:val>
            <c:numRef>
              <c:f>Sheet1!$C$2:$C$13</c:f>
              <c:numCache>
                <c:formatCode>General</c:formatCode>
                <c:ptCount val="12"/>
                <c:pt idx="0">
                  <c:v>47.817255813953494</c:v>
                </c:pt>
                <c:pt idx="1">
                  <c:v>49.76135483870967</c:v>
                </c:pt>
                <c:pt idx="2">
                  <c:v>109.928</c:v>
                </c:pt>
                <c:pt idx="3">
                  <c:v>16.760196819787986</c:v>
                </c:pt>
                <c:pt idx="4">
                  <c:v>28.667222222222218</c:v>
                </c:pt>
                <c:pt idx="5">
                  <c:v>16.206</c:v>
                </c:pt>
                <c:pt idx="6">
                  <c:v>28.292094420600854</c:v>
                </c:pt>
                <c:pt idx="7">
                  <c:v>18.326632179930797</c:v>
                </c:pt>
                <c:pt idx="8">
                  <c:v>24.503249999999998</c:v>
                </c:pt>
                <c:pt idx="9">
                  <c:v>22.1563</c:v>
                </c:pt>
                <c:pt idx="10">
                  <c:v>32.38338846153846</c:v>
                </c:pt>
                <c:pt idx="11">
                  <c:v>38.4456363636363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77</c:v>
                </c:pt>
                <c:pt idx="1">
                  <c:v>Av Price/Unit 98.34</c:v>
                </c:pt>
                <c:pt idx="2">
                  <c:v>Av Price/Unit 230.01</c:v>
                </c:pt>
                <c:pt idx="3">
                  <c:v>Av Price/Unit 35.48</c:v>
                </c:pt>
                <c:pt idx="4">
                  <c:v>Av Price/Unit 61.81</c:v>
                </c:pt>
                <c:pt idx="5">
                  <c:v>Av Price/Unit 39.20</c:v>
                </c:pt>
                <c:pt idx="6">
                  <c:v>Av Price/Unit 56.84</c:v>
                </c:pt>
                <c:pt idx="7">
                  <c:v>Av Price/Unit 38.84</c:v>
                </c:pt>
                <c:pt idx="8">
                  <c:v>Av Price/Unit 54.32</c:v>
                </c:pt>
                <c:pt idx="9">
                  <c:v>Av Price/Unit 47.07</c:v>
                </c:pt>
                <c:pt idx="10">
                  <c:v>Av Price/Unit 72.22</c:v>
                </c:pt>
                <c:pt idx="11">
                  <c:v>Av Price/Unit 84.58</c:v>
                </c:pt>
              </c:strCache>
            </c:strRef>
          </c:cat>
          <c:val>
            <c:numRef>
              <c:f>Sheet1!$D$2:$D$13</c:f>
              <c:numCache>
                <c:formatCode>General</c:formatCode>
                <c:ptCount val="12"/>
                <c:pt idx="0">
                  <c:v>0.3187241171404196</c:v>
                </c:pt>
                <c:pt idx="1">
                  <c:v>0.4819594470046127</c:v>
                </c:pt>
                <c:pt idx="2">
                  <c:v>7.344395783132541</c:v>
                </c:pt>
                <c:pt idx="3">
                  <c:v>0.25811291715744034</c:v>
                </c:pt>
                <c:pt idx="4">
                  <c:v>1.3194640211640234</c:v>
                </c:pt>
                <c:pt idx="5">
                  <c:v>3.156163466042152</c:v>
                </c:pt>
                <c:pt idx="6">
                  <c:v>0.6312783977110215</c:v>
                </c:pt>
                <c:pt idx="7">
                  <c:v>-0.8067136101499344</c:v>
                </c:pt>
                <c:pt idx="8">
                  <c:v>2.6641148401826626</c:v>
                </c:pt>
                <c:pt idx="9">
                  <c:v>0.9423128540305044</c:v>
                </c:pt>
                <c:pt idx="10">
                  <c:v>1.5637739316239418</c:v>
                </c:pt>
                <c:pt idx="11">
                  <c:v>4.11613434343435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77</c:v>
                </c:pt>
                <c:pt idx="1">
                  <c:v>Av Price/Unit 98.34</c:v>
                </c:pt>
                <c:pt idx="2">
                  <c:v>Av Price/Unit 230.01</c:v>
                </c:pt>
                <c:pt idx="3">
                  <c:v>Av Price/Unit 35.48</c:v>
                </c:pt>
                <c:pt idx="4">
                  <c:v>Av Price/Unit 61.81</c:v>
                </c:pt>
                <c:pt idx="5">
                  <c:v>Av Price/Unit 39.20</c:v>
                </c:pt>
                <c:pt idx="6">
                  <c:v>Av Price/Unit 56.84</c:v>
                </c:pt>
                <c:pt idx="7">
                  <c:v>Av Price/Unit 38.84</c:v>
                </c:pt>
                <c:pt idx="8">
                  <c:v>Av Price/Unit 54.32</c:v>
                </c:pt>
                <c:pt idx="9">
                  <c:v>Av Price/Unit 47.07</c:v>
                </c:pt>
                <c:pt idx="10">
                  <c:v>Av Price/Unit 72.22</c:v>
                </c:pt>
                <c:pt idx="11">
                  <c:v>Av Price/Unit 84.58</c:v>
                </c:pt>
              </c:strCache>
            </c:strRef>
          </c:cat>
          <c:val>
            <c:numRef>
              <c:f>Sheet1!$E$2:$E$13</c:f>
              <c:numCache>
                <c:formatCode>General</c:formatCode>
                <c:ptCount val="12"/>
                <c:pt idx="0">
                  <c:v>15.62769164513349</c:v>
                </c:pt>
                <c:pt idx="1">
                  <c:v>16.389400921658986</c:v>
                </c:pt>
                <c:pt idx="2">
                  <c:v>38.33433734939757</c:v>
                </c:pt>
                <c:pt idx="3">
                  <c:v>5.9126423243031</c:v>
                </c:pt>
                <c:pt idx="4">
                  <c:v>10.302248677248675</c:v>
                </c:pt>
                <c:pt idx="5">
                  <c:v>6.532786885245898</c:v>
                </c:pt>
                <c:pt idx="6">
                  <c:v>9.473533619456362</c:v>
                </c:pt>
                <c:pt idx="7">
                  <c:v>6.473471741637828</c:v>
                </c:pt>
                <c:pt idx="8">
                  <c:v>9.053652968036522</c:v>
                </c:pt>
                <c:pt idx="9">
                  <c:v>7.845315904139431</c:v>
                </c:pt>
                <c:pt idx="10">
                  <c:v>12.036324786324782</c:v>
                </c:pt>
                <c:pt idx="11">
                  <c:v>14.09595959595957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4.44</c:v>
                </c:pt>
                <c:pt idx="1">
                  <c:v>Av Price/Unit 99.59</c:v>
                </c:pt>
                <c:pt idx="2">
                  <c:v>Av Price/Unit 35.56</c:v>
                </c:pt>
                <c:pt idx="3">
                  <c:v>Av Price/Unit 61.69</c:v>
                </c:pt>
                <c:pt idx="4">
                  <c:v>Av Price/Unit 246.06</c:v>
                </c:pt>
                <c:pt idx="5">
                  <c:v>Av Price/Unit 39.25</c:v>
                </c:pt>
                <c:pt idx="6">
                  <c:v>Av Price/Unit 54.40</c:v>
                </c:pt>
                <c:pt idx="7">
                  <c:v>Av Price/Unit 37.32</c:v>
                </c:pt>
                <c:pt idx="8">
                  <c:v>Av Price/Unit 57.87</c:v>
                </c:pt>
                <c:pt idx="9">
                  <c:v>Av Price/Unit 47.74</c:v>
                </c:pt>
                <c:pt idx="10">
                  <c:v>Av Price/Unit 49.34</c:v>
                </c:pt>
                <c:pt idx="11">
                  <c:v>Av Price/Unit 80.34</c:v>
                </c:pt>
              </c:strCache>
            </c:strRef>
          </c:cat>
          <c:val>
            <c:numRef>
              <c:f>Sheet1!$B$2:$B$13</c:f>
              <c:numCache>
                <c:formatCode>General</c:formatCode>
                <c:ptCount val="12"/>
                <c:pt idx="0">
                  <c:v>30.33945193370166</c:v>
                </c:pt>
                <c:pt idx="1">
                  <c:v>31.906032608695654</c:v>
                </c:pt>
                <c:pt idx="2">
                  <c:v>12.55468238341969</c:v>
                </c:pt>
                <c:pt idx="3">
                  <c:v>21.259406511627905</c:v>
                </c:pt>
                <c:pt idx="4">
                  <c:v>75.33792978723405</c:v>
                </c:pt>
                <c:pt idx="5">
                  <c:v>13.331232</c:v>
                </c:pt>
                <c:pt idx="6">
                  <c:v>18.54419361702127</c:v>
                </c:pt>
                <c:pt idx="7">
                  <c:v>14.757649375</c:v>
                </c:pt>
                <c:pt idx="8">
                  <c:v>18.359007526881722</c:v>
                </c:pt>
                <c:pt idx="9">
                  <c:v>16.104899999999997</c:v>
                </c:pt>
                <c:pt idx="10">
                  <c:v>15.9514125</c:v>
                </c:pt>
                <c:pt idx="11">
                  <c:v>25.69699999999999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4.44</c:v>
                </c:pt>
                <c:pt idx="1">
                  <c:v>Av Price/Unit 99.59</c:v>
                </c:pt>
                <c:pt idx="2">
                  <c:v>Av Price/Unit 35.56</c:v>
                </c:pt>
                <c:pt idx="3">
                  <c:v>Av Price/Unit 61.69</c:v>
                </c:pt>
                <c:pt idx="4">
                  <c:v>Av Price/Unit 246.06</c:v>
                </c:pt>
                <c:pt idx="5">
                  <c:v>Av Price/Unit 39.25</c:v>
                </c:pt>
                <c:pt idx="6">
                  <c:v>Av Price/Unit 54.40</c:v>
                </c:pt>
                <c:pt idx="7">
                  <c:v>Av Price/Unit 37.32</c:v>
                </c:pt>
                <c:pt idx="8">
                  <c:v>Av Price/Unit 57.87</c:v>
                </c:pt>
                <c:pt idx="9">
                  <c:v>Av Price/Unit 47.74</c:v>
                </c:pt>
                <c:pt idx="10">
                  <c:v>Av Price/Unit 49.34</c:v>
                </c:pt>
                <c:pt idx="11">
                  <c:v>Av Price/Unit 80.34</c:v>
                </c:pt>
              </c:strCache>
            </c:strRef>
          </c:cat>
          <c:val>
            <c:numRef>
              <c:f>Sheet1!$C$2:$C$13</c:f>
              <c:numCache>
                <c:formatCode>General</c:formatCode>
                <c:ptCount val="12"/>
                <c:pt idx="0">
                  <c:v>47.65199723756906</c:v>
                </c:pt>
                <c:pt idx="1">
                  <c:v>49.67607971014493</c:v>
                </c:pt>
                <c:pt idx="2">
                  <c:v>16.756977720207253</c:v>
                </c:pt>
                <c:pt idx="3">
                  <c:v>28.542902325581395</c:v>
                </c:pt>
                <c:pt idx="4">
                  <c:v>109.928</c:v>
                </c:pt>
                <c:pt idx="5">
                  <c:v>16.205999999999996</c:v>
                </c:pt>
                <c:pt idx="6">
                  <c:v>24.67535815602837</c:v>
                </c:pt>
                <c:pt idx="7">
                  <c:v>18.305856249999998</c:v>
                </c:pt>
                <c:pt idx="8">
                  <c:v>28.330043010752682</c:v>
                </c:pt>
                <c:pt idx="9">
                  <c:v>22.148299999999995</c:v>
                </c:pt>
                <c:pt idx="10">
                  <c:v>22.2228225</c:v>
                </c:pt>
                <c:pt idx="11">
                  <c:v>38.05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4.44</c:v>
                </c:pt>
                <c:pt idx="1">
                  <c:v>Av Price/Unit 99.59</c:v>
                </c:pt>
                <c:pt idx="2">
                  <c:v>Av Price/Unit 35.56</c:v>
                </c:pt>
                <c:pt idx="3">
                  <c:v>Av Price/Unit 61.69</c:v>
                </c:pt>
                <c:pt idx="4">
                  <c:v>Av Price/Unit 246.06</c:v>
                </c:pt>
                <c:pt idx="5">
                  <c:v>Av Price/Unit 39.25</c:v>
                </c:pt>
                <c:pt idx="6">
                  <c:v>Av Price/Unit 54.40</c:v>
                </c:pt>
                <c:pt idx="7">
                  <c:v>Av Price/Unit 37.32</c:v>
                </c:pt>
                <c:pt idx="8">
                  <c:v>Av Price/Unit 57.87</c:v>
                </c:pt>
                <c:pt idx="9">
                  <c:v>Av Price/Unit 47.74</c:v>
                </c:pt>
                <c:pt idx="10">
                  <c:v>Av Price/Unit 49.34</c:v>
                </c:pt>
                <c:pt idx="11">
                  <c:v>Av Price/Unit 80.34</c:v>
                </c:pt>
              </c:strCache>
            </c:strRef>
          </c:cat>
          <c:val>
            <c:numRef>
              <c:f>Sheet1!$D$2:$D$13</c:f>
              <c:numCache>
                <c:formatCode>General</c:formatCode>
                <c:ptCount val="12"/>
                <c:pt idx="0">
                  <c:v>0.7125103130755122</c:v>
                </c:pt>
                <c:pt idx="1">
                  <c:v>1.4070181159420372</c:v>
                </c:pt>
                <c:pt idx="2">
                  <c:v>0.3234867012089815</c:v>
                </c:pt>
                <c:pt idx="3">
                  <c:v>1.6046679069767507</c:v>
                </c:pt>
                <c:pt idx="4">
                  <c:v>19.787261702127694</c:v>
                </c:pt>
                <c:pt idx="5">
                  <c:v>3.1701754074074167</c:v>
                </c:pt>
                <c:pt idx="6">
                  <c:v>2.111417494089835</c:v>
                </c:pt>
                <c:pt idx="7">
                  <c:v>-1.964547291666669</c:v>
                </c:pt>
                <c:pt idx="8">
                  <c:v>1.5367559139784959</c:v>
                </c:pt>
                <c:pt idx="9">
                  <c:v>1.5262117647058844</c:v>
                </c:pt>
                <c:pt idx="10">
                  <c:v>2.9403483333333256</c:v>
                </c:pt>
                <c:pt idx="11">
                  <c:v>2.222222222222228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4.44</c:v>
                </c:pt>
                <c:pt idx="1">
                  <c:v>Av Price/Unit 99.59</c:v>
                </c:pt>
                <c:pt idx="2">
                  <c:v>Av Price/Unit 35.56</c:v>
                </c:pt>
                <c:pt idx="3">
                  <c:v>Av Price/Unit 61.69</c:v>
                </c:pt>
                <c:pt idx="4">
                  <c:v>Av Price/Unit 246.06</c:v>
                </c:pt>
                <c:pt idx="5">
                  <c:v>Av Price/Unit 39.25</c:v>
                </c:pt>
                <c:pt idx="6">
                  <c:v>Av Price/Unit 54.40</c:v>
                </c:pt>
                <c:pt idx="7">
                  <c:v>Av Price/Unit 37.32</c:v>
                </c:pt>
                <c:pt idx="8">
                  <c:v>Av Price/Unit 57.87</c:v>
                </c:pt>
                <c:pt idx="9">
                  <c:v>Av Price/Unit 47.74</c:v>
                </c:pt>
                <c:pt idx="10">
                  <c:v>Av Price/Unit 49.34</c:v>
                </c:pt>
                <c:pt idx="11">
                  <c:v>Av Price/Unit 80.34</c:v>
                </c:pt>
              </c:strCache>
            </c:strRef>
          </c:cat>
          <c:val>
            <c:numRef>
              <c:f>Sheet1!$E$2:$E$13</c:f>
              <c:numCache>
                <c:formatCode>General</c:formatCode>
                <c:ptCount val="12"/>
                <c:pt idx="0">
                  <c:v>15.740791896869249</c:v>
                </c:pt>
                <c:pt idx="1">
                  <c:v>16.59782608695651</c:v>
                </c:pt>
                <c:pt idx="2">
                  <c:v>5.927029360967186</c:v>
                </c:pt>
                <c:pt idx="3">
                  <c:v>10.2813953488372</c:v>
                </c:pt>
                <c:pt idx="4">
                  <c:v>41.010638297872305</c:v>
                </c:pt>
                <c:pt idx="5">
                  <c:v>6.541481481481476</c:v>
                </c:pt>
                <c:pt idx="6">
                  <c:v>9.066193853427901</c:v>
                </c:pt>
                <c:pt idx="7">
                  <c:v>6.219791666666663</c:v>
                </c:pt>
                <c:pt idx="8">
                  <c:v>9.64516129032258</c:v>
                </c:pt>
                <c:pt idx="9">
                  <c:v>7.955882352941172</c:v>
                </c:pt>
                <c:pt idx="10">
                  <c:v>8.222916666666668</c:v>
                </c:pt>
                <c:pt idx="11">
                  <c:v>13.19444444444444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97.81</c:v>
                </c:pt>
                <c:pt idx="2">
                  <c:v>Av Price/Unit 223.06</c:v>
                </c:pt>
                <c:pt idx="3">
                  <c:v>Av Price/Unit 56.23</c:v>
                </c:pt>
                <c:pt idx="4">
                  <c:v>Av Price/Unit 35.27</c:v>
                </c:pt>
                <c:pt idx="5">
                  <c:v>Av Price/Unit 38.53</c:v>
                </c:pt>
                <c:pt idx="6">
                  <c:v>Av Price/Unit 60.68</c:v>
                </c:pt>
                <c:pt idx="7">
                  <c:v>Av Price/Unit 79.46</c:v>
                </c:pt>
                <c:pt idx="8">
                  <c:v>Av Price/Unit 52.40</c:v>
                </c:pt>
                <c:pt idx="9">
                  <c:v>Av Price/Unit 279.93</c:v>
                </c:pt>
                <c:pt idx="10">
                  <c:v>Av Price/Unit 30.28</c:v>
                </c:pt>
                <c:pt idx="11">
                  <c:v>Av Price/Unit 38.00</c:v>
                </c:pt>
              </c:strCache>
            </c:strRef>
          </c:cat>
          <c:val>
            <c:numRef>
              <c:f>Sheet1!$B$2:$B$13</c:f>
              <c:numCache>
                <c:formatCode>General</c:formatCode>
                <c:ptCount val="12"/>
                <c:pt idx="0">
                  <c:v>30.04706682464455</c:v>
                </c:pt>
                <c:pt idx="1">
                  <c:v>31.671562401402277</c:v>
                </c:pt>
                <c:pt idx="2">
                  <c:v>74.54682301886793</c:v>
                </c:pt>
                <c:pt idx="3">
                  <c:v>18.47401189970251</c:v>
                </c:pt>
                <c:pt idx="4">
                  <c:v>12.506147910357361</c:v>
                </c:pt>
                <c:pt idx="5">
                  <c:v>13.300317242607766</c:v>
                </c:pt>
                <c:pt idx="6">
                  <c:v>21.404045792079206</c:v>
                </c:pt>
                <c:pt idx="7">
                  <c:v>27.59840038022814</c:v>
                </c:pt>
                <c:pt idx="8">
                  <c:v>18.160554925373134</c:v>
                </c:pt>
                <c:pt idx="9">
                  <c:v>104.47999875776394</c:v>
                </c:pt>
                <c:pt idx="10">
                  <c:v>8.79157931570762</c:v>
                </c:pt>
                <c:pt idx="11">
                  <c:v>14.810095560253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97.81</c:v>
                </c:pt>
                <c:pt idx="2">
                  <c:v>Av Price/Unit 223.06</c:v>
                </c:pt>
                <c:pt idx="3">
                  <c:v>Av Price/Unit 56.23</c:v>
                </c:pt>
                <c:pt idx="4">
                  <c:v>Av Price/Unit 35.27</c:v>
                </c:pt>
                <c:pt idx="5">
                  <c:v>Av Price/Unit 38.53</c:v>
                </c:pt>
                <c:pt idx="6">
                  <c:v>Av Price/Unit 60.68</c:v>
                </c:pt>
                <c:pt idx="7">
                  <c:v>Av Price/Unit 79.46</c:v>
                </c:pt>
                <c:pt idx="8">
                  <c:v>Av Price/Unit 52.40</c:v>
                </c:pt>
                <c:pt idx="9">
                  <c:v>Av Price/Unit 279.93</c:v>
                </c:pt>
                <c:pt idx="10">
                  <c:v>Av Price/Unit 30.28</c:v>
                </c:pt>
                <c:pt idx="11">
                  <c:v>Av Price/Unit 38.00</c:v>
                </c:pt>
              </c:strCache>
            </c:strRef>
          </c:cat>
          <c:val>
            <c:numRef>
              <c:f>Sheet1!$C$2:$C$13</c:f>
              <c:numCache>
                <c:formatCode>General</c:formatCode>
                <c:ptCount val="12"/>
                <c:pt idx="0">
                  <c:v>47.795388711762165</c:v>
                </c:pt>
                <c:pt idx="1">
                  <c:v>49.77489482909728</c:v>
                </c:pt>
                <c:pt idx="2">
                  <c:v>109.92799999999997</c:v>
                </c:pt>
                <c:pt idx="3">
                  <c:v>28.278872078198038</c:v>
                </c:pt>
                <c:pt idx="4">
                  <c:v>16.77295208964264</c:v>
                </c:pt>
                <c:pt idx="5">
                  <c:v>16.206</c:v>
                </c:pt>
                <c:pt idx="6">
                  <c:v>28.610718646864687</c:v>
                </c:pt>
                <c:pt idx="7">
                  <c:v>38.45147275031685</c:v>
                </c:pt>
                <c:pt idx="8">
                  <c:v>24.52641094527363</c:v>
                </c:pt>
                <c:pt idx="9">
                  <c:v>127.66627950310561</c:v>
                </c:pt>
                <c:pt idx="10">
                  <c:v>18.924727838258164</c:v>
                </c:pt>
                <c:pt idx="11">
                  <c:v>18.31799133192389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97.81</c:v>
                </c:pt>
                <c:pt idx="2">
                  <c:v>Av Price/Unit 223.06</c:v>
                </c:pt>
                <c:pt idx="3">
                  <c:v>Av Price/Unit 56.23</c:v>
                </c:pt>
                <c:pt idx="4">
                  <c:v>Av Price/Unit 35.27</c:v>
                </c:pt>
                <c:pt idx="5">
                  <c:v>Av Price/Unit 38.53</c:v>
                </c:pt>
                <c:pt idx="6">
                  <c:v>Av Price/Unit 60.68</c:v>
                </c:pt>
                <c:pt idx="7">
                  <c:v>Av Price/Unit 79.46</c:v>
                </c:pt>
                <c:pt idx="8">
                  <c:v>Av Price/Unit 52.40</c:v>
                </c:pt>
                <c:pt idx="9">
                  <c:v>Av Price/Unit 279.93</c:v>
                </c:pt>
                <c:pt idx="10">
                  <c:v>Av Price/Unit 30.28</c:v>
                </c:pt>
                <c:pt idx="11">
                  <c:v>Av Price/Unit 38.00</c:v>
                </c:pt>
              </c:strCache>
            </c:strRef>
          </c:cat>
          <c:val>
            <c:numRef>
              <c:f>Sheet1!$D$2:$D$13</c:f>
              <c:numCache>
                <c:formatCode>General</c:formatCode>
                <c:ptCount val="12"/>
                <c:pt idx="0">
                  <c:v>-0.09335313801518907</c:v>
                </c:pt>
                <c:pt idx="1">
                  <c:v>0.060992375109535146</c:v>
                </c:pt>
                <c:pt idx="2">
                  <c:v>1.4119694339622413</c:v>
                </c:pt>
                <c:pt idx="3">
                  <c:v>0.10750701232469595</c:v>
                </c:pt>
                <c:pt idx="4">
                  <c:v>0.1152064809206621</c:v>
                </c:pt>
                <c:pt idx="5">
                  <c:v>2.6029928155800874</c:v>
                </c:pt>
                <c:pt idx="6">
                  <c:v>0.5490419416941705</c:v>
                </c:pt>
                <c:pt idx="7">
                  <c:v>0.16474452893959324</c:v>
                </c:pt>
                <c:pt idx="8">
                  <c:v>0.978042421227201</c:v>
                </c:pt>
                <c:pt idx="9">
                  <c:v>1.124943271221582</c:v>
                </c:pt>
                <c:pt idx="10">
                  <c:v>-2.482377656817004</c:v>
                </c:pt>
                <c:pt idx="11">
                  <c:v>-1.45965842142353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30</c:v>
                </c:pt>
                <c:pt idx="1">
                  <c:v>Av Price/Unit 97.81</c:v>
                </c:pt>
                <c:pt idx="2">
                  <c:v>Av Price/Unit 223.06</c:v>
                </c:pt>
                <c:pt idx="3">
                  <c:v>Av Price/Unit 56.23</c:v>
                </c:pt>
                <c:pt idx="4">
                  <c:v>Av Price/Unit 35.27</c:v>
                </c:pt>
                <c:pt idx="5">
                  <c:v>Av Price/Unit 38.53</c:v>
                </c:pt>
                <c:pt idx="6">
                  <c:v>Av Price/Unit 60.68</c:v>
                </c:pt>
                <c:pt idx="7">
                  <c:v>Av Price/Unit 79.46</c:v>
                </c:pt>
                <c:pt idx="8">
                  <c:v>Av Price/Unit 52.40</c:v>
                </c:pt>
                <c:pt idx="9">
                  <c:v>Av Price/Unit 279.93</c:v>
                </c:pt>
                <c:pt idx="10">
                  <c:v>Av Price/Unit 30.28</c:v>
                </c:pt>
                <c:pt idx="11">
                  <c:v>Av Price/Unit 38.00</c:v>
                </c:pt>
              </c:strCache>
            </c:strRef>
          </c:cat>
          <c:val>
            <c:numRef>
              <c:f>Sheet1!$E$2:$E$13</c:f>
              <c:numCache>
                <c:formatCode>General</c:formatCode>
                <c:ptCount val="12"/>
                <c:pt idx="0">
                  <c:v>15.549820479678287</c:v>
                </c:pt>
                <c:pt idx="1">
                  <c:v>16.301489921121835</c:v>
                </c:pt>
                <c:pt idx="2">
                  <c:v>37.177358490566036</c:v>
                </c:pt>
                <c:pt idx="3">
                  <c:v>9.372078198045042</c:v>
                </c:pt>
                <c:pt idx="4">
                  <c:v>5.878861296184122</c:v>
                </c:pt>
                <c:pt idx="5">
                  <c:v>6.421862011637574</c:v>
                </c:pt>
                <c:pt idx="6">
                  <c:v>10.112761276127605</c:v>
                </c:pt>
                <c:pt idx="7">
                  <c:v>13.242923531896913</c:v>
                </c:pt>
                <c:pt idx="8">
                  <c:v>8.733001658374791</c:v>
                </c:pt>
                <c:pt idx="9">
                  <c:v>46.65424430641819</c:v>
                </c:pt>
                <c:pt idx="10">
                  <c:v>5.0467858994297545</c:v>
                </c:pt>
                <c:pt idx="11">
                  <c:v>6.33368569415080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3</c:v>
                </c:pt>
                <c:pt idx="1">
                  <c:v>Av Price/Unit 97.96</c:v>
                </c:pt>
                <c:pt idx="2">
                  <c:v>Av Price/Unit 35.12</c:v>
                </c:pt>
                <c:pt idx="3">
                  <c:v>Av Price/Unit 224.26</c:v>
                </c:pt>
                <c:pt idx="4">
                  <c:v>Av Price/Unit 38.61</c:v>
                </c:pt>
                <c:pt idx="5">
                  <c:v>Av Price/Unit 60.50</c:v>
                </c:pt>
                <c:pt idx="6">
                  <c:v>Av Price/Unit 37.39</c:v>
                </c:pt>
                <c:pt idx="7">
                  <c:v>Av Price/Unit 46.56</c:v>
                </c:pt>
                <c:pt idx="8">
                  <c:v>Av Price/Unit 56.75</c:v>
                </c:pt>
                <c:pt idx="9">
                  <c:v>Av Price/Unit 52.57</c:v>
                </c:pt>
                <c:pt idx="10">
                  <c:v>Av Price/Unit 70.69</c:v>
                </c:pt>
                <c:pt idx="11">
                  <c:v>Av Price/Unit 46.94</c:v>
                </c:pt>
              </c:strCache>
            </c:strRef>
          </c:cat>
          <c:val>
            <c:numRef>
              <c:f>Sheet1!$B$2:$B$13</c:f>
              <c:numCache>
                <c:formatCode>General</c:formatCode>
                <c:ptCount val="12"/>
                <c:pt idx="0">
                  <c:v>30.10003575906242</c:v>
                </c:pt>
                <c:pt idx="1">
                  <c:v>31.688268710359413</c:v>
                </c:pt>
                <c:pt idx="2">
                  <c:v>12.49395433937824</c:v>
                </c:pt>
                <c:pt idx="3">
                  <c:v>74.53050576036865</c:v>
                </c:pt>
                <c:pt idx="4">
                  <c:v>13.306992886645252</c:v>
                </c:pt>
                <c:pt idx="5">
                  <c:v>21.346459585492227</c:v>
                </c:pt>
                <c:pt idx="6">
                  <c:v>14.773290499510283</c:v>
                </c:pt>
                <c:pt idx="7">
                  <c:v>16.10841269035533</c:v>
                </c:pt>
                <c:pt idx="8">
                  <c:v>18.47915082236842</c:v>
                </c:pt>
                <c:pt idx="9">
                  <c:v>18.053214018691584</c:v>
                </c:pt>
                <c:pt idx="10">
                  <c:v>26.016085333333333</c:v>
                </c:pt>
                <c:pt idx="11">
                  <c:v>15.95964545454545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3</c:v>
                </c:pt>
                <c:pt idx="1">
                  <c:v>Av Price/Unit 97.96</c:v>
                </c:pt>
                <c:pt idx="2">
                  <c:v>Av Price/Unit 35.12</c:v>
                </c:pt>
                <c:pt idx="3">
                  <c:v>Av Price/Unit 224.26</c:v>
                </c:pt>
                <c:pt idx="4">
                  <c:v>Av Price/Unit 38.61</c:v>
                </c:pt>
                <c:pt idx="5">
                  <c:v>Av Price/Unit 60.50</c:v>
                </c:pt>
                <c:pt idx="6">
                  <c:v>Av Price/Unit 37.39</c:v>
                </c:pt>
                <c:pt idx="7">
                  <c:v>Av Price/Unit 46.56</c:v>
                </c:pt>
                <c:pt idx="8">
                  <c:v>Av Price/Unit 56.75</c:v>
                </c:pt>
                <c:pt idx="9">
                  <c:v>Av Price/Unit 52.57</c:v>
                </c:pt>
                <c:pt idx="10">
                  <c:v>Av Price/Unit 70.69</c:v>
                </c:pt>
                <c:pt idx="11">
                  <c:v>Av Price/Unit 46.94</c:v>
                </c:pt>
              </c:strCache>
            </c:strRef>
          </c:cat>
          <c:val>
            <c:numRef>
              <c:f>Sheet1!$C$2:$C$13</c:f>
              <c:numCache>
                <c:formatCode>General</c:formatCode>
                <c:ptCount val="12"/>
                <c:pt idx="0">
                  <c:v>47.76941169255928</c:v>
                </c:pt>
                <c:pt idx="1">
                  <c:v>49.76785412262156</c:v>
                </c:pt>
                <c:pt idx="2">
                  <c:v>16.77696541450777</c:v>
                </c:pt>
                <c:pt idx="3">
                  <c:v>109.92799999999998</c:v>
                </c:pt>
                <c:pt idx="4">
                  <c:v>16.206</c:v>
                </c:pt>
                <c:pt idx="5">
                  <c:v>28.583718480138174</c:v>
                </c:pt>
                <c:pt idx="6">
                  <c:v>18.30947531831538</c:v>
                </c:pt>
                <c:pt idx="7">
                  <c:v>22.149518274111674</c:v>
                </c:pt>
                <c:pt idx="8">
                  <c:v>28.276585526315785</c:v>
                </c:pt>
                <c:pt idx="9">
                  <c:v>24.48473598130841</c:v>
                </c:pt>
                <c:pt idx="10">
                  <c:v>32.14180826666667</c:v>
                </c:pt>
                <c:pt idx="11">
                  <c:v>22.2125509090909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3</c:v>
                </c:pt>
                <c:pt idx="1">
                  <c:v>Av Price/Unit 97.96</c:v>
                </c:pt>
                <c:pt idx="2">
                  <c:v>Av Price/Unit 35.12</c:v>
                </c:pt>
                <c:pt idx="3">
                  <c:v>Av Price/Unit 224.26</c:v>
                </c:pt>
                <c:pt idx="4">
                  <c:v>Av Price/Unit 38.61</c:v>
                </c:pt>
                <c:pt idx="5">
                  <c:v>Av Price/Unit 60.50</c:v>
                </c:pt>
                <c:pt idx="6">
                  <c:v>Av Price/Unit 37.39</c:v>
                </c:pt>
                <c:pt idx="7">
                  <c:v>Av Price/Unit 46.56</c:v>
                </c:pt>
                <c:pt idx="8">
                  <c:v>Av Price/Unit 56.75</c:v>
                </c:pt>
                <c:pt idx="9">
                  <c:v>Av Price/Unit 52.57</c:v>
                </c:pt>
                <c:pt idx="10">
                  <c:v>Av Price/Unit 70.69</c:v>
                </c:pt>
                <c:pt idx="11">
                  <c:v>Av Price/Unit 46.94</c:v>
                </c:pt>
              </c:strCache>
            </c:strRef>
          </c:cat>
          <c:val>
            <c:numRef>
              <c:f>Sheet1!$D$2:$D$13</c:f>
              <c:numCache>
                <c:formatCode>General</c:formatCode>
                <c:ptCount val="12"/>
                <c:pt idx="0">
                  <c:v>-0.009335704551645563</c:v>
                </c:pt>
                <c:pt idx="1">
                  <c:v>0.17472048390887096</c:v>
                </c:pt>
                <c:pt idx="2">
                  <c:v>-0.007372689982720004</c:v>
                </c:pt>
                <c:pt idx="3">
                  <c:v>2.4251347926267215</c:v>
                </c:pt>
                <c:pt idx="4">
                  <c:v>2.658110065779404</c:v>
                </c:pt>
                <c:pt idx="5">
                  <c:v>0.4857689694876228</c:v>
                </c:pt>
                <c:pt idx="6">
                  <c:v>-1.9213227881162283</c:v>
                </c:pt>
                <c:pt idx="7">
                  <c:v>0.5449455160744492</c:v>
                </c:pt>
                <c:pt idx="8">
                  <c:v>0.5373009320175441</c:v>
                </c:pt>
                <c:pt idx="9">
                  <c:v>1.2691631879542982</c:v>
                </c:pt>
                <c:pt idx="10">
                  <c:v>0.748829333333326</c:v>
                </c:pt>
                <c:pt idx="11">
                  <c:v>0.944470303030300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43</c:v>
                </c:pt>
                <c:pt idx="1">
                  <c:v>Av Price/Unit 97.96</c:v>
                </c:pt>
                <c:pt idx="2">
                  <c:v>Av Price/Unit 35.12</c:v>
                </c:pt>
                <c:pt idx="3">
                  <c:v>Av Price/Unit 224.26</c:v>
                </c:pt>
                <c:pt idx="4">
                  <c:v>Av Price/Unit 38.61</c:v>
                </c:pt>
                <c:pt idx="5">
                  <c:v>Av Price/Unit 60.50</c:v>
                </c:pt>
                <c:pt idx="6">
                  <c:v>Av Price/Unit 37.39</c:v>
                </c:pt>
                <c:pt idx="7">
                  <c:v>Av Price/Unit 46.56</c:v>
                </c:pt>
                <c:pt idx="8">
                  <c:v>Av Price/Unit 56.75</c:v>
                </c:pt>
                <c:pt idx="9">
                  <c:v>Av Price/Unit 52.57</c:v>
                </c:pt>
                <c:pt idx="10">
                  <c:v>Av Price/Unit 70.69</c:v>
                </c:pt>
                <c:pt idx="11">
                  <c:v>Av Price/Unit 46.94</c:v>
                </c:pt>
              </c:strCache>
            </c:strRef>
          </c:cat>
          <c:val>
            <c:numRef>
              <c:f>Sheet1!$E$2:$E$13</c:f>
              <c:numCache>
                <c:formatCode>General</c:formatCode>
                <c:ptCount val="12"/>
                <c:pt idx="0">
                  <c:v>15.57202234941401</c:v>
                </c:pt>
                <c:pt idx="1">
                  <c:v>16.326168663377953</c:v>
                </c:pt>
                <c:pt idx="2">
                  <c:v>5.852709412780653</c:v>
                </c:pt>
                <c:pt idx="3">
                  <c:v>37.37672811059908</c:v>
                </c:pt>
                <c:pt idx="4">
                  <c:v>6.4342205904849346</c:v>
                </c:pt>
                <c:pt idx="5">
                  <c:v>10.0831894070236</c:v>
                </c:pt>
                <c:pt idx="6">
                  <c:v>6.232288605941885</c:v>
                </c:pt>
                <c:pt idx="7">
                  <c:v>7.760575296108289</c:v>
                </c:pt>
                <c:pt idx="8">
                  <c:v>9.458607456140342</c:v>
                </c:pt>
                <c:pt idx="9">
                  <c:v>8.761422637590865</c:v>
                </c:pt>
                <c:pt idx="10">
                  <c:v>11.781333333333333</c:v>
                </c:pt>
                <c:pt idx="11">
                  <c:v>7.82333333333333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1</c:v>
                </c:pt>
                <c:pt idx="1">
                  <c:v>Av Price/Unit 97.94</c:v>
                </c:pt>
                <c:pt idx="2">
                  <c:v>Av Price/Unit 35.32</c:v>
                </c:pt>
                <c:pt idx="3">
                  <c:v>Av Price/Unit 38.72</c:v>
                </c:pt>
                <c:pt idx="4">
                  <c:v>Av Price/Unit 226.07</c:v>
                </c:pt>
                <c:pt idx="5">
                  <c:v>Av Price/Unit 61.01</c:v>
                </c:pt>
                <c:pt idx="6">
                  <c:v>Av Price/Unit 37.98</c:v>
                </c:pt>
                <c:pt idx="7">
                  <c:v>Av Price/Unit 46.77</c:v>
                </c:pt>
                <c:pt idx="8">
                  <c:v>Av Price/Unit 52.65</c:v>
                </c:pt>
                <c:pt idx="9">
                  <c:v>Av Price/Unit 71.38</c:v>
                </c:pt>
                <c:pt idx="10">
                  <c:v>Av Price/Unit 57.17</c:v>
                </c:pt>
                <c:pt idx="11">
                  <c:v>Av Price/Unit 47.42</c:v>
                </c:pt>
              </c:strCache>
            </c:strRef>
          </c:cat>
          <c:val>
            <c:numRef>
              <c:f>Sheet1!$B$2:$B$13</c:f>
              <c:numCache>
                <c:formatCode>General</c:formatCode>
                <c:ptCount val="12"/>
                <c:pt idx="0">
                  <c:v>30.08645516908213</c:v>
                </c:pt>
                <c:pt idx="1">
                  <c:v>31.658633909287254</c:v>
                </c:pt>
                <c:pt idx="2">
                  <c:v>12.521248262871495</c:v>
                </c:pt>
                <c:pt idx="3">
                  <c:v>13.334985188916876</c:v>
                </c:pt>
                <c:pt idx="4">
                  <c:v>74.40371757188498</c:v>
                </c:pt>
                <c:pt idx="5">
                  <c:v>21.291602068965517</c:v>
                </c:pt>
                <c:pt idx="6">
                  <c:v>14.865100158478604</c:v>
                </c:pt>
                <c:pt idx="7">
                  <c:v>16.11249512195122</c:v>
                </c:pt>
                <c:pt idx="8">
                  <c:v>18.14238292682927</c:v>
                </c:pt>
                <c:pt idx="9">
                  <c:v>25.988640687679087</c:v>
                </c:pt>
                <c:pt idx="10">
                  <c:v>18.340471220930233</c:v>
                </c:pt>
                <c:pt idx="11">
                  <c:v>15.96179905362776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1</c:v>
                </c:pt>
                <c:pt idx="1">
                  <c:v>Av Price/Unit 97.94</c:v>
                </c:pt>
                <c:pt idx="2">
                  <c:v>Av Price/Unit 35.32</c:v>
                </c:pt>
                <c:pt idx="3">
                  <c:v>Av Price/Unit 38.72</c:v>
                </c:pt>
                <c:pt idx="4">
                  <c:v>Av Price/Unit 226.07</c:v>
                </c:pt>
                <c:pt idx="5">
                  <c:v>Av Price/Unit 61.01</c:v>
                </c:pt>
                <c:pt idx="6">
                  <c:v>Av Price/Unit 37.98</c:v>
                </c:pt>
                <c:pt idx="7">
                  <c:v>Av Price/Unit 46.77</c:v>
                </c:pt>
                <c:pt idx="8">
                  <c:v>Av Price/Unit 52.65</c:v>
                </c:pt>
                <c:pt idx="9">
                  <c:v>Av Price/Unit 71.38</c:v>
                </c:pt>
                <c:pt idx="10">
                  <c:v>Av Price/Unit 57.17</c:v>
                </c:pt>
                <c:pt idx="11">
                  <c:v>Av Price/Unit 47.42</c:v>
                </c:pt>
              </c:strCache>
            </c:strRef>
          </c:cat>
          <c:val>
            <c:numRef>
              <c:f>Sheet1!$C$2:$C$13</c:f>
              <c:numCache>
                <c:formatCode>General</c:formatCode>
                <c:ptCount val="12"/>
                <c:pt idx="0">
                  <c:v>47.77607188405798</c:v>
                </c:pt>
                <c:pt idx="1">
                  <c:v>49.780343412527</c:v>
                </c:pt>
                <c:pt idx="2">
                  <c:v>16.76798204269569</c:v>
                </c:pt>
                <c:pt idx="3">
                  <c:v>16.206</c:v>
                </c:pt>
                <c:pt idx="4">
                  <c:v>109.928</c:v>
                </c:pt>
                <c:pt idx="5">
                  <c:v>28.557997701149425</c:v>
                </c:pt>
                <c:pt idx="6">
                  <c:v>18.330718383518224</c:v>
                </c:pt>
                <c:pt idx="7">
                  <c:v>22.150934146341463</c:v>
                </c:pt>
                <c:pt idx="8">
                  <c:v>24.51935569105691</c:v>
                </c:pt>
                <c:pt idx="9">
                  <c:v>32.11145759312321</c:v>
                </c:pt>
                <c:pt idx="10">
                  <c:v>28.338290697674417</c:v>
                </c:pt>
                <c:pt idx="11">
                  <c:v>22.20986403785489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1</c:v>
                </c:pt>
                <c:pt idx="1">
                  <c:v>Av Price/Unit 97.94</c:v>
                </c:pt>
                <c:pt idx="2">
                  <c:v>Av Price/Unit 35.32</c:v>
                </c:pt>
                <c:pt idx="3">
                  <c:v>Av Price/Unit 38.72</c:v>
                </c:pt>
                <c:pt idx="4">
                  <c:v>Av Price/Unit 226.07</c:v>
                </c:pt>
                <c:pt idx="5">
                  <c:v>Av Price/Unit 61.01</c:v>
                </c:pt>
                <c:pt idx="6">
                  <c:v>Av Price/Unit 37.98</c:v>
                </c:pt>
                <c:pt idx="7">
                  <c:v>Av Price/Unit 46.77</c:v>
                </c:pt>
                <c:pt idx="8">
                  <c:v>Av Price/Unit 52.65</c:v>
                </c:pt>
                <c:pt idx="9">
                  <c:v>Av Price/Unit 71.38</c:v>
                </c:pt>
                <c:pt idx="10">
                  <c:v>Av Price/Unit 57.17</c:v>
                </c:pt>
                <c:pt idx="11">
                  <c:v>Av Price/Unit 47.42</c:v>
                </c:pt>
              </c:strCache>
            </c:strRef>
          </c:cat>
          <c:val>
            <c:numRef>
              <c:f>Sheet1!$D$2:$D$13</c:f>
              <c:numCache>
                <c:formatCode>General</c:formatCode>
                <c:ptCount val="12"/>
                <c:pt idx="0">
                  <c:v>0.05921207729468847</c:v>
                </c:pt>
                <c:pt idx="1">
                  <c:v>0.17459359251259343</c:v>
                </c:pt>
                <c:pt idx="2">
                  <c:v>0.14777262452908957</c:v>
                </c:pt>
                <c:pt idx="3">
                  <c:v>2.72517769941226</c:v>
                </c:pt>
                <c:pt idx="4">
                  <c:v>4.060188711395085</c:v>
                </c:pt>
                <c:pt idx="5">
                  <c:v>0.996185670498086</c:v>
                </c:pt>
                <c:pt idx="6">
                  <c:v>-1.5430187533016344</c:v>
                </c:pt>
                <c:pt idx="7">
                  <c:v>0.7152292682926884</c:v>
                </c:pt>
                <c:pt idx="8">
                  <c:v>1.2119063685636817</c:v>
                </c:pt>
                <c:pt idx="9">
                  <c:v>1.3818087870105131</c:v>
                </c:pt>
                <c:pt idx="10">
                  <c:v>0.966586918604655</c:v>
                </c:pt>
                <c:pt idx="11">
                  <c:v>1.347264353312304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51</c:v>
                </c:pt>
                <c:pt idx="1">
                  <c:v>Av Price/Unit 97.94</c:v>
                </c:pt>
                <c:pt idx="2">
                  <c:v>Av Price/Unit 35.32</c:v>
                </c:pt>
                <c:pt idx="3">
                  <c:v>Av Price/Unit 38.72</c:v>
                </c:pt>
                <c:pt idx="4">
                  <c:v>Av Price/Unit 226.07</c:v>
                </c:pt>
                <c:pt idx="5">
                  <c:v>Av Price/Unit 61.01</c:v>
                </c:pt>
                <c:pt idx="6">
                  <c:v>Av Price/Unit 37.98</c:v>
                </c:pt>
                <c:pt idx="7">
                  <c:v>Av Price/Unit 46.77</c:v>
                </c:pt>
                <c:pt idx="8">
                  <c:v>Av Price/Unit 52.65</c:v>
                </c:pt>
                <c:pt idx="9">
                  <c:v>Av Price/Unit 71.38</c:v>
                </c:pt>
                <c:pt idx="10">
                  <c:v>Av Price/Unit 57.17</c:v>
                </c:pt>
                <c:pt idx="11">
                  <c:v>Av Price/Unit 47.42</c:v>
                </c:pt>
              </c:strCache>
            </c:strRef>
          </c:cat>
          <c:val>
            <c:numRef>
              <c:f>Sheet1!$E$2:$E$13</c:f>
              <c:numCache>
                <c:formatCode>General</c:formatCode>
                <c:ptCount val="12"/>
                <c:pt idx="0">
                  <c:v>15.584347826086956</c:v>
                </c:pt>
                <c:pt idx="1">
                  <c:v>16.322714182865365</c:v>
                </c:pt>
                <c:pt idx="2">
                  <c:v>5.887400586019255</c:v>
                </c:pt>
                <c:pt idx="3">
                  <c:v>6.453232577665826</c:v>
                </c:pt>
                <c:pt idx="4">
                  <c:v>37.678381256656</c:v>
                </c:pt>
                <c:pt idx="5">
                  <c:v>10.169157088122603</c:v>
                </c:pt>
                <c:pt idx="6">
                  <c:v>6.330559957739037</c:v>
                </c:pt>
                <c:pt idx="7">
                  <c:v>7.795731707317073</c:v>
                </c:pt>
                <c:pt idx="8">
                  <c:v>8.774728997289975</c:v>
                </c:pt>
                <c:pt idx="9">
                  <c:v>11.896370582616997</c:v>
                </c:pt>
                <c:pt idx="10">
                  <c:v>9.529069767441861</c:v>
                </c:pt>
                <c:pt idx="11">
                  <c:v>7.90378548895899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F64F879-D479-4CDF-ABCB-F069B45D4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C61D016-C960-42B2-85B6-CBFF22162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48DC7FB-4EA3-4AE9-8741-F50C4B4A6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D9CA2AD-6CF7-4A48-B604-244AEE9D0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1FE9149-33B6-4370-BB8D-0AAEDD219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9120B26-97E8-4298-A319-4838C9CCA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3488A36-0DE3-473A-A099-8739623B3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B814F51-7FA2-426A-817F-5A57F4601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80.2157</c:v>
                </c:pt>
              </c:numCache>
            </c:numRef>
          </c:xVal>
          <c:yVal>
            <c:numRef>
              <c:f>Sheet1!$B$2:$B$2</c:f>
              <c:numCache>
                <c:formatCode>General</c:formatCode>
                <c:ptCount val="1"/>
                <c:pt idx="0">
                  <c:v>0.4032</c:v>
                </c:pt>
              </c:numCache>
            </c:numRef>
          </c:yVal>
          <c:bubbleSize>
            <c:numRef>
              <c:f>Sheet1!$C$2:$C$2</c:f>
              <c:numCache>
                <c:formatCode>General</c:formatCode>
                <c:ptCount val="1"/>
                <c:pt idx="0">
                  <c:v>6554587.26280003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96.25883999999999"/>
          <c:min val="64.1725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32"/>
        <c:crossBetween val="midCat"/>
      </c:valAx>
      <c:valAx>
        <c:axId val="1011451359"/>
        <c:scaling>
          <c:orientation val="minMax"/>
          <c:max val="0.84384"/>
          <c:min val="0.08256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0.215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DFD032A-21AD-4BF9-96E9-904BC4463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73A0BCD-7B8F-404F-877C-29A4C89EF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4A70255-A8A4-4E5F-B6EC-C1EEBEDF5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ADFC69A-13B4-46C5-9F11-2526D4733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5530EB7-4FF7-4C29-A751-E616808D4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C56B41A-945A-456E-95F0-62609E478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4EEFA6B-97E0-49CC-ADC3-9346567F1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60D5488-155A-4B4D-B86A-56AD2839B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8.8195</c:v>
                </c:pt>
                <c:pt idx="1">
                  <c:v>14.4072</c:v>
                </c:pt>
                <c:pt idx="2">
                  <c:v>16.9683</c:v>
                </c:pt>
                <c:pt idx="3">
                  <c:v>15.7431</c:v>
                </c:pt>
                <c:pt idx="4">
                  <c:v>18.4093</c:v>
                </c:pt>
              </c:numCache>
            </c:numRef>
          </c:xVal>
          <c:yVal>
            <c:numRef>
              <c:f>Sheet1!$B$2:$B$6</c:f>
              <c:numCache>
                <c:formatCode>General</c:formatCode>
                <c:ptCount val="5"/>
                <c:pt idx="0">
                  <c:v>0.458</c:v>
                </c:pt>
                <c:pt idx="1">
                  <c:v>0.4148</c:v>
                </c:pt>
                <c:pt idx="2">
                  <c:v>0.4409</c:v>
                </c:pt>
                <c:pt idx="3">
                  <c:v>0.4152</c:v>
                </c:pt>
                <c:pt idx="4">
                  <c:v>0.4565</c:v>
                </c:pt>
              </c:numCache>
            </c:numRef>
          </c:yVal>
          <c:bubbleSize>
            <c:numRef>
              <c:f>Sheet1!$C$2:$C$6</c:f>
              <c:numCache>
                <c:formatCode>General</c:formatCode>
                <c:ptCount val="5"/>
                <c:pt idx="0">
                  <c:v>13681.7948</c:v>
                </c:pt>
                <c:pt idx="1">
                  <c:v>28007.5555</c:v>
                </c:pt>
                <c:pt idx="2">
                  <c:v>170870.4178</c:v>
                </c:pt>
                <c:pt idx="3">
                  <c:v>61240.47749999999</c:v>
                </c:pt>
                <c:pt idx="4">
                  <c:v>61450.26809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2.5834"/>
          <c:min val="11.5257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758219868007325"/>
        <c:crossBetween val="midCat"/>
      </c:valAx>
      <c:valAx>
        <c:axId val="1011451359"/>
        <c:scaling>
          <c:orientation val="minMax"/>
          <c:max val="0.9096"/>
          <c:min val="0.091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8702109375992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66</c:v>
                </c:pt>
                <c:pt idx="1">
                  <c:v>Av Price/Unit 98.00</c:v>
                </c:pt>
                <c:pt idx="2">
                  <c:v>Av Price/Unit 225.20</c:v>
                </c:pt>
                <c:pt idx="3">
                  <c:v>Av Price/Unit 35.23</c:v>
                </c:pt>
                <c:pt idx="4">
                  <c:v>Av Price/Unit 38.80</c:v>
                </c:pt>
                <c:pt idx="5">
                  <c:v>Av Price/Unit 60.89</c:v>
                </c:pt>
                <c:pt idx="6">
                  <c:v>Av Price/Unit 37.88</c:v>
                </c:pt>
                <c:pt idx="7">
                  <c:v>Av Price/Unit 46.33</c:v>
                </c:pt>
                <c:pt idx="8">
                  <c:v>Av Price/Unit 52.68</c:v>
                </c:pt>
                <c:pt idx="9">
                  <c:v>Av Price/Unit 70.47</c:v>
                </c:pt>
                <c:pt idx="10">
                  <c:v>Av Price/Unit 56.75</c:v>
                </c:pt>
                <c:pt idx="11">
                  <c:v>Av Price/Unit 47.23</c:v>
                </c:pt>
              </c:strCache>
            </c:strRef>
          </c:cat>
          <c:val>
            <c:numRef>
              <c:f>Sheet1!$B$2:$B$13</c:f>
              <c:numCache>
                <c:formatCode>General</c:formatCode>
                <c:ptCount val="12"/>
                <c:pt idx="0">
                  <c:v>30.20870949152543</c:v>
                </c:pt>
                <c:pt idx="1">
                  <c:v>31.72265995075913</c:v>
                </c:pt>
                <c:pt idx="2">
                  <c:v>74.52362124352332</c:v>
                </c:pt>
                <c:pt idx="3">
                  <c:v>12.517985814054999</c:v>
                </c:pt>
                <c:pt idx="4">
                  <c:v>13.328177029464824</c:v>
                </c:pt>
                <c:pt idx="5">
                  <c:v>21.39883076923077</c:v>
                </c:pt>
                <c:pt idx="6">
                  <c:v>14.809808357628766</c:v>
                </c:pt>
                <c:pt idx="7">
                  <c:v>16.11150795755968</c:v>
                </c:pt>
                <c:pt idx="8">
                  <c:v>18.127689660743133</c:v>
                </c:pt>
                <c:pt idx="9">
                  <c:v>26.116111711711717</c:v>
                </c:pt>
                <c:pt idx="10">
                  <c:v>18.502632843137253</c:v>
                </c:pt>
                <c:pt idx="11">
                  <c:v>15.9599492957746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66</c:v>
                </c:pt>
                <c:pt idx="1">
                  <c:v>Av Price/Unit 98.00</c:v>
                </c:pt>
                <c:pt idx="2">
                  <c:v>Av Price/Unit 225.20</c:v>
                </c:pt>
                <c:pt idx="3">
                  <c:v>Av Price/Unit 35.23</c:v>
                </c:pt>
                <c:pt idx="4">
                  <c:v>Av Price/Unit 38.80</c:v>
                </c:pt>
                <c:pt idx="5">
                  <c:v>Av Price/Unit 60.89</c:v>
                </c:pt>
                <c:pt idx="6">
                  <c:v>Av Price/Unit 37.88</c:v>
                </c:pt>
                <c:pt idx="7">
                  <c:v>Av Price/Unit 46.33</c:v>
                </c:pt>
                <c:pt idx="8">
                  <c:v>Av Price/Unit 52.68</c:v>
                </c:pt>
                <c:pt idx="9">
                  <c:v>Av Price/Unit 70.47</c:v>
                </c:pt>
                <c:pt idx="10">
                  <c:v>Av Price/Unit 56.75</c:v>
                </c:pt>
                <c:pt idx="11">
                  <c:v>Av Price/Unit 47.23</c:v>
                </c:pt>
              </c:strCache>
            </c:strRef>
          </c:cat>
          <c:val>
            <c:numRef>
              <c:f>Sheet1!$C$2:$C$13</c:f>
              <c:numCache>
                <c:formatCode>General</c:formatCode>
                <c:ptCount val="12"/>
                <c:pt idx="0">
                  <c:v>47.716115932203394</c:v>
                </c:pt>
                <c:pt idx="1">
                  <c:v>49.753360279031604</c:v>
                </c:pt>
                <c:pt idx="2">
                  <c:v>109.92799999999995</c:v>
                </c:pt>
                <c:pt idx="3">
                  <c:v>16.769055827149714</c:v>
                </c:pt>
                <c:pt idx="4">
                  <c:v>16.205999999999996</c:v>
                </c:pt>
                <c:pt idx="5">
                  <c:v>28.608273504273505</c:v>
                </c:pt>
                <c:pt idx="6">
                  <c:v>18.317924878522838</c:v>
                </c:pt>
                <c:pt idx="7">
                  <c:v>22.150591777188325</c:v>
                </c:pt>
                <c:pt idx="8">
                  <c:v>24.513651050080778</c:v>
                </c:pt>
                <c:pt idx="9">
                  <c:v>32.252426126126124</c:v>
                </c:pt>
                <c:pt idx="10">
                  <c:v>28.26613725490196</c:v>
                </c:pt>
                <c:pt idx="11">
                  <c:v>22.21217183098591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66</c:v>
                </c:pt>
                <c:pt idx="1">
                  <c:v>Av Price/Unit 98.00</c:v>
                </c:pt>
                <c:pt idx="2">
                  <c:v>Av Price/Unit 225.20</c:v>
                </c:pt>
                <c:pt idx="3">
                  <c:v>Av Price/Unit 35.23</c:v>
                </c:pt>
                <c:pt idx="4">
                  <c:v>Av Price/Unit 38.80</c:v>
                </c:pt>
                <c:pt idx="5">
                  <c:v>Av Price/Unit 60.89</c:v>
                </c:pt>
                <c:pt idx="6">
                  <c:v>Av Price/Unit 37.88</c:v>
                </c:pt>
                <c:pt idx="7">
                  <c:v>Av Price/Unit 46.33</c:v>
                </c:pt>
                <c:pt idx="8">
                  <c:v>Av Price/Unit 52.68</c:v>
                </c:pt>
                <c:pt idx="9">
                  <c:v>Av Price/Unit 70.47</c:v>
                </c:pt>
                <c:pt idx="10">
                  <c:v>Av Price/Unit 56.75</c:v>
                </c:pt>
                <c:pt idx="11">
                  <c:v>Av Price/Unit 47.23</c:v>
                </c:pt>
              </c:strCache>
            </c:strRef>
          </c:cat>
          <c:val>
            <c:numRef>
              <c:f>Sheet1!$D$2:$D$13</c:f>
              <c:numCache>
                <c:formatCode>General</c:formatCode>
                <c:ptCount val="12"/>
                <c:pt idx="0">
                  <c:v>0.1289881355932181</c:v>
                </c:pt>
                <c:pt idx="1">
                  <c:v>0.1937239912460882</c:v>
                </c:pt>
                <c:pt idx="2">
                  <c:v>3.216772538860141</c:v>
                </c:pt>
                <c:pt idx="3">
                  <c:v>0.07204463844027842</c:v>
                </c:pt>
                <c:pt idx="4">
                  <c:v>2.8019624774503953</c:v>
                </c:pt>
                <c:pt idx="5">
                  <c:v>0.7336364672364653</c:v>
                </c:pt>
                <c:pt idx="6">
                  <c:v>-1.5574384515711053</c:v>
                </c:pt>
                <c:pt idx="7">
                  <c:v>0.34311688770998927</c:v>
                </c:pt>
                <c:pt idx="8">
                  <c:v>1.256074474959611</c:v>
                </c:pt>
                <c:pt idx="9">
                  <c:v>0.3577523523523567</c:v>
                </c:pt>
                <c:pt idx="10">
                  <c:v>0.518811601307199</c:v>
                </c:pt>
                <c:pt idx="11">
                  <c:v>1.186251330203447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93.66</c:v>
                </c:pt>
                <c:pt idx="1">
                  <c:v>Av Price/Unit 98.00</c:v>
                </c:pt>
                <c:pt idx="2">
                  <c:v>Av Price/Unit 225.20</c:v>
                </c:pt>
                <c:pt idx="3">
                  <c:v>Av Price/Unit 35.23</c:v>
                </c:pt>
                <c:pt idx="4">
                  <c:v>Av Price/Unit 38.80</c:v>
                </c:pt>
                <c:pt idx="5">
                  <c:v>Av Price/Unit 60.89</c:v>
                </c:pt>
                <c:pt idx="6">
                  <c:v>Av Price/Unit 37.88</c:v>
                </c:pt>
                <c:pt idx="7">
                  <c:v>Av Price/Unit 46.33</c:v>
                </c:pt>
                <c:pt idx="8">
                  <c:v>Av Price/Unit 52.68</c:v>
                </c:pt>
                <c:pt idx="9">
                  <c:v>Av Price/Unit 70.47</c:v>
                </c:pt>
                <c:pt idx="10">
                  <c:v>Av Price/Unit 56.75</c:v>
                </c:pt>
                <c:pt idx="11">
                  <c:v>Av Price/Unit 47.23</c:v>
                </c:pt>
              </c:strCache>
            </c:strRef>
          </c:cat>
          <c:val>
            <c:numRef>
              <c:f>Sheet1!$E$2:$E$13</c:f>
              <c:numCache>
                <c:formatCode>General</c:formatCode>
                <c:ptCount val="12"/>
                <c:pt idx="0">
                  <c:v>15.610762711864417</c:v>
                </c:pt>
                <c:pt idx="1">
                  <c:v>16.333948844207352</c:v>
                </c:pt>
                <c:pt idx="2">
                  <c:v>37.53367875647665</c:v>
                </c:pt>
                <c:pt idx="3">
                  <c:v>5.871817255928995</c:v>
                </c:pt>
                <c:pt idx="4">
                  <c:v>6.467227901383039</c:v>
                </c:pt>
                <c:pt idx="5">
                  <c:v>10.148148148148145</c:v>
                </c:pt>
                <c:pt idx="6">
                  <c:v>6.314058956916098</c:v>
                </c:pt>
                <c:pt idx="7">
                  <c:v>7.721043324491597</c:v>
                </c:pt>
                <c:pt idx="8">
                  <c:v>8.779483037156705</c:v>
                </c:pt>
                <c:pt idx="9">
                  <c:v>11.745245245245249</c:v>
                </c:pt>
                <c:pt idx="10">
                  <c:v>9.457516339869276</c:v>
                </c:pt>
                <c:pt idx="11">
                  <c:v>7.87167449139279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29.27</c:v>
                </c:pt>
                <c:pt idx="4">
                  <c:v>Av Price/Unit 42.05</c:v>
                </c:pt>
                <c:pt idx="5">
                  <c:v>Av Price/Unit 37.16</c:v>
                </c:pt>
                <c:pt idx="6">
                  <c:v>Av Price/Unit 30.10</c:v>
                </c:pt>
                <c:pt idx="7">
                  <c:v>Av Price/Unit 29.12</c:v>
                </c:pt>
                <c:pt idx="8">
                  <c:v>Av Price/Unit 45.48</c:v>
                </c:pt>
                <c:pt idx="9">
                  <c:v>Av Price/Unit 60.25</c:v>
                </c:pt>
                <c:pt idx="10">
                  <c:v>Av Price/Unit 57.51</c:v>
                </c:pt>
                <c:pt idx="11">
                  <c:v>Av Price/Unit 37.36</c:v>
                </c:pt>
              </c:strCache>
            </c:strRef>
          </c:cat>
          <c:val>
            <c:numRef>
              <c:f>Sheet1!$B$2:$B$13</c:f>
              <c:numCache>
                <c:formatCode>General</c:formatCode>
                <c:ptCount val="12"/>
                <c:pt idx="0">
                  <c:v>18.183700159560466</c:v>
                </c:pt>
                <c:pt idx="1">
                  <c:v>3.6043271779713746</c:v>
                </c:pt>
                <c:pt idx="2">
                  <c:v>15.840063378110232</c:v>
                </c:pt>
                <c:pt idx="3">
                  <c:v>10.084361500783702</c:v>
                </c:pt>
                <c:pt idx="4">
                  <c:v>14.644514153224035</c:v>
                </c:pt>
                <c:pt idx="5">
                  <c:v>12.784544722280884</c:v>
                </c:pt>
                <c:pt idx="6">
                  <c:v>11.443937414565607</c:v>
                </c:pt>
                <c:pt idx="7">
                  <c:v>11.105190490560743</c:v>
                </c:pt>
                <c:pt idx="8">
                  <c:v>15.080345218299097</c:v>
                </c:pt>
                <c:pt idx="9">
                  <c:v>20.14262956039973</c:v>
                </c:pt>
                <c:pt idx="10">
                  <c:v>19.5198013547927</c:v>
                </c:pt>
                <c:pt idx="11">
                  <c:v>13.2345165947811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29.27</c:v>
                </c:pt>
                <c:pt idx="4">
                  <c:v>Av Price/Unit 42.05</c:v>
                </c:pt>
                <c:pt idx="5">
                  <c:v>Av Price/Unit 37.16</c:v>
                </c:pt>
                <c:pt idx="6">
                  <c:v>Av Price/Unit 30.10</c:v>
                </c:pt>
                <c:pt idx="7">
                  <c:v>Av Price/Unit 29.12</c:v>
                </c:pt>
                <c:pt idx="8">
                  <c:v>Av Price/Unit 45.48</c:v>
                </c:pt>
                <c:pt idx="9">
                  <c:v>Av Price/Unit 60.25</c:v>
                </c:pt>
                <c:pt idx="10">
                  <c:v>Av Price/Unit 57.51</c:v>
                </c:pt>
                <c:pt idx="11">
                  <c:v>Av Price/Unit 37.36</c:v>
                </c:pt>
              </c:strCache>
            </c:strRef>
          </c:cat>
          <c:val>
            <c:numRef>
              <c:f>Sheet1!$C$2:$C$13</c:f>
              <c:numCache>
                <c:formatCode>General</c:formatCode>
                <c:ptCount val="12"/>
                <c:pt idx="0">
                  <c:v>27.865328240557965</c:v>
                </c:pt>
                <c:pt idx="1">
                  <c:v>13.403335146235221</c:v>
                </c:pt>
                <c:pt idx="2">
                  <c:v>22.31475860730039</c:v>
                </c:pt>
                <c:pt idx="3">
                  <c:v>15.286686226489023</c:v>
                </c:pt>
                <c:pt idx="4">
                  <c:v>20.56808797415499</c:v>
                </c:pt>
                <c:pt idx="5">
                  <c:v>18.344027235480464</c:v>
                </c:pt>
                <c:pt idx="6">
                  <c:v>14.097366255315915</c:v>
                </c:pt>
                <c:pt idx="7">
                  <c:v>13.863332886518352</c:v>
                </c:pt>
                <c:pt idx="8">
                  <c:v>22.27483704932702</c:v>
                </c:pt>
                <c:pt idx="9">
                  <c:v>29.21094192512815</c:v>
                </c:pt>
                <c:pt idx="10">
                  <c:v>27.616817571559537</c:v>
                </c:pt>
                <c:pt idx="11">
                  <c:v>17.091244166486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29.27</c:v>
                </c:pt>
                <c:pt idx="4">
                  <c:v>Av Price/Unit 42.05</c:v>
                </c:pt>
                <c:pt idx="5">
                  <c:v>Av Price/Unit 37.16</c:v>
                </c:pt>
                <c:pt idx="6">
                  <c:v>Av Price/Unit 30.10</c:v>
                </c:pt>
                <c:pt idx="7">
                  <c:v>Av Price/Unit 29.12</c:v>
                </c:pt>
                <c:pt idx="8">
                  <c:v>Av Price/Unit 45.48</c:v>
                </c:pt>
                <c:pt idx="9">
                  <c:v>Av Price/Unit 60.25</c:v>
                </c:pt>
                <c:pt idx="10">
                  <c:v>Av Price/Unit 57.51</c:v>
                </c:pt>
                <c:pt idx="11">
                  <c:v>Av Price/Unit 37.36</c:v>
                </c:pt>
              </c:strCache>
            </c:strRef>
          </c:cat>
          <c:val>
            <c:numRef>
              <c:f>Sheet1!$D$2:$D$13</c:f>
              <c:numCache>
                <c:formatCode>General</c:formatCode>
                <c:ptCount val="12"/>
                <c:pt idx="0">
                  <c:v>-1.0128061683006564</c:v>
                </c:pt>
                <c:pt idx="1">
                  <c:v>0.724321876858184</c:v>
                </c:pt>
                <c:pt idx="2">
                  <c:v>0.23010382721160738</c:v>
                </c:pt>
                <c:pt idx="3">
                  <c:v>-0.9825662374981334</c:v>
                </c:pt>
                <c:pt idx="4">
                  <c:v>-0.1725672571168957</c:v>
                </c:pt>
                <c:pt idx="5">
                  <c:v>-0.15780462231608539</c:v>
                </c:pt>
                <c:pt idx="6">
                  <c:v>-0.458163354976719</c:v>
                </c:pt>
                <c:pt idx="7">
                  <c:v>-0.7051052814622487</c:v>
                </c:pt>
                <c:pt idx="8">
                  <c:v>0.5461823347377077</c:v>
                </c:pt>
                <c:pt idx="9">
                  <c:v>0.856131823124322</c:v>
                </c:pt>
                <c:pt idx="10">
                  <c:v>0.786356493837232</c:v>
                </c:pt>
                <c:pt idx="11">
                  <c:v>0.811049436896464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4</c:v>
                </c:pt>
                <c:pt idx="1">
                  <c:v>Av Price/Unit 21.28</c:v>
                </c:pt>
                <c:pt idx="2">
                  <c:v>Av Price/Unit 46.06</c:v>
                </c:pt>
                <c:pt idx="3">
                  <c:v>Av Price/Unit 29.27</c:v>
                </c:pt>
                <c:pt idx="4">
                  <c:v>Av Price/Unit 42.05</c:v>
                </c:pt>
                <c:pt idx="5">
                  <c:v>Av Price/Unit 37.16</c:v>
                </c:pt>
                <c:pt idx="6">
                  <c:v>Av Price/Unit 30.10</c:v>
                </c:pt>
                <c:pt idx="7">
                  <c:v>Av Price/Unit 29.12</c:v>
                </c:pt>
                <c:pt idx="8">
                  <c:v>Av Price/Unit 45.48</c:v>
                </c:pt>
                <c:pt idx="9">
                  <c:v>Av Price/Unit 60.25</c:v>
                </c:pt>
                <c:pt idx="10">
                  <c:v>Av Price/Unit 57.51</c:v>
                </c:pt>
                <c:pt idx="11">
                  <c:v>Av Price/Unit 37.36</c:v>
                </c:pt>
              </c:strCache>
            </c:strRef>
          </c:cat>
          <c:val>
            <c:numRef>
              <c:f>Sheet1!$E$2:$E$13</c:f>
              <c:numCache>
                <c:formatCode>General</c:formatCode>
                <c:ptCount val="12"/>
                <c:pt idx="0">
                  <c:v>9.007239165241028</c:v>
                </c:pt>
                <c:pt idx="1">
                  <c:v>3.546396840212961</c:v>
                </c:pt>
                <c:pt idx="2">
                  <c:v>7.67697820159598</c:v>
                </c:pt>
                <c:pt idx="3">
                  <c:v>4.877696297954913</c:v>
                </c:pt>
                <c:pt idx="4">
                  <c:v>7.008006974052421</c:v>
                </c:pt>
                <c:pt idx="5">
                  <c:v>6.194153467089055</c:v>
                </c:pt>
                <c:pt idx="6">
                  <c:v>5.016628062980967</c:v>
                </c:pt>
                <c:pt idx="7">
                  <c:v>4.852683619123374</c:v>
                </c:pt>
                <c:pt idx="8">
                  <c:v>7.580272920472764</c:v>
                </c:pt>
                <c:pt idx="9">
                  <c:v>10.041940661730441</c:v>
                </c:pt>
                <c:pt idx="10">
                  <c:v>9.584598146073132</c:v>
                </c:pt>
                <c:pt idx="11">
                  <c:v>6.22736203963289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26</c:v>
                </c:pt>
                <c:pt idx="1">
                  <c:v>Av Price/Unit 46.07</c:v>
                </c:pt>
                <c:pt idx="2">
                  <c:v>Av Price/Unit 21.33</c:v>
                </c:pt>
                <c:pt idx="3">
                  <c:v>Av Price/Unit 41.92</c:v>
                </c:pt>
                <c:pt idx="4">
                  <c:v>Av Price/Unit 29.46</c:v>
                </c:pt>
                <c:pt idx="5">
                  <c:v>Av Price/Unit 37.26</c:v>
                </c:pt>
                <c:pt idx="6">
                  <c:v>Av Price/Unit 57.52</c:v>
                </c:pt>
                <c:pt idx="7">
                  <c:v>Av Price/Unit 60.46</c:v>
                </c:pt>
                <c:pt idx="8">
                  <c:v>Av Price/Unit 45.47</c:v>
                </c:pt>
                <c:pt idx="9">
                  <c:v>Av Price/Unit 37.49</c:v>
                </c:pt>
                <c:pt idx="10">
                  <c:v>Av Price/Unit 136.80</c:v>
                </c:pt>
                <c:pt idx="11">
                  <c:v>Av Price/Unit 53.98</c:v>
                </c:pt>
              </c:strCache>
            </c:strRef>
          </c:cat>
          <c:val>
            <c:numRef>
              <c:f>Sheet1!$B$2:$B$13</c:f>
              <c:numCache>
                <c:formatCode>General</c:formatCode>
                <c:ptCount val="12"/>
                <c:pt idx="0">
                  <c:v>18.185763407214257</c:v>
                </c:pt>
                <c:pt idx="1">
                  <c:v>15.853434293948126</c:v>
                </c:pt>
                <c:pt idx="2">
                  <c:v>3.5979885625966</c:v>
                </c:pt>
                <c:pt idx="3">
                  <c:v>14.506429684975767</c:v>
                </c:pt>
                <c:pt idx="4">
                  <c:v>10.093124851419766</c:v>
                </c:pt>
                <c:pt idx="5">
                  <c:v>12.770112376779847</c:v>
                </c:pt>
                <c:pt idx="6">
                  <c:v>19.508916358839052</c:v>
                </c:pt>
                <c:pt idx="7">
                  <c:v>20.155097404129798</c:v>
                </c:pt>
                <c:pt idx="8">
                  <c:v>15.079203514376996</c:v>
                </c:pt>
                <c:pt idx="9">
                  <c:v>13.219278424015009</c:v>
                </c:pt>
                <c:pt idx="10">
                  <c:v>47.66059827255278</c:v>
                </c:pt>
                <c:pt idx="11">
                  <c:v>18.71471816782139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26</c:v>
                </c:pt>
                <c:pt idx="1">
                  <c:v>Av Price/Unit 46.07</c:v>
                </c:pt>
                <c:pt idx="2">
                  <c:v>Av Price/Unit 21.33</c:v>
                </c:pt>
                <c:pt idx="3">
                  <c:v>Av Price/Unit 41.92</c:v>
                </c:pt>
                <c:pt idx="4">
                  <c:v>Av Price/Unit 29.46</c:v>
                </c:pt>
                <c:pt idx="5">
                  <c:v>Av Price/Unit 37.26</c:v>
                </c:pt>
                <c:pt idx="6">
                  <c:v>Av Price/Unit 57.52</c:v>
                </c:pt>
                <c:pt idx="7">
                  <c:v>Av Price/Unit 60.46</c:v>
                </c:pt>
                <c:pt idx="8">
                  <c:v>Av Price/Unit 45.47</c:v>
                </c:pt>
                <c:pt idx="9">
                  <c:v>Av Price/Unit 37.49</c:v>
                </c:pt>
                <c:pt idx="10">
                  <c:v>Av Price/Unit 136.80</c:v>
                </c:pt>
                <c:pt idx="11">
                  <c:v>Av Price/Unit 53.98</c:v>
                </c:pt>
              </c:strCache>
            </c:strRef>
          </c:cat>
          <c:val>
            <c:numRef>
              <c:f>Sheet1!$C$2:$C$13</c:f>
              <c:numCache>
                <c:formatCode>General</c:formatCode>
                <c:ptCount val="12"/>
                <c:pt idx="0">
                  <c:v>27.858919382877012</c:v>
                </c:pt>
                <c:pt idx="1">
                  <c:v>22.31404726224784</c:v>
                </c:pt>
                <c:pt idx="2">
                  <c:v>13.413333075734156</c:v>
                </c:pt>
                <c:pt idx="3">
                  <c:v>20.562884046849756</c:v>
                </c:pt>
                <c:pt idx="4">
                  <c:v>15.276373101474794</c:v>
                </c:pt>
                <c:pt idx="5">
                  <c:v>18.348776807228916</c:v>
                </c:pt>
                <c:pt idx="6">
                  <c:v>27.61438179419525</c:v>
                </c:pt>
                <c:pt idx="7">
                  <c:v>29.214215457227137</c:v>
                </c:pt>
                <c:pt idx="8">
                  <c:v>22.260066773162936</c:v>
                </c:pt>
                <c:pt idx="9">
                  <c:v>17.08788536585366</c:v>
                </c:pt>
                <c:pt idx="10">
                  <c:v>63.99168042226488</c:v>
                </c:pt>
                <c:pt idx="11">
                  <c:v>25.83144988452655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26</c:v>
                </c:pt>
                <c:pt idx="1">
                  <c:v>Av Price/Unit 46.07</c:v>
                </c:pt>
                <c:pt idx="2">
                  <c:v>Av Price/Unit 21.33</c:v>
                </c:pt>
                <c:pt idx="3">
                  <c:v>Av Price/Unit 41.92</c:v>
                </c:pt>
                <c:pt idx="4">
                  <c:v>Av Price/Unit 29.46</c:v>
                </c:pt>
                <c:pt idx="5">
                  <c:v>Av Price/Unit 37.26</c:v>
                </c:pt>
                <c:pt idx="6">
                  <c:v>Av Price/Unit 57.52</c:v>
                </c:pt>
                <c:pt idx="7">
                  <c:v>Av Price/Unit 60.46</c:v>
                </c:pt>
                <c:pt idx="8">
                  <c:v>Av Price/Unit 45.47</c:v>
                </c:pt>
                <c:pt idx="9">
                  <c:v>Av Price/Unit 37.49</c:v>
                </c:pt>
                <c:pt idx="10">
                  <c:v>Av Price/Unit 136.80</c:v>
                </c:pt>
                <c:pt idx="11">
                  <c:v>Av Price/Unit 53.98</c:v>
                </c:pt>
              </c:strCache>
            </c:strRef>
          </c:cat>
          <c:val>
            <c:numRef>
              <c:f>Sheet1!$D$2:$D$13</c:f>
              <c:numCache>
                <c:formatCode>General</c:formatCode>
                <c:ptCount val="12"/>
                <c:pt idx="0">
                  <c:v>-0.8273590612777042</c:v>
                </c:pt>
                <c:pt idx="1">
                  <c:v>0.22752840217739134</c:v>
                </c:pt>
                <c:pt idx="2">
                  <c:v>0.7653112542217677</c:v>
                </c:pt>
                <c:pt idx="3">
                  <c:v>-0.1362900376952041</c:v>
                </c:pt>
                <c:pt idx="4">
                  <c:v>-0.8223925159586152</c:v>
                </c:pt>
                <c:pt idx="5">
                  <c:v>-0.07174606608250045</c:v>
                </c:pt>
                <c:pt idx="6">
                  <c:v>0.8120445910290286</c:v>
                </c:pt>
                <c:pt idx="7">
                  <c:v>1.0151512487708985</c:v>
                </c:pt>
                <c:pt idx="8">
                  <c:v>0.5562872965160466</c:v>
                </c:pt>
                <c:pt idx="9">
                  <c:v>0.9334553470919325</c:v>
                </c:pt>
                <c:pt idx="10">
                  <c:v>2.3448422264875006</c:v>
                </c:pt>
                <c:pt idx="11">
                  <c:v>0.436493225558130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26</c:v>
                </c:pt>
                <c:pt idx="1">
                  <c:v>Av Price/Unit 46.07</c:v>
                </c:pt>
                <c:pt idx="2">
                  <c:v>Av Price/Unit 21.33</c:v>
                </c:pt>
                <c:pt idx="3">
                  <c:v>Av Price/Unit 41.92</c:v>
                </c:pt>
                <c:pt idx="4">
                  <c:v>Av Price/Unit 29.46</c:v>
                </c:pt>
                <c:pt idx="5">
                  <c:v>Av Price/Unit 37.26</c:v>
                </c:pt>
                <c:pt idx="6">
                  <c:v>Av Price/Unit 57.52</c:v>
                </c:pt>
                <c:pt idx="7">
                  <c:v>Av Price/Unit 60.46</c:v>
                </c:pt>
                <c:pt idx="8">
                  <c:v>Av Price/Unit 45.47</c:v>
                </c:pt>
                <c:pt idx="9">
                  <c:v>Av Price/Unit 37.49</c:v>
                </c:pt>
                <c:pt idx="10">
                  <c:v>Av Price/Unit 136.80</c:v>
                </c:pt>
                <c:pt idx="11">
                  <c:v>Av Price/Unit 53.98</c:v>
                </c:pt>
              </c:strCache>
            </c:strRef>
          </c:cat>
          <c:val>
            <c:numRef>
              <c:f>Sheet1!$E$2:$E$13</c:f>
              <c:numCache>
                <c:formatCode>General</c:formatCode>
                <c:ptCount val="12"/>
                <c:pt idx="0">
                  <c:v>9.043459365493264</c:v>
                </c:pt>
                <c:pt idx="1">
                  <c:v>7.67899455651617</c:v>
                </c:pt>
                <c:pt idx="2">
                  <c:v>3.5553265785105026</c:v>
                </c:pt>
                <c:pt idx="3">
                  <c:v>6.9866047388260615</c:v>
                </c:pt>
                <c:pt idx="4">
                  <c:v>4.909421087387189</c:v>
                </c:pt>
                <c:pt idx="5">
                  <c:v>6.209428623585245</c:v>
                </c:pt>
                <c:pt idx="6">
                  <c:v>9.58707124010554</c:v>
                </c:pt>
                <c:pt idx="7">
                  <c:v>10.076892822025563</c:v>
                </c:pt>
                <c:pt idx="8">
                  <c:v>7.579111516811195</c:v>
                </c:pt>
                <c:pt idx="9">
                  <c:v>6.24812382739212</c:v>
                </c:pt>
                <c:pt idx="10">
                  <c:v>22.79942418426105</c:v>
                </c:pt>
                <c:pt idx="11">
                  <c:v>8.99653579676673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25</c:v>
                </c:pt>
                <c:pt idx="2">
                  <c:v>Av Price/Unit 45.96</c:v>
                </c:pt>
                <c:pt idx="3">
                  <c:v>Av Price/Unit 59.90</c:v>
                </c:pt>
                <c:pt idx="4">
                  <c:v>Av Price/Unit 29.22</c:v>
                </c:pt>
                <c:pt idx="5">
                  <c:v>Av Price/Unit 29.84</c:v>
                </c:pt>
                <c:pt idx="6">
                  <c:v>Av Price/Unit 41.77</c:v>
                </c:pt>
                <c:pt idx="7">
                  <c:v>Av Price/Unit 29.52</c:v>
                </c:pt>
                <c:pt idx="8">
                  <c:v>Av Price/Unit 45.42</c:v>
                </c:pt>
                <c:pt idx="9">
                  <c:v>Av Price/Unit 136.72</c:v>
                </c:pt>
                <c:pt idx="10">
                  <c:v>Av Price/Unit 37.35</c:v>
                </c:pt>
                <c:pt idx="11">
                  <c:v>Av Price/Unit 57.41</c:v>
                </c:pt>
              </c:strCache>
            </c:strRef>
          </c:cat>
          <c:val>
            <c:numRef>
              <c:f>Sheet1!$B$2:$B$13</c:f>
              <c:numCache>
                <c:formatCode>General</c:formatCode>
                <c:ptCount val="12"/>
                <c:pt idx="0">
                  <c:v>18.173055143522113</c:v>
                </c:pt>
                <c:pt idx="1">
                  <c:v>3.6134988670970882</c:v>
                </c:pt>
                <c:pt idx="2">
                  <c:v>15.806317351298063</c:v>
                </c:pt>
                <c:pt idx="3">
                  <c:v>20.131353289473683</c:v>
                </c:pt>
                <c:pt idx="4">
                  <c:v>10.12196360770578</c:v>
                </c:pt>
                <c:pt idx="5">
                  <c:v>11.450670696557244</c:v>
                </c:pt>
                <c:pt idx="6">
                  <c:v>14.943870006863419</c:v>
                </c:pt>
                <c:pt idx="7">
                  <c:v>11.009849308983219</c:v>
                </c:pt>
                <c:pt idx="8">
                  <c:v>15.08426059001513</c:v>
                </c:pt>
                <c:pt idx="9">
                  <c:v>47.67596262886597</c:v>
                </c:pt>
                <c:pt idx="10">
                  <c:v>12.806722865853658</c:v>
                </c:pt>
                <c:pt idx="11">
                  <c:v>19.5177379269729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25</c:v>
                </c:pt>
                <c:pt idx="2">
                  <c:v>Av Price/Unit 45.96</c:v>
                </c:pt>
                <c:pt idx="3">
                  <c:v>Av Price/Unit 59.90</c:v>
                </c:pt>
                <c:pt idx="4">
                  <c:v>Av Price/Unit 29.22</c:v>
                </c:pt>
                <c:pt idx="5">
                  <c:v>Av Price/Unit 29.84</c:v>
                </c:pt>
                <c:pt idx="6">
                  <c:v>Av Price/Unit 41.77</c:v>
                </c:pt>
                <c:pt idx="7">
                  <c:v>Av Price/Unit 29.52</c:v>
                </c:pt>
                <c:pt idx="8">
                  <c:v>Av Price/Unit 45.42</c:v>
                </c:pt>
                <c:pt idx="9">
                  <c:v>Av Price/Unit 136.72</c:v>
                </c:pt>
                <c:pt idx="10">
                  <c:v>Av Price/Unit 37.35</c:v>
                </c:pt>
                <c:pt idx="11">
                  <c:v>Av Price/Unit 57.41</c:v>
                </c:pt>
              </c:strCache>
            </c:strRef>
          </c:cat>
          <c:val>
            <c:numRef>
              <c:f>Sheet1!$C$2:$C$13</c:f>
              <c:numCache>
                <c:formatCode>General</c:formatCode>
                <c:ptCount val="12"/>
                <c:pt idx="0">
                  <c:v>27.89839377812258</c:v>
                </c:pt>
                <c:pt idx="1">
                  <c:v>13.388868595444023</c:v>
                </c:pt>
                <c:pt idx="2">
                  <c:v>22.31655392704568</c:v>
                </c:pt>
                <c:pt idx="3">
                  <c:v>29.20798125</c:v>
                </c:pt>
                <c:pt idx="4">
                  <c:v>15.242434290718037</c:v>
                </c:pt>
                <c:pt idx="5">
                  <c:v>14.10447229783827</c:v>
                </c:pt>
                <c:pt idx="6">
                  <c:v>20.57936966369252</c:v>
                </c:pt>
                <c:pt idx="7">
                  <c:v>13.740736525172755</c:v>
                </c:pt>
                <c:pt idx="8">
                  <c:v>22.325490393343422</c:v>
                </c:pt>
                <c:pt idx="9">
                  <c:v>63.98807525773196</c:v>
                </c:pt>
                <c:pt idx="10">
                  <c:v>18.336728582317072</c:v>
                </c:pt>
                <c:pt idx="11">
                  <c:v>27.61635583038868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25</c:v>
                </c:pt>
                <c:pt idx="2">
                  <c:v>Av Price/Unit 45.96</c:v>
                </c:pt>
                <c:pt idx="3">
                  <c:v>Av Price/Unit 59.90</c:v>
                </c:pt>
                <c:pt idx="4">
                  <c:v>Av Price/Unit 29.22</c:v>
                </c:pt>
                <c:pt idx="5">
                  <c:v>Av Price/Unit 29.84</c:v>
                </c:pt>
                <c:pt idx="6">
                  <c:v>Av Price/Unit 41.77</c:v>
                </c:pt>
                <c:pt idx="7">
                  <c:v>Av Price/Unit 29.52</c:v>
                </c:pt>
                <c:pt idx="8">
                  <c:v>Av Price/Unit 45.42</c:v>
                </c:pt>
                <c:pt idx="9">
                  <c:v>Av Price/Unit 136.72</c:v>
                </c:pt>
                <c:pt idx="10">
                  <c:v>Av Price/Unit 37.35</c:v>
                </c:pt>
                <c:pt idx="11">
                  <c:v>Av Price/Unit 57.41</c:v>
                </c:pt>
              </c:strCache>
            </c:strRef>
          </c:cat>
          <c:val>
            <c:numRef>
              <c:f>Sheet1!$D$2:$D$13</c:f>
              <c:numCache>
                <c:formatCode>General</c:formatCode>
                <c:ptCount val="12"/>
                <c:pt idx="0">
                  <c:v>-1.088104670287045</c:v>
                </c:pt>
                <c:pt idx="1">
                  <c:v>0.7075647257075524</c:v>
                </c:pt>
                <c:pt idx="2">
                  <c:v>0.17735471574103912</c:v>
                </c:pt>
                <c:pt idx="3">
                  <c:v>0.5760789943609126</c:v>
                </c:pt>
                <c:pt idx="4">
                  <c:v>-1.012675773496781</c:v>
                </c:pt>
                <c:pt idx="5">
                  <c:v>-0.6915854817187075</c:v>
                </c:pt>
                <c:pt idx="6">
                  <c:v>-0.7148434225577702</c:v>
                </c:pt>
                <c:pt idx="7">
                  <c:v>-0.15203367884171826</c:v>
                </c:pt>
                <c:pt idx="8">
                  <c:v>0.44261916288452596</c:v>
                </c:pt>
                <c:pt idx="9">
                  <c:v>2.270670017182155</c:v>
                </c:pt>
                <c:pt idx="10">
                  <c:v>-0.01794331808942573</c:v>
                </c:pt>
                <c:pt idx="11">
                  <c:v>0.704524970553592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8</c:v>
                </c:pt>
                <c:pt idx="1">
                  <c:v>Av Price/Unit 21.25</c:v>
                </c:pt>
                <c:pt idx="2">
                  <c:v>Av Price/Unit 45.96</c:v>
                </c:pt>
                <c:pt idx="3">
                  <c:v>Av Price/Unit 59.90</c:v>
                </c:pt>
                <c:pt idx="4">
                  <c:v>Av Price/Unit 29.22</c:v>
                </c:pt>
                <c:pt idx="5">
                  <c:v>Av Price/Unit 29.84</c:v>
                </c:pt>
                <c:pt idx="6">
                  <c:v>Av Price/Unit 41.77</c:v>
                </c:pt>
                <c:pt idx="7">
                  <c:v>Av Price/Unit 29.52</c:v>
                </c:pt>
                <c:pt idx="8">
                  <c:v>Av Price/Unit 45.42</c:v>
                </c:pt>
                <c:pt idx="9">
                  <c:v>Av Price/Unit 136.72</c:v>
                </c:pt>
                <c:pt idx="10">
                  <c:v>Av Price/Unit 37.35</c:v>
                </c:pt>
                <c:pt idx="11">
                  <c:v>Av Price/Unit 57.41</c:v>
                </c:pt>
              </c:strCache>
            </c:strRef>
          </c:cat>
          <c:val>
            <c:numRef>
              <c:f>Sheet1!$E$2:$E$13</c:f>
              <c:numCache>
                <c:formatCode>General</c:formatCode>
                <c:ptCount val="12"/>
                <c:pt idx="0">
                  <c:v>8.9966640806827</c:v>
                </c:pt>
                <c:pt idx="1">
                  <c:v>3.5419864376497365</c:v>
                </c:pt>
                <c:pt idx="2">
                  <c:v>7.660039434768321</c:v>
                </c:pt>
                <c:pt idx="3">
                  <c:v>9.983082706766917</c:v>
                </c:pt>
                <c:pt idx="4">
                  <c:v>4.870344424985399</c:v>
                </c:pt>
                <c:pt idx="5">
                  <c:v>4.972711502535359</c:v>
                </c:pt>
                <c:pt idx="6">
                  <c:v>6.961679249599633</c:v>
                </c:pt>
                <c:pt idx="7">
                  <c:v>4.919710431062847</c:v>
                </c:pt>
                <c:pt idx="8">
                  <c:v>7.5704740292486115</c:v>
                </c:pt>
                <c:pt idx="9">
                  <c:v>22.78694158075602</c:v>
                </c:pt>
                <c:pt idx="10">
                  <c:v>6.225101626016256</c:v>
                </c:pt>
                <c:pt idx="11">
                  <c:v>9.56772673733804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42.06</c:v>
                </c:pt>
                <c:pt idx="4">
                  <c:v>Av Price/Unit 29.28</c:v>
                </c:pt>
                <c:pt idx="5">
                  <c:v>Av Price/Unit 37.08</c:v>
                </c:pt>
                <c:pt idx="6">
                  <c:v>Av Price/Unit 30.11</c:v>
                </c:pt>
                <c:pt idx="7">
                  <c:v>Av Price/Unit 29.03</c:v>
                </c:pt>
                <c:pt idx="8">
                  <c:v>Av Price/Unit 45.41</c:v>
                </c:pt>
                <c:pt idx="9">
                  <c:v>Av Price/Unit 57.42</c:v>
                </c:pt>
                <c:pt idx="10">
                  <c:v>Av Price/Unit 60.29</c:v>
                </c:pt>
                <c:pt idx="11">
                  <c:v>Av Price/Unit 37.34</c:v>
                </c:pt>
              </c:strCache>
            </c:strRef>
          </c:cat>
          <c:val>
            <c:numRef>
              <c:f>Sheet1!$B$2:$B$13</c:f>
              <c:numCache>
                <c:formatCode>General</c:formatCode>
                <c:ptCount val="12"/>
                <c:pt idx="0">
                  <c:v>18.18837454161782</c:v>
                </c:pt>
                <c:pt idx="1">
                  <c:v>3.599331757082627</c:v>
                </c:pt>
                <c:pt idx="2">
                  <c:v>15.8515001647281</c:v>
                </c:pt>
                <c:pt idx="3">
                  <c:v>14.590902845376265</c:v>
                </c:pt>
                <c:pt idx="4">
                  <c:v>10.060380946364267</c:v>
                </c:pt>
                <c:pt idx="5">
                  <c:v>12.780227392838828</c:v>
                </c:pt>
                <c:pt idx="6">
                  <c:v>11.443117352563188</c:v>
                </c:pt>
                <c:pt idx="7">
                  <c:v>11.123511918604652</c:v>
                </c:pt>
                <c:pt idx="8">
                  <c:v>15.07966124277306</c:v>
                </c:pt>
                <c:pt idx="9">
                  <c:v>19.492893143109928</c:v>
                </c:pt>
                <c:pt idx="10">
                  <c:v>20.132106844660193</c:v>
                </c:pt>
                <c:pt idx="11">
                  <c:v>13.22870688142016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42.06</c:v>
                </c:pt>
                <c:pt idx="4">
                  <c:v>Av Price/Unit 29.28</c:v>
                </c:pt>
                <c:pt idx="5">
                  <c:v>Av Price/Unit 37.08</c:v>
                </c:pt>
                <c:pt idx="6">
                  <c:v>Av Price/Unit 30.11</c:v>
                </c:pt>
                <c:pt idx="7">
                  <c:v>Av Price/Unit 29.03</c:v>
                </c:pt>
                <c:pt idx="8">
                  <c:v>Av Price/Unit 45.41</c:v>
                </c:pt>
                <c:pt idx="9">
                  <c:v>Av Price/Unit 57.42</c:v>
                </c:pt>
                <c:pt idx="10">
                  <c:v>Av Price/Unit 60.29</c:v>
                </c:pt>
                <c:pt idx="11">
                  <c:v>Av Price/Unit 37.34</c:v>
                </c:pt>
              </c:strCache>
            </c:strRef>
          </c:cat>
          <c:val>
            <c:numRef>
              <c:f>Sheet1!$C$2:$C$13</c:f>
              <c:numCache>
                <c:formatCode>General</c:formatCode>
                <c:ptCount val="12"/>
                <c:pt idx="0">
                  <c:v>27.850808679953104</c:v>
                </c:pt>
                <c:pt idx="1">
                  <c:v>13.411214448403008</c:v>
                </c:pt>
                <c:pt idx="2">
                  <c:v>22.314150159705903</c:v>
                </c:pt>
                <c:pt idx="3">
                  <c:v>20.566067548886902</c:v>
                </c:pt>
                <c:pt idx="4">
                  <c:v>15.31490767578495</c:v>
                </c:pt>
                <c:pt idx="5">
                  <c:v>18.34544803475008</c:v>
                </c:pt>
                <c:pt idx="6">
                  <c:v>14.096500793945452</c:v>
                </c:pt>
                <c:pt idx="7">
                  <c:v>13.886891860465118</c:v>
                </c:pt>
                <c:pt idx="8">
                  <c:v>22.265988426480547</c:v>
                </c:pt>
                <c:pt idx="9">
                  <c:v>27.61079621765096</c:v>
                </c:pt>
                <c:pt idx="10">
                  <c:v>29.20817910194175</c:v>
                </c:pt>
                <c:pt idx="11">
                  <c:v>17.0899635883115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42.06</c:v>
                </c:pt>
                <c:pt idx="4">
                  <c:v>Av Price/Unit 29.28</c:v>
                </c:pt>
                <c:pt idx="5">
                  <c:v>Av Price/Unit 37.08</c:v>
                </c:pt>
                <c:pt idx="6">
                  <c:v>Av Price/Unit 30.11</c:v>
                </c:pt>
                <c:pt idx="7">
                  <c:v>Av Price/Unit 29.03</c:v>
                </c:pt>
                <c:pt idx="8">
                  <c:v>Av Price/Unit 45.41</c:v>
                </c:pt>
                <c:pt idx="9">
                  <c:v>Av Price/Unit 57.42</c:v>
                </c:pt>
                <c:pt idx="10">
                  <c:v>Av Price/Unit 60.29</c:v>
                </c:pt>
                <c:pt idx="11">
                  <c:v>Av Price/Unit 37.34</c:v>
                </c:pt>
              </c:strCache>
            </c:strRef>
          </c:cat>
          <c:val>
            <c:numRef>
              <c:f>Sheet1!$D$2:$D$13</c:f>
              <c:numCache>
                <c:formatCode>General</c:formatCode>
                <c:ptCount val="12"/>
                <c:pt idx="0">
                  <c:v>-0.9845640554904236</c:v>
                </c:pt>
                <c:pt idx="1">
                  <c:v>0.7539729848935082</c:v>
                </c:pt>
                <c:pt idx="2">
                  <c:v>0.22778533116375144</c:v>
                </c:pt>
                <c:pt idx="3">
                  <c:v>-0.1061395328744652</c:v>
                </c:pt>
                <c:pt idx="4">
                  <c:v>-0.9781202743206947</c:v>
                </c:pt>
                <c:pt idx="5">
                  <c:v>-0.2258282636019011</c:v>
                </c:pt>
                <c:pt idx="6">
                  <c:v>-0.4507038716740439</c:v>
                </c:pt>
                <c:pt idx="7">
                  <c:v>-0.8161381367663374</c:v>
                </c:pt>
                <c:pt idx="8">
                  <c:v>0.49963741167074716</c:v>
                </c:pt>
                <c:pt idx="9">
                  <c:v>0.7476233650372421</c:v>
                </c:pt>
                <c:pt idx="10">
                  <c:v>0.9003424244875973</c:v>
                </c:pt>
                <c:pt idx="11">
                  <c:v>0.801180931484989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2</c:v>
                </c:pt>
                <c:pt idx="2">
                  <c:v>Av Price/Unit 46.07</c:v>
                </c:pt>
                <c:pt idx="3">
                  <c:v>Av Price/Unit 42.06</c:v>
                </c:pt>
                <c:pt idx="4">
                  <c:v>Av Price/Unit 29.28</c:v>
                </c:pt>
                <c:pt idx="5">
                  <c:v>Av Price/Unit 37.08</c:v>
                </c:pt>
                <c:pt idx="6">
                  <c:v>Av Price/Unit 30.11</c:v>
                </c:pt>
                <c:pt idx="7">
                  <c:v>Av Price/Unit 29.03</c:v>
                </c:pt>
                <c:pt idx="8">
                  <c:v>Av Price/Unit 45.41</c:v>
                </c:pt>
                <c:pt idx="9">
                  <c:v>Av Price/Unit 57.42</c:v>
                </c:pt>
                <c:pt idx="10">
                  <c:v>Av Price/Unit 60.29</c:v>
                </c:pt>
                <c:pt idx="11">
                  <c:v>Av Price/Unit 37.34</c:v>
                </c:pt>
              </c:strCache>
            </c:strRef>
          </c:cat>
          <c:val>
            <c:numRef>
              <c:f>Sheet1!$E$2:$E$13</c:f>
              <c:numCache>
                <c:formatCode>General</c:formatCode>
                <c:ptCount val="12"/>
                <c:pt idx="0">
                  <c:v>9.010918327471664</c:v>
                </c:pt>
                <c:pt idx="1">
                  <c:v>3.552903838075828</c:v>
                </c:pt>
                <c:pt idx="2">
                  <c:v>7.678679764559348</c:v>
                </c:pt>
                <c:pt idx="3">
                  <c:v>7.010166172277741</c:v>
                </c:pt>
                <c:pt idx="4">
                  <c:v>4.879433669565702</c:v>
                </c:pt>
                <c:pt idx="5">
                  <c:v>6.1799694327974</c:v>
                </c:pt>
                <c:pt idx="6">
                  <c:v>5.017782854966918</c:v>
                </c:pt>
                <c:pt idx="7">
                  <c:v>4.838853128460687</c:v>
                </c:pt>
                <c:pt idx="8">
                  <c:v>7.569057416184867</c:v>
                </c:pt>
                <c:pt idx="9">
                  <c:v>9.570264690702638</c:v>
                </c:pt>
                <c:pt idx="10">
                  <c:v>10.048125674217902</c:v>
                </c:pt>
                <c:pt idx="11">
                  <c:v>6.22397028024334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29.24</c:v>
                </c:pt>
                <c:pt idx="4">
                  <c:v>Av Price/Unit 37.61</c:v>
                </c:pt>
                <c:pt idx="5">
                  <c:v>Av Price/Unit 30.34</c:v>
                </c:pt>
                <c:pt idx="6">
                  <c:v>Av Price/Unit 29.63</c:v>
                </c:pt>
                <c:pt idx="7">
                  <c:v>Av Price/Unit 41.95</c:v>
                </c:pt>
                <c:pt idx="8">
                  <c:v>Av Price/Unit 45.77</c:v>
                </c:pt>
                <c:pt idx="9">
                  <c:v>Av Price/Unit 60.28</c:v>
                </c:pt>
                <c:pt idx="10">
                  <c:v>Av Price/Unit 57.77</c:v>
                </c:pt>
                <c:pt idx="11">
                  <c:v>Av Price/Unit 93.90</c:v>
                </c:pt>
              </c:strCache>
            </c:strRef>
          </c:cat>
          <c:val>
            <c:numRef>
              <c:f>Sheet1!$B$2:$B$13</c:f>
              <c:numCache>
                <c:formatCode>General</c:formatCode>
                <c:ptCount val="12"/>
                <c:pt idx="0">
                  <c:v>18.170999103554866</c:v>
                </c:pt>
                <c:pt idx="1">
                  <c:v>15.821081786542925</c:v>
                </c:pt>
                <c:pt idx="2">
                  <c:v>3.614221763445979</c:v>
                </c:pt>
                <c:pt idx="3">
                  <c:v>10.135968718067813</c:v>
                </c:pt>
                <c:pt idx="4">
                  <c:v>12.792391918832324</c:v>
                </c:pt>
                <c:pt idx="5">
                  <c:v>11.446920696791993</c:v>
                </c:pt>
                <c:pt idx="6">
                  <c:v>11.068651501668521</c:v>
                </c:pt>
                <c:pt idx="7">
                  <c:v>14.80851888111888</c:v>
                </c:pt>
                <c:pt idx="8">
                  <c:v>15.081852920962197</c:v>
                </c:pt>
                <c:pt idx="9">
                  <c:v>20.160048686244206</c:v>
                </c:pt>
                <c:pt idx="10">
                  <c:v>19.54606939721793</c:v>
                </c:pt>
                <c:pt idx="11">
                  <c:v>31.3430859649122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29.24</c:v>
                </c:pt>
                <c:pt idx="4">
                  <c:v>Av Price/Unit 37.61</c:v>
                </c:pt>
                <c:pt idx="5">
                  <c:v>Av Price/Unit 30.34</c:v>
                </c:pt>
                <c:pt idx="6">
                  <c:v>Av Price/Unit 29.63</c:v>
                </c:pt>
                <c:pt idx="7">
                  <c:v>Av Price/Unit 41.95</c:v>
                </c:pt>
                <c:pt idx="8">
                  <c:v>Av Price/Unit 45.77</c:v>
                </c:pt>
                <c:pt idx="9">
                  <c:v>Av Price/Unit 60.28</c:v>
                </c:pt>
                <c:pt idx="10">
                  <c:v>Av Price/Unit 57.77</c:v>
                </c:pt>
                <c:pt idx="11">
                  <c:v>Av Price/Unit 93.90</c:v>
                </c:pt>
              </c:strCache>
            </c:strRef>
          </c:cat>
          <c:val>
            <c:numRef>
              <c:f>Sheet1!$C$2:$C$13</c:f>
              <c:numCache>
                <c:formatCode>General</c:formatCode>
                <c:ptCount val="12"/>
                <c:pt idx="0">
                  <c:v>27.90478024729521</c:v>
                </c:pt>
                <c:pt idx="1">
                  <c:v>22.315768445475637</c:v>
                </c:pt>
                <c:pt idx="2">
                  <c:v>13.387728367444076</c:v>
                </c:pt>
                <c:pt idx="3">
                  <c:v>15.225952415234557</c:v>
                </c:pt>
                <c:pt idx="4">
                  <c:v>18.341444784620858</c:v>
                </c:pt>
                <c:pt idx="5">
                  <c:v>14.100514694722317</c:v>
                </c:pt>
                <c:pt idx="6">
                  <c:v>13.81634849833148</c:v>
                </c:pt>
                <c:pt idx="7">
                  <c:v>20.57426874663798</c:v>
                </c:pt>
                <c:pt idx="8">
                  <c:v>22.294342268041238</c:v>
                </c:pt>
                <c:pt idx="9">
                  <c:v>29.21551545595055</c:v>
                </c:pt>
                <c:pt idx="10">
                  <c:v>27.622695672333847</c:v>
                </c:pt>
                <c:pt idx="11">
                  <c:v>45.13301100478468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29.24</c:v>
                </c:pt>
                <c:pt idx="4">
                  <c:v>Av Price/Unit 37.61</c:v>
                </c:pt>
                <c:pt idx="5">
                  <c:v>Av Price/Unit 30.34</c:v>
                </c:pt>
                <c:pt idx="6">
                  <c:v>Av Price/Unit 29.63</c:v>
                </c:pt>
                <c:pt idx="7">
                  <c:v>Av Price/Unit 41.95</c:v>
                </c:pt>
                <c:pt idx="8">
                  <c:v>Av Price/Unit 45.77</c:v>
                </c:pt>
                <c:pt idx="9">
                  <c:v>Av Price/Unit 60.28</c:v>
                </c:pt>
                <c:pt idx="10">
                  <c:v>Av Price/Unit 57.77</c:v>
                </c:pt>
                <c:pt idx="11">
                  <c:v>Av Price/Unit 93.90</c:v>
                </c:pt>
              </c:strCache>
            </c:strRef>
          </c:cat>
          <c:val>
            <c:numRef>
              <c:f>Sheet1!$D$2:$D$13</c:f>
              <c:numCache>
                <c:formatCode>General</c:formatCode>
                <c:ptCount val="12"/>
                <c:pt idx="0">
                  <c:v>-1.161278923235443</c:v>
                </c:pt>
                <c:pt idx="1">
                  <c:v>0.24233820572312226</c:v>
                </c:pt>
                <c:pt idx="2">
                  <c:v>0.7952297834364543</c:v>
                </c:pt>
                <c:pt idx="3">
                  <c:v>-0.9990166589255303</c:v>
                </c:pt>
                <c:pt idx="4">
                  <c:v>0.2056079387682388</c:v>
                </c:pt>
                <c:pt idx="5">
                  <c:v>-0.26314195699666953</c:v>
                </c:pt>
                <c:pt idx="6">
                  <c:v>-0.19367630700778804</c:v>
                </c:pt>
                <c:pt idx="7">
                  <c:v>-0.4235801685493996</c:v>
                </c:pt>
                <c:pt idx="8">
                  <c:v>0.7681347079037835</c:v>
                </c:pt>
                <c:pt idx="9">
                  <c:v>0.8562751159196367</c:v>
                </c:pt>
                <c:pt idx="10">
                  <c:v>0.9765010819165454</c:v>
                </c:pt>
                <c:pt idx="11">
                  <c:v>1.773504306220104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0</c:v>
                </c:pt>
                <c:pt idx="1">
                  <c:v>Av Price/Unit 46.05</c:v>
                </c:pt>
                <c:pt idx="2">
                  <c:v>Av Price/Unit 21.36</c:v>
                </c:pt>
                <c:pt idx="3">
                  <c:v>Av Price/Unit 29.24</c:v>
                </c:pt>
                <c:pt idx="4">
                  <c:v>Av Price/Unit 37.61</c:v>
                </c:pt>
                <c:pt idx="5">
                  <c:v>Av Price/Unit 30.34</c:v>
                </c:pt>
                <c:pt idx="6">
                  <c:v>Av Price/Unit 29.63</c:v>
                </c:pt>
                <c:pt idx="7">
                  <c:v>Av Price/Unit 41.95</c:v>
                </c:pt>
                <c:pt idx="8">
                  <c:v>Av Price/Unit 45.77</c:v>
                </c:pt>
                <c:pt idx="9">
                  <c:v>Av Price/Unit 60.28</c:v>
                </c:pt>
                <c:pt idx="10">
                  <c:v>Av Price/Unit 57.77</c:v>
                </c:pt>
                <c:pt idx="11">
                  <c:v>Av Price/Unit 93.90</c:v>
                </c:pt>
              </c:strCache>
            </c:strRef>
          </c:cat>
          <c:val>
            <c:numRef>
              <c:f>Sheet1!$E$2:$E$13</c:f>
              <c:numCache>
                <c:formatCode>General</c:formatCode>
                <c:ptCount val="12"/>
                <c:pt idx="0">
                  <c:v>8.98289541473467</c:v>
                </c:pt>
                <c:pt idx="1">
                  <c:v>7.6758313998453165</c:v>
                </c:pt>
                <c:pt idx="2">
                  <c:v>3.559435982865302</c:v>
                </c:pt>
                <c:pt idx="3">
                  <c:v>4.87258089487537</c:v>
                </c:pt>
                <c:pt idx="4">
                  <c:v>6.267888928444286</c:v>
                </c:pt>
                <c:pt idx="5">
                  <c:v>5.056858686903528</c:v>
                </c:pt>
                <c:pt idx="6">
                  <c:v>4.938264738598443</c:v>
                </c:pt>
                <c:pt idx="7">
                  <c:v>6.991841491841489</c:v>
                </c:pt>
                <c:pt idx="8">
                  <c:v>7.628865979381444</c:v>
                </c:pt>
                <c:pt idx="9">
                  <c:v>10.046367851622875</c:v>
                </c:pt>
                <c:pt idx="10">
                  <c:v>9.629057187016995</c:v>
                </c:pt>
                <c:pt idx="11">
                  <c:v>15.6499202551834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224AD3E-E9D6-4074-ADA1-0F3DBE531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BDEB001-4C7F-4A75-814B-5A31885F9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0CE58BA-A857-41C4-8B1B-BAA622D9F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B87D814-B1D8-40DB-B6B7-1C9525A74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00043C3-0FA3-4AED-914F-71520E9E7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77CF06E-2D0B-468B-84A0-0BE6E606DB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C7C3FE4-C2CD-4422-97DF-1C9FC80E8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A1F40BD-133B-480E-BF3D-0716F236D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7706</c:v>
                </c:pt>
                <c:pt idx="1">
                  <c:v>24.6859</c:v>
                </c:pt>
                <c:pt idx="2">
                  <c:v>22.7262</c:v>
                </c:pt>
                <c:pt idx="3">
                  <c:v>23.499</c:v>
                </c:pt>
                <c:pt idx="4">
                  <c:v>21.4978</c:v>
                </c:pt>
              </c:numCache>
            </c:numRef>
          </c:xVal>
          <c:yVal>
            <c:numRef>
              <c:f>Sheet1!$B$2:$B$6</c:f>
              <c:numCache>
                <c:formatCode>General</c:formatCode>
                <c:ptCount val="5"/>
                <c:pt idx="0">
                  <c:v>0.5316</c:v>
                </c:pt>
                <c:pt idx="1">
                  <c:v>0.5313</c:v>
                </c:pt>
                <c:pt idx="2">
                  <c:v>0.523</c:v>
                </c:pt>
                <c:pt idx="3">
                  <c:v>0.5324</c:v>
                </c:pt>
                <c:pt idx="4">
                  <c:v>0.518</c:v>
                </c:pt>
              </c:numCache>
            </c:numRef>
          </c:yVal>
          <c:bubbleSize>
            <c:numRef>
              <c:f>Sheet1!$C$2:$C$6</c:f>
              <c:numCache>
                <c:formatCode>General</c:formatCode>
                <c:ptCount val="5"/>
                <c:pt idx="0">
                  <c:v>385875.9147</c:v>
                </c:pt>
                <c:pt idx="1">
                  <c:v>43052.16360000001</c:v>
                </c:pt>
                <c:pt idx="2">
                  <c:v>10749.4829</c:v>
                </c:pt>
                <c:pt idx="3">
                  <c:v>32052.593100000002</c:v>
                </c:pt>
                <c:pt idx="4">
                  <c:v>16746.81270000000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9.72472"/>
          <c:min val="17.19824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30970541906718"/>
        <c:crossBetween val="midCat"/>
      </c:valAx>
      <c:valAx>
        <c:axId val="1011451359"/>
        <c:scaling>
          <c:orientation val="minMax"/>
          <c:max val="0.99888"/>
          <c:min val="0.17440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4.52250271952331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9</c:v>
                </c:pt>
                <c:pt idx="1">
                  <c:v>Av Price/Unit 20.79</c:v>
                </c:pt>
                <c:pt idx="2">
                  <c:v>Av Price/Unit 45.75</c:v>
                </c:pt>
                <c:pt idx="3">
                  <c:v>Av Price/Unit 37.34</c:v>
                </c:pt>
                <c:pt idx="4">
                  <c:v>Av Price/Unit 56.56</c:v>
                </c:pt>
                <c:pt idx="5">
                  <c:v>Av Price/Unit 30.60</c:v>
                </c:pt>
                <c:pt idx="6">
                  <c:v>Av Price/Unit 41.58</c:v>
                </c:pt>
                <c:pt idx="7">
                  <c:v>Av Price/Unit 29.41</c:v>
                </c:pt>
                <c:pt idx="8">
                  <c:v>Av Price/Unit 29.66</c:v>
                </c:pt>
                <c:pt idx="9">
                  <c:v>Av Price/Unit 59.68</c:v>
                </c:pt>
                <c:pt idx="10">
                  <c:v>Av Price/Unit 27.23</c:v>
                </c:pt>
                <c:pt idx="11">
                  <c:v>Av Price/Unit 44.69</c:v>
                </c:pt>
              </c:strCache>
            </c:strRef>
          </c:cat>
          <c:val>
            <c:numRef>
              <c:f>Sheet1!$B$2:$B$13</c:f>
              <c:numCache>
                <c:formatCode>General</c:formatCode>
                <c:ptCount val="12"/>
                <c:pt idx="0">
                  <c:v>18.17349279731993</c:v>
                </c:pt>
                <c:pt idx="1">
                  <c:v>3.6024420990566037</c:v>
                </c:pt>
                <c:pt idx="2">
                  <c:v>15.818157495741055</c:v>
                </c:pt>
                <c:pt idx="3">
                  <c:v>12.780187398005438</c:v>
                </c:pt>
                <c:pt idx="4">
                  <c:v>19.607055254237288</c:v>
                </c:pt>
                <c:pt idx="5">
                  <c:v>11.45042534562212</c:v>
                </c:pt>
                <c:pt idx="6">
                  <c:v>14.899060617760618</c:v>
                </c:pt>
                <c:pt idx="7">
                  <c:v>10.160912136929463</c:v>
                </c:pt>
                <c:pt idx="8">
                  <c:v>11.063818855218855</c:v>
                </c:pt>
                <c:pt idx="9">
                  <c:v>20.22902350230415</c:v>
                </c:pt>
                <c:pt idx="10">
                  <c:v>10.115975709001233</c:v>
                </c:pt>
                <c:pt idx="11">
                  <c:v>15.0806079207920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9</c:v>
                </c:pt>
                <c:pt idx="1">
                  <c:v>Av Price/Unit 20.79</c:v>
                </c:pt>
                <c:pt idx="2">
                  <c:v>Av Price/Unit 45.75</c:v>
                </c:pt>
                <c:pt idx="3">
                  <c:v>Av Price/Unit 37.34</c:v>
                </c:pt>
                <c:pt idx="4">
                  <c:v>Av Price/Unit 56.56</c:v>
                </c:pt>
                <c:pt idx="5">
                  <c:v>Av Price/Unit 30.60</c:v>
                </c:pt>
                <c:pt idx="6">
                  <c:v>Av Price/Unit 41.58</c:v>
                </c:pt>
                <c:pt idx="7">
                  <c:v>Av Price/Unit 29.41</c:v>
                </c:pt>
                <c:pt idx="8">
                  <c:v>Av Price/Unit 29.66</c:v>
                </c:pt>
                <c:pt idx="9">
                  <c:v>Av Price/Unit 59.68</c:v>
                </c:pt>
                <c:pt idx="10">
                  <c:v>Av Price/Unit 27.23</c:v>
                </c:pt>
                <c:pt idx="11">
                  <c:v>Av Price/Unit 44.69</c:v>
                </c:pt>
              </c:strCache>
            </c:strRef>
          </c:cat>
          <c:val>
            <c:numRef>
              <c:f>Sheet1!$C$2:$C$13</c:f>
              <c:numCache>
                <c:formatCode>General</c:formatCode>
                <c:ptCount val="12"/>
                <c:pt idx="0">
                  <c:v>27.89703433835846</c:v>
                </c:pt>
                <c:pt idx="1">
                  <c:v>13.406308490566039</c:v>
                </c:pt>
                <c:pt idx="2">
                  <c:v>22.315924020442928</c:v>
                </c:pt>
                <c:pt idx="3">
                  <c:v>18.345461196736174</c:v>
                </c:pt>
                <c:pt idx="4">
                  <c:v>27.636342711864405</c:v>
                </c:pt>
                <c:pt idx="5">
                  <c:v>14.104213364055301</c:v>
                </c:pt>
                <c:pt idx="6">
                  <c:v>20.577680952380955</c:v>
                </c:pt>
                <c:pt idx="7">
                  <c:v>15.196597821576766</c:v>
                </c:pt>
                <c:pt idx="8">
                  <c:v>13.810134343434344</c:v>
                </c:pt>
                <c:pt idx="9">
                  <c:v>29.233625345622116</c:v>
                </c:pt>
                <c:pt idx="10">
                  <c:v>14.130702836004934</c:v>
                </c:pt>
                <c:pt idx="11">
                  <c:v>22.2782356435643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9</c:v>
                </c:pt>
                <c:pt idx="1">
                  <c:v>Av Price/Unit 20.79</c:v>
                </c:pt>
                <c:pt idx="2">
                  <c:v>Av Price/Unit 45.75</c:v>
                </c:pt>
                <c:pt idx="3">
                  <c:v>Av Price/Unit 37.34</c:v>
                </c:pt>
                <c:pt idx="4">
                  <c:v>Av Price/Unit 56.56</c:v>
                </c:pt>
                <c:pt idx="5">
                  <c:v>Av Price/Unit 30.60</c:v>
                </c:pt>
                <c:pt idx="6">
                  <c:v>Av Price/Unit 41.58</c:v>
                </c:pt>
                <c:pt idx="7">
                  <c:v>Av Price/Unit 29.41</c:v>
                </c:pt>
                <c:pt idx="8">
                  <c:v>Av Price/Unit 29.66</c:v>
                </c:pt>
                <c:pt idx="9">
                  <c:v>Av Price/Unit 59.68</c:v>
                </c:pt>
                <c:pt idx="10">
                  <c:v>Av Price/Unit 27.23</c:v>
                </c:pt>
                <c:pt idx="11">
                  <c:v>Av Price/Unit 44.69</c:v>
                </c:pt>
              </c:strCache>
            </c:strRef>
          </c:cat>
          <c:val>
            <c:numRef>
              <c:f>Sheet1!$D$2:$D$13</c:f>
              <c:numCache>
                <c:formatCode>General</c:formatCode>
                <c:ptCount val="12"/>
                <c:pt idx="0">
                  <c:v>-0.9961731993299665</c:v>
                </c:pt>
                <c:pt idx="1">
                  <c:v>0.31894857180293457</c:v>
                </c:pt>
                <c:pt idx="2">
                  <c:v>-0.008695684270307424</c:v>
                </c:pt>
                <c:pt idx="3">
                  <c:v>-0.009752553641583006</c:v>
                </c:pt>
                <c:pt idx="4">
                  <c:v>-0.10783491525424438</c:v>
                </c:pt>
                <c:pt idx="5">
                  <c:v>-0.05156651305683724</c:v>
                </c:pt>
                <c:pt idx="6">
                  <c:v>-0.8242319176319199</c:v>
                </c:pt>
                <c:pt idx="7">
                  <c:v>-0.8493840940525565</c:v>
                </c:pt>
                <c:pt idx="8">
                  <c:v>-0.16014848484848443</c:v>
                </c:pt>
                <c:pt idx="9">
                  <c:v>0.2704540706605201</c:v>
                </c:pt>
                <c:pt idx="10">
                  <c:v>-1.5514463214138914</c:v>
                </c:pt>
                <c:pt idx="11">
                  <c:v>-0.1179194719471894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9</c:v>
                </c:pt>
                <c:pt idx="1">
                  <c:v>Av Price/Unit 20.79</c:v>
                </c:pt>
                <c:pt idx="2">
                  <c:v>Av Price/Unit 45.75</c:v>
                </c:pt>
                <c:pt idx="3">
                  <c:v>Av Price/Unit 37.34</c:v>
                </c:pt>
                <c:pt idx="4">
                  <c:v>Av Price/Unit 56.56</c:v>
                </c:pt>
                <c:pt idx="5">
                  <c:v>Av Price/Unit 30.60</c:v>
                </c:pt>
                <c:pt idx="6">
                  <c:v>Av Price/Unit 41.58</c:v>
                </c:pt>
                <c:pt idx="7">
                  <c:v>Av Price/Unit 29.41</c:v>
                </c:pt>
                <c:pt idx="8">
                  <c:v>Av Price/Unit 29.66</c:v>
                </c:pt>
                <c:pt idx="9">
                  <c:v>Av Price/Unit 59.68</c:v>
                </c:pt>
                <c:pt idx="10">
                  <c:v>Av Price/Unit 27.23</c:v>
                </c:pt>
                <c:pt idx="11">
                  <c:v>Av Price/Unit 44.69</c:v>
                </c:pt>
              </c:strCache>
            </c:strRef>
          </c:cat>
          <c:val>
            <c:numRef>
              <c:f>Sheet1!$E$2:$E$13</c:f>
              <c:numCache>
                <c:formatCode>General</c:formatCode>
                <c:ptCount val="12"/>
                <c:pt idx="0">
                  <c:v>9.01486599664991</c:v>
                </c:pt>
                <c:pt idx="1">
                  <c:v>3.4655398322851134</c:v>
                </c:pt>
                <c:pt idx="2">
                  <c:v>7.625070982396368</c:v>
                </c:pt>
                <c:pt idx="3">
                  <c:v>6.223179208220004</c:v>
                </c:pt>
                <c:pt idx="4">
                  <c:v>9.427118644067797</c:v>
                </c:pt>
                <c:pt idx="5">
                  <c:v>5.100614439324114</c:v>
                </c:pt>
                <c:pt idx="6">
                  <c:v>6.93050193050193</c:v>
                </c:pt>
                <c:pt idx="7">
                  <c:v>4.90162517289073</c:v>
                </c:pt>
                <c:pt idx="8">
                  <c:v>4.9427609427609385</c:v>
                </c:pt>
                <c:pt idx="9">
                  <c:v>9.946620583717355</c:v>
                </c:pt>
                <c:pt idx="10">
                  <c:v>4.539046444718451</c:v>
                </c:pt>
                <c:pt idx="11">
                  <c:v>7.44818481848184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30.06</c:v>
                </c:pt>
                <c:pt idx="5">
                  <c:v>Av Price/Unit 37.81</c:v>
                </c:pt>
                <c:pt idx="6">
                  <c:v>Av Price/Unit 29.20</c:v>
                </c:pt>
                <c:pt idx="7">
                  <c:v>Av Price/Unit 37.61</c:v>
                </c:pt>
                <c:pt idx="8">
                  <c:v>Av Price/Unit 42.95</c:v>
                </c:pt>
                <c:pt idx="9">
                  <c:v>Av Price/Unit 37.59</c:v>
                </c:pt>
                <c:pt idx="10">
                  <c:v>Av Price/Unit 57.71</c:v>
                </c:pt>
                <c:pt idx="11">
                  <c:v>Av Price/Unit 95.34</c:v>
                </c:pt>
              </c:strCache>
            </c:strRef>
          </c:cat>
          <c:val>
            <c:numRef>
              <c:f>Sheet1!$B$2:$B$13</c:f>
              <c:numCache>
                <c:formatCode>General</c:formatCode>
                <c:ptCount val="12"/>
                <c:pt idx="0">
                  <c:v>18.173534562211984</c:v>
                </c:pt>
                <c:pt idx="1">
                  <c:v>3.6190399051403666</c:v>
                </c:pt>
                <c:pt idx="2">
                  <c:v>15.816964188297405</c:v>
                </c:pt>
                <c:pt idx="3">
                  <c:v>10.099752058729653</c:v>
                </c:pt>
                <c:pt idx="4">
                  <c:v>11.449155678670358</c:v>
                </c:pt>
                <c:pt idx="5">
                  <c:v>12.786316457142858</c:v>
                </c:pt>
                <c:pt idx="6">
                  <c:v>11.05539466271312</c:v>
                </c:pt>
                <c:pt idx="7">
                  <c:v>13.252699679144387</c:v>
                </c:pt>
                <c:pt idx="8">
                  <c:v>14.729412499999999</c:v>
                </c:pt>
                <c:pt idx="9">
                  <c:v>13.231143134872417</c:v>
                </c:pt>
                <c:pt idx="10">
                  <c:v>19.663445454545453</c:v>
                </c:pt>
                <c:pt idx="11">
                  <c:v>31.32779276729559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30.06</c:v>
                </c:pt>
                <c:pt idx="5">
                  <c:v>Av Price/Unit 37.81</c:v>
                </c:pt>
                <c:pt idx="6">
                  <c:v>Av Price/Unit 29.20</c:v>
                </c:pt>
                <c:pt idx="7">
                  <c:v>Av Price/Unit 37.61</c:v>
                </c:pt>
                <c:pt idx="8">
                  <c:v>Av Price/Unit 42.95</c:v>
                </c:pt>
                <c:pt idx="9">
                  <c:v>Av Price/Unit 37.59</c:v>
                </c:pt>
                <c:pt idx="10">
                  <c:v>Av Price/Unit 57.71</c:v>
                </c:pt>
                <c:pt idx="11">
                  <c:v>Av Price/Unit 95.34</c:v>
                </c:pt>
              </c:strCache>
            </c:strRef>
          </c:cat>
          <c:val>
            <c:numRef>
              <c:f>Sheet1!$C$2:$C$13</c:f>
              <c:numCache>
                <c:formatCode>General</c:formatCode>
                <c:ptCount val="12"/>
                <c:pt idx="0">
                  <c:v>27.896904608294932</c:v>
                </c:pt>
                <c:pt idx="1">
                  <c:v>13.380128688629663</c:v>
                </c:pt>
                <c:pt idx="2">
                  <c:v>22.315987505499336</c:v>
                </c:pt>
                <c:pt idx="3">
                  <c:v>15.268573890839447</c:v>
                </c:pt>
                <c:pt idx="4">
                  <c:v>14.102873407202217</c:v>
                </c:pt>
                <c:pt idx="5">
                  <c:v>18.343444171428573</c:v>
                </c:pt>
                <c:pt idx="6">
                  <c:v>13.799301927353596</c:v>
                </c:pt>
                <c:pt idx="7">
                  <c:v>17.095252085561494</c:v>
                </c:pt>
                <c:pt idx="8">
                  <c:v>20.571287500000004</c:v>
                </c:pt>
                <c:pt idx="9">
                  <c:v>17.38173426488457</c:v>
                </c:pt>
                <c:pt idx="10">
                  <c:v>27.64896136363637</c:v>
                </c:pt>
                <c:pt idx="11">
                  <c:v>45.0462754716981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30.06</c:v>
                </c:pt>
                <c:pt idx="5">
                  <c:v>Av Price/Unit 37.81</c:v>
                </c:pt>
                <c:pt idx="6">
                  <c:v>Av Price/Unit 29.20</c:v>
                </c:pt>
                <c:pt idx="7">
                  <c:v>Av Price/Unit 37.61</c:v>
                </c:pt>
                <c:pt idx="8">
                  <c:v>Av Price/Unit 42.95</c:v>
                </c:pt>
                <c:pt idx="9">
                  <c:v>Av Price/Unit 37.59</c:v>
                </c:pt>
                <c:pt idx="10">
                  <c:v>Av Price/Unit 57.71</c:v>
                </c:pt>
                <c:pt idx="11">
                  <c:v>Av Price/Unit 95.34</c:v>
                </c:pt>
              </c:strCache>
            </c:strRef>
          </c:cat>
          <c:val>
            <c:numRef>
              <c:f>Sheet1!$D$2:$D$13</c:f>
              <c:numCache>
                <c:formatCode>General</c:formatCode>
                <c:ptCount val="12"/>
                <c:pt idx="0">
                  <c:v>-1.003594930875579</c:v>
                </c:pt>
                <c:pt idx="1">
                  <c:v>0.5957978635217707</c:v>
                </c:pt>
                <c:pt idx="2">
                  <c:v>0.33532949112773025</c:v>
                </c:pt>
                <c:pt idx="3">
                  <c:v>-1.152451920417061</c:v>
                </c:pt>
                <c:pt idx="4">
                  <c:v>-0.5023984302862416</c:v>
                </c:pt>
                <c:pt idx="5">
                  <c:v>0.38262032380952604</c:v>
                </c:pt>
                <c:pt idx="6">
                  <c:v>-0.5200042253521033</c:v>
                </c:pt>
                <c:pt idx="7">
                  <c:v>0.9934029590017879</c:v>
                </c:pt>
                <c:pt idx="8">
                  <c:v>0.48719893617021626</c:v>
                </c:pt>
                <c:pt idx="9">
                  <c:v>0.710532887808828</c:v>
                </c:pt>
                <c:pt idx="10">
                  <c:v>0.780987752525256</c:v>
                </c:pt>
                <c:pt idx="11">
                  <c:v>3.072996750524126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8</c:v>
                </c:pt>
                <c:pt idx="1">
                  <c:v>Av Price/Unit 21.11</c:v>
                </c:pt>
                <c:pt idx="2">
                  <c:v>Av Price/Unit 46.16</c:v>
                </c:pt>
                <c:pt idx="3">
                  <c:v>Av Price/Unit 29.06</c:v>
                </c:pt>
                <c:pt idx="4">
                  <c:v>Av Price/Unit 30.06</c:v>
                </c:pt>
                <c:pt idx="5">
                  <c:v>Av Price/Unit 37.81</c:v>
                </c:pt>
                <c:pt idx="6">
                  <c:v>Av Price/Unit 29.20</c:v>
                </c:pt>
                <c:pt idx="7">
                  <c:v>Av Price/Unit 37.61</c:v>
                </c:pt>
                <c:pt idx="8">
                  <c:v>Av Price/Unit 42.95</c:v>
                </c:pt>
                <c:pt idx="9">
                  <c:v>Av Price/Unit 37.59</c:v>
                </c:pt>
                <c:pt idx="10">
                  <c:v>Av Price/Unit 57.71</c:v>
                </c:pt>
                <c:pt idx="11">
                  <c:v>Av Price/Unit 95.34</c:v>
                </c:pt>
              </c:strCache>
            </c:strRef>
          </c:cat>
          <c:val>
            <c:numRef>
              <c:f>Sheet1!$E$2:$E$13</c:f>
              <c:numCache>
                <c:formatCode>General</c:formatCode>
                <c:ptCount val="12"/>
                <c:pt idx="0">
                  <c:v>9.013364055299538</c:v>
                </c:pt>
                <c:pt idx="1">
                  <c:v>3.518993291458359</c:v>
                </c:pt>
                <c:pt idx="2">
                  <c:v>7.693650095321891</c:v>
                </c:pt>
                <c:pt idx="3">
                  <c:v>4.8431748058304045</c:v>
                </c:pt>
                <c:pt idx="4">
                  <c:v>5.0099261311172665</c:v>
                </c:pt>
                <c:pt idx="5">
                  <c:v>6.302476190476192</c:v>
                </c:pt>
                <c:pt idx="6">
                  <c:v>4.866938472942915</c:v>
                </c:pt>
                <c:pt idx="7">
                  <c:v>6.2682709447415315</c:v>
                </c:pt>
                <c:pt idx="8">
                  <c:v>7.157579787234038</c:v>
                </c:pt>
                <c:pt idx="9">
                  <c:v>6.264682057513166</c:v>
                </c:pt>
                <c:pt idx="10">
                  <c:v>9.61868686868687</c:v>
                </c:pt>
                <c:pt idx="11">
                  <c:v>15.8894129979035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21.23</c:v>
                </c:pt>
                <c:pt idx="2">
                  <c:v>Av Price/Unit 46.03</c:v>
                </c:pt>
                <c:pt idx="3">
                  <c:v>Av Price/Unit 42.00</c:v>
                </c:pt>
                <c:pt idx="4">
                  <c:v>Av Price/Unit 29.23</c:v>
                </c:pt>
                <c:pt idx="5">
                  <c:v>Av Price/Unit 36.92</c:v>
                </c:pt>
                <c:pt idx="6">
                  <c:v>Av Price/Unit 45.35</c:v>
                </c:pt>
                <c:pt idx="7">
                  <c:v>Av Price/Unit 57.43</c:v>
                </c:pt>
                <c:pt idx="8">
                  <c:v>Av Price/Unit 29.81</c:v>
                </c:pt>
                <c:pt idx="9">
                  <c:v>Av Price/Unit 59.97</c:v>
                </c:pt>
                <c:pt idx="10">
                  <c:v>Av Price/Unit 28.79</c:v>
                </c:pt>
                <c:pt idx="11">
                  <c:v>Av Price/Unit 50.89</c:v>
                </c:pt>
              </c:strCache>
            </c:strRef>
          </c:cat>
          <c:val>
            <c:numRef>
              <c:f>Sheet1!$B$2:$B$13</c:f>
              <c:numCache>
                <c:formatCode>General</c:formatCode>
                <c:ptCount val="12"/>
                <c:pt idx="0">
                  <c:v>18.178025953066125</c:v>
                </c:pt>
                <c:pt idx="1">
                  <c:v>3.603543958853247</c:v>
                </c:pt>
                <c:pt idx="2">
                  <c:v>15.838642537625415</c:v>
                </c:pt>
                <c:pt idx="3">
                  <c:v>14.631131363729297</c:v>
                </c:pt>
                <c:pt idx="4">
                  <c:v>10.074950305531733</c:v>
                </c:pt>
                <c:pt idx="5">
                  <c:v>12.787890688420214</c:v>
                </c:pt>
                <c:pt idx="6">
                  <c:v>15.080779862585883</c:v>
                </c:pt>
                <c:pt idx="7">
                  <c:v>19.52155685279188</c:v>
                </c:pt>
                <c:pt idx="8">
                  <c:v>11.445225164690383</c:v>
                </c:pt>
                <c:pt idx="9">
                  <c:v>20.14757699579832</c:v>
                </c:pt>
                <c:pt idx="10">
                  <c:v>11.113741385369464</c:v>
                </c:pt>
                <c:pt idx="11">
                  <c:v>14.31676032210834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21.23</c:v>
                </c:pt>
                <c:pt idx="2">
                  <c:v>Av Price/Unit 46.03</c:v>
                </c:pt>
                <c:pt idx="3">
                  <c:v>Av Price/Unit 42.00</c:v>
                </c:pt>
                <c:pt idx="4">
                  <c:v>Av Price/Unit 29.23</c:v>
                </c:pt>
                <c:pt idx="5">
                  <c:v>Av Price/Unit 36.92</c:v>
                </c:pt>
                <c:pt idx="6">
                  <c:v>Av Price/Unit 45.35</c:v>
                </c:pt>
                <c:pt idx="7">
                  <c:v>Av Price/Unit 57.43</c:v>
                </c:pt>
                <c:pt idx="8">
                  <c:v>Av Price/Unit 29.81</c:v>
                </c:pt>
                <c:pt idx="9">
                  <c:v>Av Price/Unit 59.97</c:v>
                </c:pt>
                <c:pt idx="10">
                  <c:v>Av Price/Unit 28.79</c:v>
                </c:pt>
                <c:pt idx="11">
                  <c:v>Av Price/Unit 50.89</c:v>
                </c:pt>
              </c:strCache>
            </c:strRef>
          </c:cat>
          <c:val>
            <c:numRef>
              <c:f>Sheet1!$C$2:$C$13</c:f>
              <c:numCache>
                <c:formatCode>General</c:formatCode>
                <c:ptCount val="12"/>
                <c:pt idx="0">
                  <c:v>27.88295345477201</c:v>
                </c:pt>
                <c:pt idx="1">
                  <c:v>13.404570521638567</c:v>
                </c:pt>
                <c:pt idx="2">
                  <c:v>22.314834197324416</c:v>
                </c:pt>
                <c:pt idx="3">
                  <c:v>20.567583622980983</c:v>
                </c:pt>
                <c:pt idx="4">
                  <c:v>15.297761765651803</c:v>
                </c:pt>
                <c:pt idx="5">
                  <c:v>18.342926104257856</c:v>
                </c:pt>
                <c:pt idx="6">
                  <c:v>22.280460062460964</c:v>
                </c:pt>
                <c:pt idx="7">
                  <c:v>27.61721040609137</c:v>
                </c:pt>
                <c:pt idx="8">
                  <c:v>14.098725296442687</c:v>
                </c:pt>
                <c:pt idx="9">
                  <c:v>29.21224091386555</c:v>
                </c:pt>
                <c:pt idx="10">
                  <c:v>13.874328225284378</c:v>
                </c:pt>
                <c:pt idx="11">
                  <c:v>28.10767115666178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21.23</c:v>
                </c:pt>
                <c:pt idx="2">
                  <c:v>Av Price/Unit 46.03</c:v>
                </c:pt>
                <c:pt idx="3">
                  <c:v>Av Price/Unit 42.00</c:v>
                </c:pt>
                <c:pt idx="4">
                  <c:v>Av Price/Unit 29.23</c:v>
                </c:pt>
                <c:pt idx="5">
                  <c:v>Av Price/Unit 36.92</c:v>
                </c:pt>
                <c:pt idx="6">
                  <c:v>Av Price/Unit 45.35</c:v>
                </c:pt>
                <c:pt idx="7">
                  <c:v>Av Price/Unit 57.43</c:v>
                </c:pt>
                <c:pt idx="8">
                  <c:v>Av Price/Unit 29.81</c:v>
                </c:pt>
                <c:pt idx="9">
                  <c:v>Av Price/Unit 59.97</c:v>
                </c:pt>
                <c:pt idx="10">
                  <c:v>Av Price/Unit 28.79</c:v>
                </c:pt>
                <c:pt idx="11">
                  <c:v>Av Price/Unit 50.89</c:v>
                </c:pt>
              </c:strCache>
            </c:strRef>
          </c:cat>
          <c:val>
            <c:numRef>
              <c:f>Sheet1!$D$2:$D$13</c:f>
              <c:numCache>
                <c:formatCode>General</c:formatCode>
                <c:ptCount val="12"/>
                <c:pt idx="0">
                  <c:v>-1.1253079617487955</c:v>
                </c:pt>
                <c:pt idx="1">
                  <c:v>0.6826389974367792</c:v>
                </c:pt>
                <c:pt idx="2">
                  <c:v>0.20793602285395707</c:v>
                </c:pt>
                <c:pt idx="3">
                  <c:v>-0.19655682773347394</c:v>
                </c:pt>
                <c:pt idx="4">
                  <c:v>-1.0139266938250415</c:v>
                </c:pt>
                <c:pt idx="5">
                  <c:v>-0.36002491046557594</c:v>
                </c:pt>
                <c:pt idx="6">
                  <c:v>0.4319101894649222</c:v>
                </c:pt>
                <c:pt idx="7">
                  <c:v>0.7185299492385795</c:v>
                </c:pt>
                <c:pt idx="8">
                  <c:v>-0.7026387937344403</c:v>
                </c:pt>
                <c:pt idx="9">
                  <c:v>0.6134839110644279</c:v>
                </c:pt>
                <c:pt idx="10">
                  <c:v>-0.9940346527328181</c:v>
                </c:pt>
                <c:pt idx="11">
                  <c:v>-0.0186352855051268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3.92</c:v>
                </c:pt>
                <c:pt idx="1">
                  <c:v>Av Price/Unit 21.23</c:v>
                </c:pt>
                <c:pt idx="2">
                  <c:v>Av Price/Unit 46.03</c:v>
                </c:pt>
                <c:pt idx="3">
                  <c:v>Av Price/Unit 42.00</c:v>
                </c:pt>
                <c:pt idx="4">
                  <c:v>Av Price/Unit 29.23</c:v>
                </c:pt>
                <c:pt idx="5">
                  <c:v>Av Price/Unit 36.92</c:v>
                </c:pt>
                <c:pt idx="6">
                  <c:v>Av Price/Unit 45.35</c:v>
                </c:pt>
                <c:pt idx="7">
                  <c:v>Av Price/Unit 57.43</c:v>
                </c:pt>
                <c:pt idx="8">
                  <c:v>Av Price/Unit 29.81</c:v>
                </c:pt>
                <c:pt idx="9">
                  <c:v>Av Price/Unit 59.97</c:v>
                </c:pt>
                <c:pt idx="10">
                  <c:v>Av Price/Unit 28.79</c:v>
                </c:pt>
                <c:pt idx="11">
                  <c:v>Av Price/Unit 50.89</c:v>
                </c:pt>
              </c:strCache>
            </c:strRef>
          </c:cat>
          <c:val>
            <c:numRef>
              <c:f>Sheet1!$E$2:$E$13</c:f>
              <c:numCache>
                <c:formatCode>General</c:formatCode>
                <c:ptCount val="12"/>
                <c:pt idx="0">
                  <c:v>8.987129280762653</c:v>
                </c:pt>
                <c:pt idx="1">
                  <c:v>3.5381506955857174</c:v>
                </c:pt>
                <c:pt idx="2">
                  <c:v>7.672275641025639</c:v>
                </c:pt>
                <c:pt idx="3">
                  <c:v>7.000431631795355</c:v>
                </c:pt>
                <c:pt idx="4">
                  <c:v>4.871757075471695</c:v>
                </c:pt>
                <c:pt idx="5">
                  <c:v>6.154158376442499</c:v>
                </c:pt>
                <c:pt idx="6">
                  <c:v>7.55863002290235</c:v>
                </c:pt>
                <c:pt idx="7">
                  <c:v>9.571462563451776</c:v>
                </c:pt>
                <c:pt idx="8">
                  <c:v>4.968262333479721</c:v>
                </c:pt>
                <c:pt idx="9">
                  <c:v>9.994660364145659</c:v>
                </c:pt>
                <c:pt idx="10">
                  <c:v>4.798806991584199</c:v>
                </c:pt>
                <c:pt idx="11">
                  <c:v>8.4811493411420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41.84</c:v>
                </c:pt>
                <c:pt idx="4">
                  <c:v>Av Price/Unit 29.28</c:v>
                </c:pt>
                <c:pt idx="5">
                  <c:v>Av Price/Unit 36.99</c:v>
                </c:pt>
                <c:pt idx="6">
                  <c:v>Av Price/Unit 29.93</c:v>
                </c:pt>
                <c:pt idx="7">
                  <c:v>Av Price/Unit 28.98</c:v>
                </c:pt>
                <c:pt idx="8">
                  <c:v>Av Price/Unit 60.44</c:v>
                </c:pt>
                <c:pt idx="9">
                  <c:v>Av Price/Unit 45.62</c:v>
                </c:pt>
                <c:pt idx="10">
                  <c:v>Av Price/Unit 57.49</c:v>
                </c:pt>
                <c:pt idx="11">
                  <c:v>Av Price/Unit 37.43</c:v>
                </c:pt>
              </c:strCache>
            </c:strRef>
          </c:cat>
          <c:val>
            <c:numRef>
              <c:f>Sheet1!$B$2:$B$13</c:f>
              <c:numCache>
                <c:formatCode>General</c:formatCode>
                <c:ptCount val="12"/>
                <c:pt idx="0">
                  <c:v>18.187811118575745</c:v>
                </c:pt>
                <c:pt idx="1">
                  <c:v>3.602728967194838</c:v>
                </c:pt>
                <c:pt idx="2">
                  <c:v>15.860385651629073</c:v>
                </c:pt>
                <c:pt idx="3">
                  <c:v>14.70209677419355</c:v>
                </c:pt>
                <c:pt idx="4">
                  <c:v>10.041612713983458</c:v>
                </c:pt>
                <c:pt idx="5">
                  <c:v>12.780006652959319</c:v>
                </c:pt>
                <c:pt idx="6">
                  <c:v>11.443250158730159</c:v>
                </c:pt>
                <c:pt idx="7">
                  <c:v>11.12128888888889</c:v>
                </c:pt>
                <c:pt idx="8">
                  <c:v>20.121569736842105</c:v>
                </c:pt>
                <c:pt idx="9">
                  <c:v>15.079266648501362</c:v>
                </c:pt>
                <c:pt idx="10">
                  <c:v>19.49320408921933</c:v>
                </c:pt>
                <c:pt idx="11">
                  <c:v>13.22800640273704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41.84</c:v>
                </c:pt>
                <c:pt idx="4">
                  <c:v>Av Price/Unit 29.28</c:v>
                </c:pt>
                <c:pt idx="5">
                  <c:v>Av Price/Unit 36.99</c:v>
                </c:pt>
                <c:pt idx="6">
                  <c:v>Av Price/Unit 29.93</c:v>
                </c:pt>
                <c:pt idx="7">
                  <c:v>Av Price/Unit 28.98</c:v>
                </c:pt>
                <c:pt idx="8">
                  <c:v>Av Price/Unit 60.44</c:v>
                </c:pt>
                <c:pt idx="9">
                  <c:v>Av Price/Unit 45.62</c:v>
                </c:pt>
                <c:pt idx="10">
                  <c:v>Av Price/Unit 57.49</c:v>
                </c:pt>
                <c:pt idx="11">
                  <c:v>Av Price/Unit 37.43</c:v>
                </c:pt>
              </c:strCache>
            </c:strRef>
          </c:cat>
          <c:val>
            <c:numRef>
              <c:f>Sheet1!$C$2:$C$13</c:f>
              <c:numCache>
                <c:formatCode>General</c:formatCode>
                <c:ptCount val="12"/>
                <c:pt idx="0">
                  <c:v>27.852558784010746</c:v>
                </c:pt>
                <c:pt idx="1">
                  <c:v>13.405856012027433</c:v>
                </c:pt>
                <c:pt idx="2">
                  <c:v>22.313677443609023</c:v>
                </c:pt>
                <c:pt idx="3">
                  <c:v>20.57025806451613</c:v>
                </c:pt>
                <c:pt idx="4">
                  <c:v>15.336995018272741</c:v>
                </c:pt>
                <c:pt idx="5">
                  <c:v>18.34552067851373</c:v>
                </c:pt>
                <c:pt idx="6">
                  <c:v>14.096640952380952</c:v>
                </c:pt>
                <c:pt idx="7">
                  <c:v>13.884033333333333</c:v>
                </c:pt>
                <c:pt idx="8">
                  <c:v>29.205412500000005</c:v>
                </c:pt>
                <c:pt idx="9">
                  <c:v>22.260883542234332</c:v>
                </c:pt>
                <c:pt idx="10">
                  <c:v>27.61086579925651</c:v>
                </c:pt>
                <c:pt idx="11">
                  <c:v>17.08980918866079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41.84</c:v>
                </c:pt>
                <c:pt idx="4">
                  <c:v>Av Price/Unit 29.28</c:v>
                </c:pt>
                <c:pt idx="5">
                  <c:v>Av Price/Unit 36.99</c:v>
                </c:pt>
                <c:pt idx="6">
                  <c:v>Av Price/Unit 29.93</c:v>
                </c:pt>
                <c:pt idx="7">
                  <c:v>Av Price/Unit 28.98</c:v>
                </c:pt>
                <c:pt idx="8">
                  <c:v>Av Price/Unit 60.44</c:v>
                </c:pt>
                <c:pt idx="9">
                  <c:v>Av Price/Unit 45.62</c:v>
                </c:pt>
                <c:pt idx="10">
                  <c:v>Av Price/Unit 57.49</c:v>
                </c:pt>
                <c:pt idx="11">
                  <c:v>Av Price/Unit 37.43</c:v>
                </c:pt>
              </c:strCache>
            </c:strRef>
          </c:cat>
          <c:val>
            <c:numRef>
              <c:f>Sheet1!$D$2:$D$13</c:f>
              <c:numCache>
                <c:formatCode>General</c:formatCode>
                <c:ptCount val="12"/>
                <c:pt idx="0">
                  <c:v>-0.8995874612771999</c:v>
                </c:pt>
                <c:pt idx="1">
                  <c:v>0.6986010743606208</c:v>
                </c:pt>
                <c:pt idx="2">
                  <c:v>-0.12383970044157877</c:v>
                </c:pt>
                <c:pt idx="3">
                  <c:v>-0.4080641692681155</c:v>
                </c:pt>
                <c:pt idx="4">
                  <c:v>-0.9755975379880759</c:v>
                </c:pt>
                <c:pt idx="5">
                  <c:v>-0.29855812405149607</c:v>
                </c:pt>
                <c:pt idx="6">
                  <c:v>-0.594364415584419</c:v>
                </c:pt>
                <c:pt idx="7">
                  <c:v>-0.8523295671198525</c:v>
                </c:pt>
                <c:pt idx="8">
                  <c:v>1.038775908521309</c:v>
                </c:pt>
                <c:pt idx="9">
                  <c:v>0.6734737874659444</c:v>
                </c:pt>
                <c:pt idx="10">
                  <c:v>0.8054608426270207</c:v>
                </c:pt>
                <c:pt idx="11">
                  <c:v>0.870682290648421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17</c:v>
                </c:pt>
                <c:pt idx="1">
                  <c:v>Av Price/Unit 21.25</c:v>
                </c:pt>
                <c:pt idx="2">
                  <c:v>Av Price/Unit 45.66</c:v>
                </c:pt>
                <c:pt idx="3">
                  <c:v>Av Price/Unit 41.84</c:v>
                </c:pt>
                <c:pt idx="4">
                  <c:v>Av Price/Unit 29.28</c:v>
                </c:pt>
                <c:pt idx="5">
                  <c:v>Av Price/Unit 36.99</c:v>
                </c:pt>
                <c:pt idx="6">
                  <c:v>Av Price/Unit 29.93</c:v>
                </c:pt>
                <c:pt idx="7">
                  <c:v>Av Price/Unit 28.98</c:v>
                </c:pt>
                <c:pt idx="8">
                  <c:v>Av Price/Unit 60.44</c:v>
                </c:pt>
                <c:pt idx="9">
                  <c:v>Av Price/Unit 45.62</c:v>
                </c:pt>
                <c:pt idx="10">
                  <c:v>Av Price/Unit 57.49</c:v>
                </c:pt>
                <c:pt idx="11">
                  <c:v>Av Price/Unit 37.43</c:v>
                </c:pt>
              </c:strCache>
            </c:strRef>
          </c:cat>
          <c:val>
            <c:numRef>
              <c:f>Sheet1!$E$2:$E$13</c:f>
              <c:numCache>
                <c:formatCode>General</c:formatCode>
                <c:ptCount val="12"/>
                <c:pt idx="0">
                  <c:v>9.028151009592053</c:v>
                </c:pt>
                <c:pt idx="1">
                  <c:v>3.5414372107165764</c:v>
                </c:pt>
                <c:pt idx="2">
                  <c:v>7.61003699725504</c:v>
                </c:pt>
                <c:pt idx="3">
                  <c:v>6.972858133888308</c:v>
                </c:pt>
                <c:pt idx="4">
                  <c:v>4.880602038853626</c:v>
                </c:pt>
                <c:pt idx="5">
                  <c:v>6.165393841484309</c:v>
                </c:pt>
                <c:pt idx="6">
                  <c:v>4.989105339105339</c:v>
                </c:pt>
                <c:pt idx="7">
                  <c:v>4.830598531020468</c:v>
                </c:pt>
                <c:pt idx="8">
                  <c:v>10.073151629072681</c:v>
                </c:pt>
                <c:pt idx="9">
                  <c:v>7.602724795640327</c:v>
                </c:pt>
                <c:pt idx="10">
                  <c:v>9.581908302354398</c:v>
                </c:pt>
                <c:pt idx="11">
                  <c:v>6.23769957640925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29.25</c:v>
                </c:pt>
                <c:pt idx="4">
                  <c:v>Av Price/Unit 37.17</c:v>
                </c:pt>
                <c:pt idx="5">
                  <c:v>Av Price/Unit 30.16</c:v>
                </c:pt>
                <c:pt idx="6">
                  <c:v>Av Price/Unit 42.09</c:v>
                </c:pt>
                <c:pt idx="7">
                  <c:v>Av Price/Unit 29.14</c:v>
                </c:pt>
                <c:pt idx="8">
                  <c:v>Av Price/Unit 60.18</c:v>
                </c:pt>
                <c:pt idx="9">
                  <c:v>Av Price/Unit 45.43</c:v>
                </c:pt>
                <c:pt idx="10">
                  <c:v>Av Price/Unit 57.39</c:v>
                </c:pt>
                <c:pt idx="11">
                  <c:v>Av Price/Unit 37.32</c:v>
                </c:pt>
              </c:strCache>
            </c:strRef>
          </c:cat>
          <c:val>
            <c:numRef>
              <c:f>Sheet1!$B$2:$B$13</c:f>
              <c:numCache>
                <c:formatCode>General</c:formatCode>
                <c:ptCount val="12"/>
                <c:pt idx="0">
                  <c:v>18.184343906073934</c:v>
                </c:pt>
                <c:pt idx="1">
                  <c:v>3.6059014807193344</c:v>
                </c:pt>
                <c:pt idx="2">
                  <c:v>15.84164344493219</c:v>
                </c:pt>
                <c:pt idx="3">
                  <c:v>10.095996135838693</c:v>
                </c:pt>
                <c:pt idx="4">
                  <c:v>12.785072935700741</c:v>
                </c:pt>
                <c:pt idx="5">
                  <c:v>11.445658692555666</c:v>
                </c:pt>
                <c:pt idx="6">
                  <c:v>14.604576938307629</c:v>
                </c:pt>
                <c:pt idx="7">
                  <c:v>11.108024913793102</c:v>
                </c:pt>
                <c:pt idx="8">
                  <c:v>20.14931674854846</c:v>
                </c:pt>
                <c:pt idx="9">
                  <c:v>15.080614061433447</c:v>
                </c:pt>
                <c:pt idx="10">
                  <c:v>19.510437981651375</c:v>
                </c:pt>
                <c:pt idx="11">
                  <c:v>13.23423831031681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29.25</c:v>
                </c:pt>
                <c:pt idx="4">
                  <c:v>Av Price/Unit 37.17</c:v>
                </c:pt>
                <c:pt idx="5">
                  <c:v>Av Price/Unit 30.16</c:v>
                </c:pt>
                <c:pt idx="6">
                  <c:v>Av Price/Unit 42.09</c:v>
                </c:pt>
                <c:pt idx="7">
                  <c:v>Av Price/Unit 29.14</c:v>
                </c:pt>
                <c:pt idx="8">
                  <c:v>Av Price/Unit 60.18</c:v>
                </c:pt>
                <c:pt idx="9">
                  <c:v>Av Price/Unit 45.43</c:v>
                </c:pt>
                <c:pt idx="10">
                  <c:v>Av Price/Unit 57.39</c:v>
                </c:pt>
                <c:pt idx="11">
                  <c:v>Av Price/Unit 37.32</c:v>
                </c:pt>
              </c:strCache>
            </c:strRef>
          </c:cat>
          <c:val>
            <c:numRef>
              <c:f>Sheet1!$C$2:$C$13</c:f>
              <c:numCache>
                <c:formatCode>General</c:formatCode>
                <c:ptCount val="12"/>
                <c:pt idx="0">
                  <c:v>27.8633286358184</c:v>
                </c:pt>
                <c:pt idx="1">
                  <c:v>13.400851990695177</c:v>
                </c:pt>
                <c:pt idx="2">
                  <c:v>22.314674546288412</c:v>
                </c:pt>
                <c:pt idx="3">
                  <c:v>15.272994038329484</c:v>
                </c:pt>
                <c:pt idx="4">
                  <c:v>18.343853404585417</c:v>
                </c:pt>
                <c:pt idx="5">
                  <c:v>14.099182824799461</c:v>
                </c:pt>
                <c:pt idx="6">
                  <c:v>20.56658287828262</c:v>
                </c:pt>
                <c:pt idx="7">
                  <c:v>13.866977586206898</c:v>
                </c:pt>
                <c:pt idx="8">
                  <c:v>29.21269769986601</c:v>
                </c:pt>
                <c:pt idx="9">
                  <c:v>22.27831508532423</c:v>
                </c:pt>
                <c:pt idx="10">
                  <c:v>27.614722293577984</c:v>
                </c:pt>
                <c:pt idx="11">
                  <c:v>17.0911828269699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29.25</c:v>
                </c:pt>
                <c:pt idx="4">
                  <c:v>Av Price/Unit 37.17</c:v>
                </c:pt>
                <c:pt idx="5">
                  <c:v>Av Price/Unit 30.16</c:v>
                </c:pt>
                <c:pt idx="6">
                  <c:v>Av Price/Unit 42.09</c:v>
                </c:pt>
                <c:pt idx="7">
                  <c:v>Av Price/Unit 29.14</c:v>
                </c:pt>
                <c:pt idx="8">
                  <c:v>Av Price/Unit 60.18</c:v>
                </c:pt>
                <c:pt idx="9">
                  <c:v>Av Price/Unit 45.43</c:v>
                </c:pt>
                <c:pt idx="10">
                  <c:v>Av Price/Unit 57.39</c:v>
                </c:pt>
                <c:pt idx="11">
                  <c:v>Av Price/Unit 37.32</c:v>
                </c:pt>
              </c:strCache>
            </c:strRef>
          </c:cat>
          <c:val>
            <c:numRef>
              <c:f>Sheet1!$D$2:$D$13</c:f>
              <c:numCache>
                <c:formatCode>General</c:formatCode>
                <c:ptCount val="12"/>
                <c:pt idx="0">
                  <c:v>-1.0043299746767858</c:v>
                </c:pt>
                <c:pt idx="1">
                  <c:v>0.7092779621842453</c:v>
                </c:pt>
                <c:pt idx="2">
                  <c:v>0.41673681451876377</c:v>
                </c:pt>
                <c:pt idx="3">
                  <c:v>-0.9911159831034055</c:v>
                </c:pt>
                <c:pt idx="4">
                  <c:v>-0.1549563351146297</c:v>
                </c:pt>
                <c:pt idx="5">
                  <c:v>-0.4122103855861283</c:v>
                </c:pt>
                <c:pt idx="6">
                  <c:v>-0.09317593441711836</c:v>
                </c:pt>
                <c:pt idx="7">
                  <c:v>-0.6956282982120037</c:v>
                </c:pt>
                <c:pt idx="8">
                  <c:v>0.7900251525978916</c:v>
                </c:pt>
                <c:pt idx="9">
                  <c:v>0.5017079408418681</c:v>
                </c:pt>
                <c:pt idx="10">
                  <c:v>0.7029987920489447</c:v>
                </c:pt>
                <c:pt idx="11">
                  <c:v>0.773279106417543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5</c:v>
                </c:pt>
                <c:pt idx="1">
                  <c:v>Av Price/Unit 21.26</c:v>
                </c:pt>
                <c:pt idx="2">
                  <c:v>Av Price/Unit 46.29</c:v>
                </c:pt>
                <c:pt idx="3">
                  <c:v>Av Price/Unit 29.25</c:v>
                </c:pt>
                <c:pt idx="4">
                  <c:v>Av Price/Unit 37.17</c:v>
                </c:pt>
                <c:pt idx="5">
                  <c:v>Av Price/Unit 30.16</c:v>
                </c:pt>
                <c:pt idx="6">
                  <c:v>Av Price/Unit 42.09</c:v>
                </c:pt>
                <c:pt idx="7">
                  <c:v>Av Price/Unit 29.14</c:v>
                </c:pt>
                <c:pt idx="8">
                  <c:v>Av Price/Unit 60.18</c:v>
                </c:pt>
                <c:pt idx="9">
                  <c:v>Av Price/Unit 45.43</c:v>
                </c:pt>
                <c:pt idx="10">
                  <c:v>Av Price/Unit 57.39</c:v>
                </c:pt>
                <c:pt idx="11">
                  <c:v>Av Price/Unit 37.32</c:v>
                </c:pt>
              </c:strCache>
            </c:strRef>
          </c:cat>
          <c:val>
            <c:numRef>
              <c:f>Sheet1!$E$2:$E$13</c:f>
              <c:numCache>
                <c:formatCode>General</c:formatCode>
                <c:ptCount val="12"/>
                <c:pt idx="0">
                  <c:v>9.008663201386101</c:v>
                </c:pt>
                <c:pt idx="1">
                  <c:v>3.543206286719751</c:v>
                </c:pt>
                <c:pt idx="2">
                  <c:v>7.714603944178733</c:v>
                </c:pt>
                <c:pt idx="3">
                  <c:v>4.875574838212958</c:v>
                </c:pt>
                <c:pt idx="4">
                  <c:v>6.1947940010343</c:v>
                </c:pt>
                <c:pt idx="5">
                  <c:v>5.026526226353798</c:v>
                </c:pt>
                <c:pt idx="6">
                  <c:v>7.015596776434622</c:v>
                </c:pt>
                <c:pt idx="7">
                  <c:v>4.855874840357597</c:v>
                </c:pt>
                <c:pt idx="8">
                  <c:v>10.030407920202462</c:v>
                </c:pt>
                <c:pt idx="9">
                  <c:v>7.572127417519908</c:v>
                </c:pt>
                <c:pt idx="10">
                  <c:v>9.565634556574915</c:v>
                </c:pt>
                <c:pt idx="11">
                  <c:v>6.21974004874086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29.31</c:v>
                </c:pt>
                <c:pt idx="4">
                  <c:v>Av Price/Unit 30.21</c:v>
                </c:pt>
                <c:pt idx="5">
                  <c:v>Av Price/Unit 37.33</c:v>
                </c:pt>
                <c:pt idx="6">
                  <c:v>Av Price/Unit 42.06</c:v>
                </c:pt>
                <c:pt idx="7">
                  <c:v>Av Price/Unit 37.41</c:v>
                </c:pt>
                <c:pt idx="8">
                  <c:v>Av Price/Unit 29.33</c:v>
                </c:pt>
                <c:pt idx="9">
                  <c:v>Av Price/Unit 45.55</c:v>
                </c:pt>
                <c:pt idx="10">
                  <c:v>Av Price/Unit 60.25</c:v>
                </c:pt>
                <c:pt idx="11">
                  <c:v>Av Price/Unit 57.56</c:v>
                </c:pt>
              </c:strCache>
            </c:strRef>
          </c:cat>
          <c:val>
            <c:numRef>
              <c:f>Sheet1!$B$2:$B$13</c:f>
              <c:numCache>
                <c:formatCode>General</c:formatCode>
                <c:ptCount val="12"/>
                <c:pt idx="0">
                  <c:v>18.186566998862343</c:v>
                </c:pt>
                <c:pt idx="1">
                  <c:v>3.6061959679541538</c:v>
                </c:pt>
                <c:pt idx="2">
                  <c:v>15.824029539951576</c:v>
                </c:pt>
                <c:pt idx="3">
                  <c:v>10.088208180240128</c:v>
                </c:pt>
                <c:pt idx="4">
                  <c:v>11.442508632702923</c:v>
                </c:pt>
                <c:pt idx="5">
                  <c:v>12.781303416300634</c:v>
                </c:pt>
                <c:pt idx="6">
                  <c:v>14.66250525367341</c:v>
                </c:pt>
                <c:pt idx="7">
                  <c:v>13.237350458715598</c:v>
                </c:pt>
                <c:pt idx="8">
                  <c:v>11.102867955801106</c:v>
                </c:pt>
                <c:pt idx="9">
                  <c:v>15.07977336048007</c:v>
                </c:pt>
                <c:pt idx="10">
                  <c:v>20.155172051696287</c:v>
                </c:pt>
                <c:pt idx="11">
                  <c:v>19.54899302623160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29.31</c:v>
                </c:pt>
                <c:pt idx="4">
                  <c:v>Av Price/Unit 30.21</c:v>
                </c:pt>
                <c:pt idx="5">
                  <c:v>Av Price/Unit 37.33</c:v>
                </c:pt>
                <c:pt idx="6">
                  <c:v>Av Price/Unit 42.06</c:v>
                </c:pt>
                <c:pt idx="7">
                  <c:v>Av Price/Unit 37.41</c:v>
                </c:pt>
                <c:pt idx="8">
                  <c:v>Av Price/Unit 29.33</c:v>
                </c:pt>
                <c:pt idx="9">
                  <c:v>Av Price/Unit 45.55</c:v>
                </c:pt>
                <c:pt idx="10">
                  <c:v>Av Price/Unit 60.25</c:v>
                </c:pt>
                <c:pt idx="11">
                  <c:v>Av Price/Unit 57.56</c:v>
                </c:pt>
              </c:strCache>
            </c:strRef>
          </c:cat>
          <c:val>
            <c:numRef>
              <c:f>Sheet1!$C$2:$C$13</c:f>
              <c:numCache>
                <c:formatCode>General</c:formatCode>
                <c:ptCount val="12"/>
                <c:pt idx="0">
                  <c:v>27.85642326734926</c:v>
                </c:pt>
                <c:pt idx="1">
                  <c:v>13.400387494517704</c:v>
                </c:pt>
                <c:pt idx="2">
                  <c:v>22.31561162227603</c:v>
                </c:pt>
                <c:pt idx="3">
                  <c:v>15.282159272385362</c:v>
                </c:pt>
                <c:pt idx="4">
                  <c:v>14.09585837480771</c:v>
                </c:pt>
                <c:pt idx="5">
                  <c:v>18.345093923865296</c:v>
                </c:pt>
                <c:pt idx="6">
                  <c:v>20.56876599667314</c:v>
                </c:pt>
                <c:pt idx="7">
                  <c:v>17.09186880733945</c:v>
                </c:pt>
                <c:pt idx="8">
                  <c:v>13.86034640883978</c:v>
                </c:pt>
                <c:pt idx="9">
                  <c:v>22.267438898414063</c:v>
                </c:pt>
                <c:pt idx="10">
                  <c:v>29.214235056542815</c:v>
                </c:pt>
                <c:pt idx="11">
                  <c:v>27.62334990403070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29.31</c:v>
                </c:pt>
                <c:pt idx="4">
                  <c:v>Av Price/Unit 30.21</c:v>
                </c:pt>
                <c:pt idx="5">
                  <c:v>Av Price/Unit 37.33</c:v>
                </c:pt>
                <c:pt idx="6">
                  <c:v>Av Price/Unit 42.06</c:v>
                </c:pt>
                <c:pt idx="7">
                  <c:v>Av Price/Unit 37.41</c:v>
                </c:pt>
                <c:pt idx="8">
                  <c:v>Av Price/Unit 29.33</c:v>
                </c:pt>
                <c:pt idx="9">
                  <c:v>Av Price/Unit 45.55</c:v>
                </c:pt>
                <c:pt idx="10">
                  <c:v>Av Price/Unit 60.25</c:v>
                </c:pt>
                <c:pt idx="11">
                  <c:v>Av Price/Unit 57.56</c:v>
                </c:pt>
              </c:strCache>
            </c:strRef>
          </c:cat>
          <c:val>
            <c:numRef>
              <c:f>Sheet1!$D$2:$D$13</c:f>
              <c:numCache>
                <c:formatCode>General</c:formatCode>
                <c:ptCount val="12"/>
                <c:pt idx="0">
                  <c:v>-0.9807712870686345</c:v>
                </c:pt>
                <c:pt idx="1">
                  <c:v>0.7809324971004727</c:v>
                </c:pt>
                <c:pt idx="2">
                  <c:v>0.2530587772397226</c:v>
                </c:pt>
                <c:pt idx="3">
                  <c:v>-0.9435628815275585</c:v>
                </c:pt>
                <c:pt idx="4">
                  <c:v>-0.36040422887823453</c:v>
                </c:pt>
                <c:pt idx="5">
                  <c:v>-0.013964446071248915</c:v>
                </c:pt>
                <c:pt idx="6">
                  <c:v>-0.18310102578319487</c:v>
                </c:pt>
                <c:pt idx="7">
                  <c:v>0.8496007276178368</c:v>
                </c:pt>
                <c:pt idx="8">
                  <c:v>-0.5204142243269239</c:v>
                </c:pt>
                <c:pt idx="9">
                  <c:v>0.6116032861837297</c:v>
                </c:pt>
                <c:pt idx="10">
                  <c:v>0.8365702746365145</c:v>
                </c:pt>
                <c:pt idx="11">
                  <c:v>0.793354425250591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54.07</c:v>
                </c:pt>
                <c:pt idx="1">
                  <c:v>Av Price/Unit 21.34</c:v>
                </c:pt>
                <c:pt idx="2">
                  <c:v>Av Price/Unit 46.07</c:v>
                </c:pt>
                <c:pt idx="3">
                  <c:v>Av Price/Unit 29.31</c:v>
                </c:pt>
                <c:pt idx="4">
                  <c:v>Av Price/Unit 30.21</c:v>
                </c:pt>
                <c:pt idx="5">
                  <c:v>Av Price/Unit 37.33</c:v>
                </c:pt>
                <c:pt idx="6">
                  <c:v>Av Price/Unit 42.06</c:v>
                </c:pt>
                <c:pt idx="7">
                  <c:v>Av Price/Unit 37.41</c:v>
                </c:pt>
                <c:pt idx="8">
                  <c:v>Av Price/Unit 29.33</c:v>
                </c:pt>
                <c:pt idx="9">
                  <c:v>Av Price/Unit 45.55</c:v>
                </c:pt>
                <c:pt idx="10">
                  <c:v>Av Price/Unit 60.25</c:v>
                </c:pt>
                <c:pt idx="11">
                  <c:v>Av Price/Unit 57.56</c:v>
                </c:pt>
              </c:strCache>
            </c:strRef>
          </c:cat>
          <c:val>
            <c:numRef>
              <c:f>Sheet1!$E$2:$E$13</c:f>
              <c:numCache>
                <c:formatCode>General</c:formatCode>
                <c:ptCount val="12"/>
                <c:pt idx="0">
                  <c:v>9.012438376943493</c:v>
                </c:pt>
                <c:pt idx="1">
                  <c:v>3.5575031919144653</c:v>
                </c:pt>
                <c:pt idx="2">
                  <c:v>7.678533595641638</c:v>
                </c:pt>
                <c:pt idx="3">
                  <c:v>4.885360914219587</c:v>
                </c:pt>
                <c:pt idx="4">
                  <c:v>5.0355925557264785</c:v>
                </c:pt>
                <c:pt idx="5">
                  <c:v>6.222486578818929</c:v>
                </c:pt>
                <c:pt idx="6">
                  <c:v>7.00963404491267</c:v>
                </c:pt>
                <c:pt idx="7">
                  <c:v>6.235763998734578</c:v>
                </c:pt>
                <c:pt idx="8">
                  <c:v>4.888560028062788</c:v>
                </c:pt>
                <c:pt idx="9">
                  <c:v>7.591763109015578</c:v>
                </c:pt>
                <c:pt idx="10">
                  <c:v>10.04119547657512</c:v>
                </c:pt>
                <c:pt idx="11">
                  <c:v>9.5931435274045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41</c:v>
                </c:pt>
                <c:pt idx="1">
                  <c:v>Av Price/Unit 30.38</c:v>
                </c:pt>
                <c:pt idx="2">
                  <c:v>Av Price/Unit 31.09</c:v>
                </c:pt>
                <c:pt idx="3">
                  <c:v>Av Price/Unit 31.12</c:v>
                </c:pt>
                <c:pt idx="4">
                  <c:v>Av Price/Unit 32.29</c:v>
                </c:pt>
                <c:pt idx="5">
                  <c:v>Av Price/Unit 34.55</c:v>
                </c:pt>
                <c:pt idx="6">
                  <c:v>Av Price/Unit 86.05</c:v>
                </c:pt>
              </c:strCache>
            </c:strRef>
          </c:cat>
          <c:val>
            <c:numRef>
              <c:f>Sheet1!$B$2:$B$8</c:f>
              <c:numCache>
                <c:formatCode>General</c:formatCode>
                <c:ptCount val="7"/>
                <c:pt idx="0">
                  <c:v>10.7248864082133</c:v>
                </c:pt>
                <c:pt idx="1">
                  <c:v>11.620501123595504</c:v>
                </c:pt>
                <c:pt idx="2">
                  <c:v>11.28203381849315</c:v>
                </c:pt>
                <c:pt idx="3">
                  <c:v>12.083528388746803</c:v>
                </c:pt>
                <c:pt idx="4">
                  <c:v>11.873300000000002</c:v>
                </c:pt>
                <c:pt idx="5">
                  <c:v>11.652841666666665</c:v>
                </c:pt>
                <c:pt idx="6">
                  <c:v>26.09150000000000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41</c:v>
                </c:pt>
                <c:pt idx="1">
                  <c:v>Av Price/Unit 30.38</c:v>
                </c:pt>
                <c:pt idx="2">
                  <c:v>Av Price/Unit 31.09</c:v>
                </c:pt>
                <c:pt idx="3">
                  <c:v>Av Price/Unit 31.12</c:v>
                </c:pt>
                <c:pt idx="4">
                  <c:v>Av Price/Unit 32.29</c:v>
                </c:pt>
                <c:pt idx="5">
                  <c:v>Av Price/Unit 34.55</c:v>
                </c:pt>
                <c:pt idx="6">
                  <c:v>Av Price/Unit 86.05</c:v>
                </c:pt>
              </c:strCache>
            </c:strRef>
          </c:cat>
          <c:val>
            <c:numRef>
              <c:f>Sheet1!$C$2:$C$8</c:f>
              <c:numCache>
                <c:formatCode>General</c:formatCode>
                <c:ptCount val="7"/>
                <c:pt idx="0">
                  <c:v>14.218438047808766</c:v>
                </c:pt>
                <c:pt idx="1">
                  <c:v>13.510749438202247</c:v>
                </c:pt>
                <c:pt idx="2">
                  <c:v>14.367801626712328</c:v>
                </c:pt>
                <c:pt idx="3">
                  <c:v>14.288093350383633</c:v>
                </c:pt>
                <c:pt idx="4">
                  <c:v>14.9065</c:v>
                </c:pt>
                <c:pt idx="5">
                  <c:v>14.27363888888889</c:v>
                </c:pt>
                <c:pt idx="6">
                  <c:v>31.53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41</c:v>
                </c:pt>
                <c:pt idx="1">
                  <c:v>Av Price/Unit 30.38</c:v>
                </c:pt>
                <c:pt idx="2">
                  <c:v>Av Price/Unit 31.09</c:v>
                </c:pt>
                <c:pt idx="3">
                  <c:v>Av Price/Unit 31.12</c:v>
                </c:pt>
                <c:pt idx="4">
                  <c:v>Av Price/Unit 32.29</c:v>
                </c:pt>
                <c:pt idx="5">
                  <c:v>Av Price/Unit 34.55</c:v>
                </c:pt>
                <c:pt idx="6">
                  <c:v>Av Price/Unit 86.05</c:v>
                </c:pt>
              </c:strCache>
            </c:strRef>
          </c:cat>
          <c:val>
            <c:numRef>
              <c:f>Sheet1!$D$2:$D$8</c:f>
              <c:numCache>
                <c:formatCode>General</c:formatCode>
                <c:ptCount val="7"/>
                <c:pt idx="0">
                  <c:v>-0.43630515629788036</c:v>
                </c:pt>
                <c:pt idx="1">
                  <c:v>0.18705290262172625</c:v>
                </c:pt>
                <c:pt idx="2">
                  <c:v>0.2555038527397251</c:v>
                </c:pt>
                <c:pt idx="3">
                  <c:v>-0.4423804774083493</c:v>
                </c:pt>
                <c:pt idx="4">
                  <c:v>-0.3804289308176081</c:v>
                </c:pt>
                <c:pt idx="5">
                  <c:v>2.8620996913580257</c:v>
                </c:pt>
                <c:pt idx="6">
                  <c:v>11.79416666666668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41</c:v>
                </c:pt>
                <c:pt idx="1">
                  <c:v>Av Price/Unit 30.38</c:v>
                </c:pt>
                <c:pt idx="2">
                  <c:v>Av Price/Unit 31.09</c:v>
                </c:pt>
                <c:pt idx="3">
                  <c:v>Av Price/Unit 31.12</c:v>
                </c:pt>
                <c:pt idx="4">
                  <c:v>Av Price/Unit 32.29</c:v>
                </c:pt>
                <c:pt idx="5">
                  <c:v>Av Price/Unit 34.55</c:v>
                </c:pt>
                <c:pt idx="6">
                  <c:v>Av Price/Unit 86.05</c:v>
                </c:pt>
              </c:strCache>
            </c:strRef>
          </c:cat>
          <c:val>
            <c:numRef>
              <c:f>Sheet1!$E$2:$E$8</c:f>
              <c:numCache>
                <c:formatCode>General</c:formatCode>
                <c:ptCount val="7"/>
                <c:pt idx="0">
                  <c:v>4.901394422310757</c:v>
                </c:pt>
                <c:pt idx="1">
                  <c:v>5.063670411985016</c:v>
                </c:pt>
                <c:pt idx="2">
                  <c:v>5.181078767123288</c:v>
                </c:pt>
                <c:pt idx="3">
                  <c:v>5.185848252344415</c:v>
                </c:pt>
                <c:pt idx="4">
                  <c:v>5.279874213836478</c:v>
                </c:pt>
                <c:pt idx="5">
                  <c:v>5.757716049382713</c:v>
                </c:pt>
                <c:pt idx="6">
                  <c:v>13.88333333333332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6</c:v>
                </c:pt>
                <c:pt idx="1">
                  <c:v>Av Price/Unit 30.40</c:v>
                </c:pt>
                <c:pt idx="2">
                  <c:v>Av Price/Unit 31.32</c:v>
                </c:pt>
                <c:pt idx="3">
                  <c:v>Av Price/Unit 31.85</c:v>
                </c:pt>
                <c:pt idx="4">
                  <c:v>Av Price/Unit 32.47</c:v>
                </c:pt>
                <c:pt idx="5">
                  <c:v>Av Price/Unit 33.37</c:v>
                </c:pt>
                <c:pt idx="6">
                  <c:v>Av Price/Unit 80.35</c:v>
                </c:pt>
              </c:strCache>
            </c:strRef>
          </c:cat>
          <c:val>
            <c:numRef>
              <c:f>Sheet1!$B$2:$B$8</c:f>
              <c:numCache>
                <c:formatCode>General</c:formatCode>
                <c:ptCount val="7"/>
                <c:pt idx="0">
                  <c:v>10.710940945674043</c:v>
                </c:pt>
                <c:pt idx="1">
                  <c:v>11.62057019438445</c:v>
                </c:pt>
                <c:pt idx="2">
                  <c:v>11.273034655380895</c:v>
                </c:pt>
                <c:pt idx="3">
                  <c:v>12.089662650602408</c:v>
                </c:pt>
                <c:pt idx="4">
                  <c:v>11.8733</c:v>
                </c:pt>
                <c:pt idx="5">
                  <c:v>11.67552201492537</c:v>
                </c:pt>
                <c:pt idx="6">
                  <c:v>26.09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6</c:v>
                </c:pt>
                <c:pt idx="1">
                  <c:v>Av Price/Unit 30.40</c:v>
                </c:pt>
                <c:pt idx="2">
                  <c:v>Av Price/Unit 31.32</c:v>
                </c:pt>
                <c:pt idx="3">
                  <c:v>Av Price/Unit 31.85</c:v>
                </c:pt>
                <c:pt idx="4">
                  <c:v>Av Price/Unit 32.47</c:v>
                </c:pt>
                <c:pt idx="5">
                  <c:v>Av Price/Unit 33.37</c:v>
                </c:pt>
                <c:pt idx="6">
                  <c:v>Av Price/Unit 80.35</c:v>
                </c:pt>
              </c:strCache>
            </c:strRef>
          </c:cat>
          <c:val>
            <c:numRef>
              <c:f>Sheet1!$C$2:$C$8</c:f>
              <c:numCache>
                <c:formatCode>General</c:formatCode>
                <c:ptCount val="7"/>
                <c:pt idx="0">
                  <c:v>14.226450591786008</c:v>
                </c:pt>
                <c:pt idx="1">
                  <c:v>13.511056419486442</c:v>
                </c:pt>
                <c:pt idx="2">
                  <c:v>14.37377992744861</c:v>
                </c:pt>
                <c:pt idx="3">
                  <c:v>14.28761626506024</c:v>
                </c:pt>
                <c:pt idx="4">
                  <c:v>14.906499999999998</c:v>
                </c:pt>
                <c:pt idx="5">
                  <c:v>14.275235074626865</c:v>
                </c:pt>
                <c:pt idx="6">
                  <c:v>31.5309999999999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6</c:v>
                </c:pt>
                <c:pt idx="1">
                  <c:v>Av Price/Unit 30.40</c:v>
                </c:pt>
                <c:pt idx="2">
                  <c:v>Av Price/Unit 31.32</c:v>
                </c:pt>
                <c:pt idx="3">
                  <c:v>Av Price/Unit 31.85</c:v>
                </c:pt>
                <c:pt idx="4">
                  <c:v>Av Price/Unit 32.47</c:v>
                </c:pt>
                <c:pt idx="5">
                  <c:v>Av Price/Unit 33.37</c:v>
                </c:pt>
                <c:pt idx="6">
                  <c:v>Av Price/Unit 80.35</c:v>
                </c:pt>
              </c:strCache>
            </c:strRef>
          </c:cat>
          <c:val>
            <c:numRef>
              <c:f>Sheet1!$D$2:$D$8</c:f>
              <c:numCache>
                <c:formatCode>General</c:formatCode>
                <c:ptCount val="7"/>
                <c:pt idx="0">
                  <c:v>-0.22455560914506023</c:v>
                </c:pt>
                <c:pt idx="1">
                  <c:v>0.2002991920646302</c:v>
                </c:pt>
                <c:pt idx="2">
                  <c:v>0.4490622893994356</c:v>
                </c:pt>
                <c:pt idx="3">
                  <c:v>0.1638857429718854</c:v>
                </c:pt>
                <c:pt idx="4">
                  <c:v>-0.11028919226394152</c:v>
                </c:pt>
                <c:pt idx="5">
                  <c:v>1.860188184079604</c:v>
                </c:pt>
                <c:pt idx="6">
                  <c:v>8.59843023255815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6</c:v>
                </c:pt>
                <c:pt idx="1">
                  <c:v>Av Price/Unit 30.40</c:v>
                </c:pt>
                <c:pt idx="2">
                  <c:v>Av Price/Unit 31.32</c:v>
                </c:pt>
                <c:pt idx="3">
                  <c:v>Av Price/Unit 31.85</c:v>
                </c:pt>
                <c:pt idx="4">
                  <c:v>Av Price/Unit 32.47</c:v>
                </c:pt>
                <c:pt idx="5">
                  <c:v>Av Price/Unit 33.37</c:v>
                </c:pt>
                <c:pt idx="6">
                  <c:v>Av Price/Unit 80.35</c:v>
                </c:pt>
              </c:strCache>
            </c:strRef>
          </c:cat>
          <c:val>
            <c:numRef>
              <c:f>Sheet1!$E$2:$E$8</c:f>
              <c:numCache>
                <c:formatCode>General</c:formatCode>
                <c:ptCount val="7"/>
                <c:pt idx="0">
                  <c:v>4.942557304611981</c:v>
                </c:pt>
                <c:pt idx="1">
                  <c:v>5.066394688424928</c:v>
                </c:pt>
                <c:pt idx="2">
                  <c:v>5.21918581217251</c:v>
                </c:pt>
                <c:pt idx="3">
                  <c:v>5.3082329317269075</c:v>
                </c:pt>
                <c:pt idx="4">
                  <c:v>5.333902161547211</c:v>
                </c:pt>
                <c:pt idx="5">
                  <c:v>5.562189054726366</c:v>
                </c:pt>
                <c:pt idx="6">
                  <c:v>13.24418604651162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067F82B-9F32-488E-BA29-6D295E280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F603E53-ECD7-41A3-9CA6-00D76067B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666D982-695A-4B48-A8D6-4CA4A7416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D8DFC6B-7361-4A87-A6F7-1A1B9E0F3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F386A66-C8D8-4A71-AB76-E6B0940BF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B3134C9-D1A2-4CF0-85F4-3FD69A023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85205C7-9046-4D66-82B1-30322FEB8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4B62B95-597F-4D27-973E-0C6838FE9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3.4379</c:v>
                </c:pt>
                <c:pt idx="1">
                  <c:v>33.459</c:v>
                </c:pt>
                <c:pt idx="2">
                  <c:v>33.2122</c:v>
                </c:pt>
                <c:pt idx="3">
                  <c:v>33.3546</c:v>
                </c:pt>
                <c:pt idx="4">
                  <c:v>33.5143</c:v>
                </c:pt>
              </c:numCache>
            </c:numRef>
          </c:xVal>
          <c:yVal>
            <c:numRef>
              <c:f>Sheet1!$B$2:$B$6</c:f>
              <c:numCache>
                <c:formatCode>General</c:formatCode>
                <c:ptCount val="5"/>
                <c:pt idx="0">
                  <c:v>0.4369</c:v>
                </c:pt>
                <c:pt idx="1">
                  <c:v>0.437</c:v>
                </c:pt>
                <c:pt idx="2">
                  <c:v>0.4396</c:v>
                </c:pt>
                <c:pt idx="3">
                  <c:v>0.4371</c:v>
                </c:pt>
                <c:pt idx="4">
                  <c:v>0.4388</c:v>
                </c:pt>
              </c:numCache>
            </c:numRef>
          </c:yVal>
          <c:bubbleSize>
            <c:numRef>
              <c:f>Sheet1!$C$2:$C$6</c:f>
              <c:numCache>
                <c:formatCode>General</c:formatCode>
                <c:ptCount val="5"/>
                <c:pt idx="0">
                  <c:v>1765585.6016</c:v>
                </c:pt>
                <c:pt idx="1">
                  <c:v>153877.9274</c:v>
                </c:pt>
                <c:pt idx="2">
                  <c:v>44138.9553</c:v>
                </c:pt>
                <c:pt idx="3">
                  <c:v>119476.0429</c:v>
                </c:pt>
                <c:pt idx="4">
                  <c:v>78926.277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0.21716"/>
          <c:min val="26.56976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7042653756681"/>
        <c:crossBetween val="midCat"/>
      </c:valAx>
      <c:valAx>
        <c:axId val="1011451359"/>
        <c:scaling>
          <c:orientation val="minMax"/>
          <c:max val="0.88752"/>
          <c:min val="0.10952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3.43297969421857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73</c:v>
                </c:pt>
                <c:pt idx="1">
                  <c:v>Av Price/Unit 30.65</c:v>
                </c:pt>
                <c:pt idx="2">
                  <c:v>Av Price/Unit 31.41</c:v>
                </c:pt>
                <c:pt idx="3">
                  <c:v>Av Price/Unit 34.70</c:v>
                </c:pt>
                <c:pt idx="4">
                  <c:v>Av Price/Unit 32.97</c:v>
                </c:pt>
                <c:pt idx="5">
                  <c:v>Av Price/Unit 35.20</c:v>
                </c:pt>
              </c:strCache>
            </c:strRef>
          </c:cat>
          <c:val>
            <c:numRef>
              <c:f>Sheet1!$B$2:$B$7</c:f>
              <c:numCache>
                <c:formatCode>General</c:formatCode>
                <c:ptCount val="6"/>
                <c:pt idx="0">
                  <c:v>10.739800609756097</c:v>
                </c:pt>
                <c:pt idx="1">
                  <c:v>11.620505296442687</c:v>
                </c:pt>
                <c:pt idx="2">
                  <c:v>11.276824135156879</c:v>
                </c:pt>
                <c:pt idx="3">
                  <c:v>11.773234782608695</c:v>
                </c:pt>
                <c:pt idx="4">
                  <c:v>11.8733</c:v>
                </c:pt>
                <c:pt idx="5">
                  <c:v>11.6667036144578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73</c:v>
                </c:pt>
                <c:pt idx="1">
                  <c:v>Av Price/Unit 30.65</c:v>
                </c:pt>
                <c:pt idx="2">
                  <c:v>Av Price/Unit 31.41</c:v>
                </c:pt>
                <c:pt idx="3">
                  <c:v>Av Price/Unit 34.70</c:v>
                </c:pt>
                <c:pt idx="4">
                  <c:v>Av Price/Unit 32.97</c:v>
                </c:pt>
                <c:pt idx="5">
                  <c:v>Av Price/Unit 35.20</c:v>
                </c:pt>
              </c:strCache>
            </c:strRef>
          </c:cat>
          <c:val>
            <c:numRef>
              <c:f>Sheet1!$C$2:$C$7</c:f>
              <c:numCache>
                <c:formatCode>General</c:formatCode>
                <c:ptCount val="6"/>
                <c:pt idx="0">
                  <c:v>14.209868902439025</c:v>
                </c:pt>
                <c:pt idx="1">
                  <c:v>13.510767984189725</c:v>
                </c:pt>
                <c:pt idx="2">
                  <c:v>14.371262510056317</c:v>
                </c:pt>
                <c:pt idx="3">
                  <c:v>14.312226086956521</c:v>
                </c:pt>
                <c:pt idx="4">
                  <c:v>14.906500000000001</c:v>
                </c:pt>
                <c:pt idx="5">
                  <c:v>14.27461445783132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73</c:v>
                </c:pt>
                <c:pt idx="1">
                  <c:v>Av Price/Unit 30.65</c:v>
                </c:pt>
                <c:pt idx="2">
                  <c:v>Av Price/Unit 31.41</c:v>
                </c:pt>
                <c:pt idx="3">
                  <c:v>Av Price/Unit 34.70</c:v>
                </c:pt>
                <c:pt idx="4">
                  <c:v>Av Price/Unit 32.97</c:v>
                </c:pt>
                <c:pt idx="5">
                  <c:v>Av Price/Unit 35.20</c:v>
                </c:pt>
              </c:strCache>
            </c:strRef>
          </c:cat>
          <c:val>
            <c:numRef>
              <c:f>Sheet1!$D$2:$D$7</c:f>
              <c:numCache>
                <c:formatCode>General</c:formatCode>
                <c:ptCount val="6"/>
                <c:pt idx="0">
                  <c:v>-0.17530072905620386</c:v>
                </c:pt>
                <c:pt idx="1">
                  <c:v>0.4088626350461162</c:v>
                </c:pt>
                <c:pt idx="2">
                  <c:v>0.5250969696969712</c:v>
                </c:pt>
                <c:pt idx="3">
                  <c:v>2.8348289855072473</c:v>
                </c:pt>
                <c:pt idx="4">
                  <c:v>0.26288292682926695</c:v>
                </c:pt>
                <c:pt idx="5">
                  <c:v>3.39603132530120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73</c:v>
                </c:pt>
                <c:pt idx="1">
                  <c:v>Av Price/Unit 30.65</c:v>
                </c:pt>
                <c:pt idx="2">
                  <c:v>Av Price/Unit 31.41</c:v>
                </c:pt>
                <c:pt idx="3">
                  <c:v>Av Price/Unit 34.70</c:v>
                </c:pt>
                <c:pt idx="4">
                  <c:v>Av Price/Unit 32.97</c:v>
                </c:pt>
                <c:pt idx="5">
                  <c:v>Av Price/Unit 35.20</c:v>
                </c:pt>
              </c:strCache>
            </c:strRef>
          </c:cat>
          <c:val>
            <c:numRef>
              <c:f>Sheet1!$E$2:$E$7</c:f>
              <c:numCache>
                <c:formatCode>General</c:formatCode>
                <c:ptCount val="6"/>
                <c:pt idx="0">
                  <c:v>4.954864793213149</c:v>
                </c:pt>
                <c:pt idx="1">
                  <c:v>5.108036890645584</c:v>
                </c:pt>
                <c:pt idx="2">
                  <c:v>5.234647358541165</c:v>
                </c:pt>
                <c:pt idx="3">
                  <c:v>5.784057971014492</c:v>
                </c:pt>
                <c:pt idx="4">
                  <c:v>5.408536585365853</c:v>
                </c:pt>
                <c:pt idx="5">
                  <c:v>5.86746987951807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91</c:v>
                </c:pt>
                <c:pt idx="1">
                  <c:v>Av Price/Unit 30.69</c:v>
                </c:pt>
                <c:pt idx="2">
                  <c:v>Av Price/Unit 31.44</c:v>
                </c:pt>
                <c:pt idx="3">
                  <c:v>Av Price/Unit 34.35</c:v>
                </c:pt>
                <c:pt idx="4">
                  <c:v>Av Price/Unit 34.12</c:v>
                </c:pt>
                <c:pt idx="5">
                  <c:v>Av Price/Unit 34.20</c:v>
                </c:pt>
              </c:strCache>
            </c:strRef>
          </c:cat>
          <c:val>
            <c:numRef>
              <c:f>Sheet1!$B$2:$B$7</c:f>
              <c:numCache>
                <c:formatCode>General</c:formatCode>
                <c:ptCount val="6"/>
                <c:pt idx="0">
                  <c:v>10.704660296096902</c:v>
                </c:pt>
                <c:pt idx="1">
                  <c:v>11.620573314993123</c:v>
                </c:pt>
                <c:pt idx="2">
                  <c:v>11.300538600451468</c:v>
                </c:pt>
                <c:pt idx="3">
                  <c:v>11.761383333333333</c:v>
                </c:pt>
                <c:pt idx="4">
                  <c:v>12.123485714285712</c:v>
                </c:pt>
                <c:pt idx="5">
                  <c:v>11.8733000000000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91</c:v>
                </c:pt>
                <c:pt idx="1">
                  <c:v>Av Price/Unit 30.69</c:v>
                </c:pt>
                <c:pt idx="2">
                  <c:v>Av Price/Unit 31.44</c:v>
                </c:pt>
                <c:pt idx="3">
                  <c:v>Av Price/Unit 34.35</c:v>
                </c:pt>
                <c:pt idx="4">
                  <c:v>Av Price/Unit 34.12</c:v>
                </c:pt>
                <c:pt idx="5">
                  <c:v>Av Price/Unit 34.20</c:v>
                </c:pt>
              </c:strCache>
            </c:strRef>
          </c:cat>
          <c:val>
            <c:numRef>
              <c:f>Sheet1!$C$2:$C$7</c:f>
              <c:numCache>
                <c:formatCode>General</c:formatCode>
                <c:ptCount val="6"/>
                <c:pt idx="0">
                  <c:v>14.230059219380886</c:v>
                </c:pt>
                <c:pt idx="1">
                  <c:v>13.511070288858324</c:v>
                </c:pt>
                <c:pt idx="2">
                  <c:v>14.355508577878105</c:v>
                </c:pt>
                <c:pt idx="3">
                  <c:v>14.281277777777778</c:v>
                </c:pt>
                <c:pt idx="4">
                  <c:v>14.284985714285714</c:v>
                </c:pt>
                <c:pt idx="5">
                  <c:v>14.90649999999999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91</c:v>
                </c:pt>
                <c:pt idx="1">
                  <c:v>Av Price/Unit 30.69</c:v>
                </c:pt>
                <c:pt idx="2">
                  <c:v>Av Price/Unit 31.44</c:v>
                </c:pt>
                <c:pt idx="3">
                  <c:v>Av Price/Unit 34.35</c:v>
                </c:pt>
                <c:pt idx="4">
                  <c:v>Av Price/Unit 34.12</c:v>
                </c:pt>
                <c:pt idx="5">
                  <c:v>Av Price/Unit 34.20</c:v>
                </c:pt>
              </c:strCache>
            </c:strRef>
          </c:cat>
          <c:val>
            <c:numRef>
              <c:f>Sheet1!$D$2:$D$7</c:f>
              <c:numCache>
                <c:formatCode>General</c:formatCode>
                <c:ptCount val="6"/>
                <c:pt idx="0">
                  <c:v>-0.006263249588755571</c:v>
                </c:pt>
                <c:pt idx="1">
                  <c:v>0.44602544704264346</c:v>
                </c:pt>
                <c:pt idx="2">
                  <c:v>0.5459250564334113</c:v>
                </c:pt>
                <c:pt idx="3">
                  <c:v>2.5800240740740676</c:v>
                </c:pt>
                <c:pt idx="4">
                  <c:v>2.0290285714285687</c:v>
                </c:pt>
                <c:pt idx="5">
                  <c:v>0.800328205128202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91</c:v>
                </c:pt>
                <c:pt idx="1">
                  <c:v>Av Price/Unit 30.69</c:v>
                </c:pt>
                <c:pt idx="2">
                  <c:v>Av Price/Unit 31.44</c:v>
                </c:pt>
                <c:pt idx="3">
                  <c:v>Av Price/Unit 34.35</c:v>
                </c:pt>
                <c:pt idx="4">
                  <c:v>Av Price/Unit 34.12</c:v>
                </c:pt>
                <c:pt idx="5">
                  <c:v>Av Price/Unit 34.20</c:v>
                </c:pt>
              </c:strCache>
            </c:strRef>
          </c:cat>
          <c:val>
            <c:numRef>
              <c:f>Sheet1!$E$2:$E$7</c:f>
              <c:numCache>
                <c:formatCode>General</c:formatCode>
                <c:ptCount val="6"/>
                <c:pt idx="0">
                  <c:v>4.9856811724241075</c:v>
                </c:pt>
                <c:pt idx="1">
                  <c:v>5.115543328748281</c:v>
                </c:pt>
                <c:pt idx="2">
                  <c:v>5.240406320541757</c:v>
                </c:pt>
                <c:pt idx="3">
                  <c:v>5.724537037037042</c:v>
                </c:pt>
                <c:pt idx="4">
                  <c:v>5.6875</c:v>
                </c:pt>
                <c:pt idx="5">
                  <c:v>5.5160256410256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36</c:v>
                </c:pt>
                <c:pt idx="1">
                  <c:v>Av Price/Unit 30.42</c:v>
                </c:pt>
                <c:pt idx="2">
                  <c:v>Av Price/Unit 31.53</c:v>
                </c:pt>
                <c:pt idx="3">
                  <c:v>Av Price/Unit 32.83</c:v>
                </c:pt>
                <c:pt idx="4">
                  <c:v>Av Price/Unit 36.95</c:v>
                </c:pt>
              </c:strCache>
            </c:strRef>
          </c:cat>
          <c:val>
            <c:numRef>
              <c:f>Sheet1!$B$2:$B$6</c:f>
              <c:numCache>
                <c:formatCode>General</c:formatCode>
                <c:ptCount val="5"/>
                <c:pt idx="0">
                  <c:v>10.749768686868688</c:v>
                </c:pt>
                <c:pt idx="1">
                  <c:v>11.620534439834024</c:v>
                </c:pt>
                <c:pt idx="2">
                  <c:v>11.281589795918366</c:v>
                </c:pt>
                <c:pt idx="3">
                  <c:v>11.943612030075187</c:v>
                </c:pt>
                <c:pt idx="4">
                  <c:v>11.6615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36</c:v>
                </c:pt>
                <c:pt idx="1">
                  <c:v>Av Price/Unit 30.42</c:v>
                </c:pt>
                <c:pt idx="2">
                  <c:v>Av Price/Unit 31.53</c:v>
                </c:pt>
                <c:pt idx="3">
                  <c:v>Av Price/Unit 32.83</c:v>
                </c:pt>
                <c:pt idx="4">
                  <c:v>Av Price/Unit 36.95</c:v>
                </c:pt>
              </c:strCache>
            </c:strRef>
          </c:cat>
          <c:val>
            <c:numRef>
              <c:f>Sheet1!$C$2:$C$6</c:f>
              <c:numCache>
                <c:formatCode>General</c:formatCode>
                <c:ptCount val="5"/>
                <c:pt idx="0">
                  <c:v>14.204141616161616</c:v>
                </c:pt>
                <c:pt idx="1">
                  <c:v>13.510897510373443</c:v>
                </c:pt>
                <c:pt idx="2">
                  <c:v>14.368096598639456</c:v>
                </c:pt>
                <c:pt idx="3">
                  <c:v>14.298975187969925</c:v>
                </c:pt>
                <c:pt idx="4">
                  <c:v>14.27424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36</c:v>
                </c:pt>
                <c:pt idx="1">
                  <c:v>Av Price/Unit 30.42</c:v>
                </c:pt>
                <c:pt idx="2">
                  <c:v>Av Price/Unit 31.53</c:v>
                </c:pt>
                <c:pt idx="3">
                  <c:v>Av Price/Unit 32.83</c:v>
                </c:pt>
                <c:pt idx="4">
                  <c:v>Av Price/Unit 36.95</c:v>
                </c:pt>
              </c:strCache>
            </c:strRef>
          </c:cat>
          <c:val>
            <c:numRef>
              <c:f>Sheet1!$D$2:$D$6</c:f>
              <c:numCache>
                <c:formatCode>General</c:formatCode>
                <c:ptCount val="5"/>
                <c:pt idx="0">
                  <c:v>-0.48978177328843486</c:v>
                </c:pt>
                <c:pt idx="1">
                  <c:v>0.2177591977869966</c:v>
                </c:pt>
                <c:pt idx="2">
                  <c:v>0.6219900982615272</c:v>
                </c:pt>
                <c:pt idx="3">
                  <c:v>1.113302506265665</c:v>
                </c:pt>
                <c:pt idx="4">
                  <c:v>4.85589166666667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36</c:v>
                </c:pt>
                <c:pt idx="1">
                  <c:v>Av Price/Unit 30.42</c:v>
                </c:pt>
                <c:pt idx="2">
                  <c:v>Av Price/Unit 31.53</c:v>
                </c:pt>
                <c:pt idx="3">
                  <c:v>Av Price/Unit 32.83</c:v>
                </c:pt>
                <c:pt idx="4">
                  <c:v>Av Price/Unit 36.95</c:v>
                </c:pt>
              </c:strCache>
            </c:strRef>
          </c:cat>
          <c:val>
            <c:numRef>
              <c:f>Sheet1!$E$2:$E$6</c:f>
              <c:numCache>
                <c:formatCode>General</c:formatCode>
                <c:ptCount val="5"/>
                <c:pt idx="0">
                  <c:v>4.892817059483723</c:v>
                </c:pt>
                <c:pt idx="1">
                  <c:v>5.069847856154909</c:v>
                </c:pt>
                <c:pt idx="2">
                  <c:v>5.25434618291761</c:v>
                </c:pt>
                <c:pt idx="3">
                  <c:v>5.471177944862154</c:v>
                </c:pt>
                <c:pt idx="4">
                  <c:v>6.1583333333333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7</c:v>
                </c:pt>
                <c:pt idx="1">
                  <c:v>Av Price/Unit 30.45</c:v>
                </c:pt>
                <c:pt idx="2">
                  <c:v>Av Price/Unit 31.26</c:v>
                </c:pt>
                <c:pt idx="3">
                  <c:v>Av Price/Unit 32.02</c:v>
                </c:pt>
                <c:pt idx="4">
                  <c:v>Av Price/Unit 32.30</c:v>
                </c:pt>
                <c:pt idx="5">
                  <c:v>Av Price/Unit 32.95</c:v>
                </c:pt>
                <c:pt idx="6">
                  <c:v>Av Price/Unit 79.58</c:v>
                </c:pt>
              </c:strCache>
            </c:strRef>
          </c:cat>
          <c:val>
            <c:numRef>
              <c:f>Sheet1!$B$2:$B$8</c:f>
              <c:numCache>
                <c:formatCode>General</c:formatCode>
                <c:ptCount val="7"/>
                <c:pt idx="0">
                  <c:v>10.710384155656689</c:v>
                </c:pt>
                <c:pt idx="1">
                  <c:v>11.620514537722476</c:v>
                </c:pt>
                <c:pt idx="2">
                  <c:v>11.273986050420168</c:v>
                </c:pt>
                <c:pt idx="3">
                  <c:v>12.045812987012987</c:v>
                </c:pt>
                <c:pt idx="4">
                  <c:v>11.8733</c:v>
                </c:pt>
                <c:pt idx="5">
                  <c:v>11.695143942505133</c:v>
                </c:pt>
                <c:pt idx="6">
                  <c:v>26.09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7</c:v>
                </c:pt>
                <c:pt idx="1">
                  <c:v>Av Price/Unit 30.45</c:v>
                </c:pt>
                <c:pt idx="2">
                  <c:v>Av Price/Unit 31.26</c:v>
                </c:pt>
                <c:pt idx="3">
                  <c:v>Av Price/Unit 32.02</c:v>
                </c:pt>
                <c:pt idx="4">
                  <c:v>Av Price/Unit 32.30</c:v>
                </c:pt>
                <c:pt idx="5">
                  <c:v>Av Price/Unit 32.95</c:v>
                </c:pt>
                <c:pt idx="6">
                  <c:v>Av Price/Unit 79.58</c:v>
                </c:pt>
              </c:strCache>
            </c:strRef>
          </c:cat>
          <c:val>
            <c:numRef>
              <c:f>Sheet1!$C$2:$C$8</c:f>
              <c:numCache>
                <c:formatCode>General</c:formatCode>
                <c:ptCount val="7"/>
                <c:pt idx="0">
                  <c:v>14.226770502616331</c:v>
                </c:pt>
                <c:pt idx="1">
                  <c:v>13.51080905654434</c:v>
                </c:pt>
                <c:pt idx="2">
                  <c:v>14.373147899159665</c:v>
                </c:pt>
                <c:pt idx="3">
                  <c:v>14.291026623376624</c:v>
                </c:pt>
                <c:pt idx="4">
                  <c:v>14.9065</c:v>
                </c:pt>
                <c:pt idx="5">
                  <c:v>14.276616016427104</c:v>
                </c:pt>
                <c:pt idx="6">
                  <c:v>31.5309999999999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7</c:v>
                </c:pt>
                <c:pt idx="1">
                  <c:v>Av Price/Unit 30.45</c:v>
                </c:pt>
                <c:pt idx="2">
                  <c:v>Av Price/Unit 31.26</c:v>
                </c:pt>
                <c:pt idx="3">
                  <c:v>Av Price/Unit 32.02</c:v>
                </c:pt>
                <c:pt idx="4">
                  <c:v>Av Price/Unit 32.30</c:v>
                </c:pt>
                <c:pt idx="5">
                  <c:v>Av Price/Unit 32.95</c:v>
                </c:pt>
                <c:pt idx="6">
                  <c:v>Av Price/Unit 79.58</c:v>
                </c:pt>
              </c:strCache>
            </c:strRef>
          </c:cat>
          <c:val>
            <c:numRef>
              <c:f>Sheet1!$D$2:$D$8</c:f>
              <c:numCache>
                <c:formatCode>General</c:formatCode>
                <c:ptCount val="7"/>
                <c:pt idx="0">
                  <c:v>-0.2152950506893312</c:v>
                </c:pt>
                <c:pt idx="1">
                  <c:v>0.2423745182968453</c:v>
                </c:pt>
                <c:pt idx="2">
                  <c:v>0.3998724369747855</c:v>
                </c:pt>
                <c:pt idx="3">
                  <c:v>0.35038982683982667</c:v>
                </c:pt>
                <c:pt idx="4">
                  <c:v>-0.15550621468927162</c:v>
                </c:pt>
                <c:pt idx="5">
                  <c:v>1.4871722792607862</c:v>
                </c:pt>
                <c:pt idx="6">
                  <c:v>8.1608333333333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7</c:v>
                </c:pt>
                <c:pt idx="1">
                  <c:v>Av Price/Unit 30.45</c:v>
                </c:pt>
                <c:pt idx="2">
                  <c:v>Av Price/Unit 31.26</c:v>
                </c:pt>
                <c:pt idx="3">
                  <c:v>Av Price/Unit 32.02</c:v>
                </c:pt>
                <c:pt idx="4">
                  <c:v>Av Price/Unit 32.30</c:v>
                </c:pt>
                <c:pt idx="5">
                  <c:v>Av Price/Unit 32.95</c:v>
                </c:pt>
                <c:pt idx="6">
                  <c:v>Av Price/Unit 79.58</c:v>
                </c:pt>
              </c:strCache>
            </c:strRef>
          </c:cat>
          <c:val>
            <c:numRef>
              <c:f>Sheet1!$E$2:$E$8</c:f>
              <c:numCache>
                <c:formatCode>General</c:formatCode>
                <c:ptCount val="7"/>
                <c:pt idx="0">
                  <c:v>4.944362022761749</c:v>
                </c:pt>
                <c:pt idx="1">
                  <c:v>5.074749304352388</c:v>
                </c:pt>
                <c:pt idx="2">
                  <c:v>5.209411764705882</c:v>
                </c:pt>
                <c:pt idx="3">
                  <c:v>5.337445887445885</c:v>
                </c:pt>
                <c:pt idx="4">
                  <c:v>5.324858757062147</c:v>
                </c:pt>
                <c:pt idx="5">
                  <c:v>5.4917864476386</c:v>
                </c:pt>
                <c:pt idx="6">
                  <c:v>13.1566666666666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22</c:v>
                </c:pt>
                <c:pt idx="1">
                  <c:v>Av Price/Unit 30.15</c:v>
                </c:pt>
                <c:pt idx="2">
                  <c:v>Av Price/Unit 31.75</c:v>
                </c:pt>
              </c:strCache>
            </c:strRef>
          </c:cat>
          <c:val>
            <c:numRef>
              <c:f>Sheet1!$B$2:$B$4</c:f>
              <c:numCache>
                <c:formatCode>General</c:formatCode>
                <c:ptCount val="3"/>
                <c:pt idx="0">
                  <c:v>10.76263445527015</c:v>
                </c:pt>
                <c:pt idx="1">
                  <c:v>11.620483290488433</c:v>
                </c:pt>
                <c:pt idx="2">
                  <c:v>11.2787186440677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22</c:v>
                </c:pt>
                <c:pt idx="1">
                  <c:v>Av Price/Unit 30.15</c:v>
                </c:pt>
                <c:pt idx="2">
                  <c:v>Av Price/Unit 31.75</c:v>
                </c:pt>
              </c:strCache>
            </c:strRef>
          </c:cat>
          <c:val>
            <c:numRef>
              <c:f>Sheet1!$C$2:$C$4</c:f>
              <c:numCache>
                <c:formatCode>General</c:formatCode>
                <c:ptCount val="3"/>
                <c:pt idx="0">
                  <c:v>14.196749424269266</c:v>
                </c:pt>
                <c:pt idx="1">
                  <c:v>13.510670179948587</c:v>
                </c:pt>
                <c:pt idx="2">
                  <c:v>14.3700039548022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22</c:v>
                </c:pt>
                <c:pt idx="1">
                  <c:v>Av Price/Unit 30.15</c:v>
                </c:pt>
                <c:pt idx="2">
                  <c:v>Av Price/Unit 31.75</c:v>
                </c:pt>
              </c:strCache>
            </c:strRef>
          </c:cat>
          <c:val>
            <c:numRef>
              <c:f>Sheet1!$D$2:$D$4</c:f>
              <c:numCache>
                <c:formatCode>General</c:formatCode>
                <c:ptCount val="3"/>
                <c:pt idx="0">
                  <c:v>-0.613313758488335</c:v>
                </c:pt>
                <c:pt idx="1">
                  <c:v>-0.004809854327330498</c:v>
                </c:pt>
                <c:pt idx="2">
                  <c:v>0.806025988700568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9.22</c:v>
                </c:pt>
                <c:pt idx="1">
                  <c:v>Av Price/Unit 30.15</c:v>
                </c:pt>
                <c:pt idx="2">
                  <c:v>Av Price/Unit 31.75</c:v>
                </c:pt>
              </c:strCache>
            </c:strRef>
          </c:cat>
          <c:val>
            <c:numRef>
              <c:f>Sheet1!$E$2:$E$4</c:f>
              <c:numCache>
                <c:formatCode>General</c:formatCode>
                <c:ptCount val="3"/>
                <c:pt idx="0">
                  <c:v>4.8692057868320004</c:v>
                </c:pt>
                <c:pt idx="1">
                  <c:v>5.025278491859465</c:v>
                </c:pt>
                <c:pt idx="2">
                  <c:v>5.29096045197740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56</c:v>
                </c:pt>
                <c:pt idx="1">
                  <c:v>Av Price/Unit 30.57</c:v>
                </c:pt>
                <c:pt idx="2">
                  <c:v>Av Price/Unit 31.90</c:v>
                </c:pt>
                <c:pt idx="3">
                  <c:v>Av Price/Unit 35.62</c:v>
                </c:pt>
                <c:pt idx="4">
                  <c:v>Av Price/Unit 34.39</c:v>
                </c:pt>
              </c:strCache>
            </c:strRef>
          </c:cat>
          <c:val>
            <c:numRef>
              <c:f>Sheet1!$B$2:$B$6</c:f>
              <c:numCache>
                <c:formatCode>General</c:formatCode>
                <c:ptCount val="5"/>
                <c:pt idx="0">
                  <c:v>10.747534031852473</c:v>
                </c:pt>
                <c:pt idx="1">
                  <c:v>11.620502325581397</c:v>
                </c:pt>
                <c:pt idx="2">
                  <c:v>11.300234387351779</c:v>
                </c:pt>
                <c:pt idx="3">
                  <c:v>11.82797894736842</c:v>
                </c:pt>
                <c:pt idx="4">
                  <c:v>11.873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56</c:v>
                </c:pt>
                <c:pt idx="1">
                  <c:v>Av Price/Unit 30.57</c:v>
                </c:pt>
                <c:pt idx="2">
                  <c:v>Av Price/Unit 31.90</c:v>
                </c:pt>
                <c:pt idx="3">
                  <c:v>Av Price/Unit 35.62</c:v>
                </c:pt>
                <c:pt idx="4">
                  <c:v>Av Price/Unit 34.39</c:v>
                </c:pt>
              </c:strCache>
            </c:strRef>
          </c:cat>
          <c:val>
            <c:numRef>
              <c:f>Sheet1!$C$2:$C$6</c:f>
              <c:numCache>
                <c:formatCode>General</c:formatCode>
                <c:ptCount val="5"/>
                <c:pt idx="0">
                  <c:v>14.205425565800503</c:v>
                </c:pt>
                <c:pt idx="1">
                  <c:v>13.510754780361758</c:v>
                </c:pt>
                <c:pt idx="2">
                  <c:v>14.355710671936759</c:v>
                </c:pt>
                <c:pt idx="3">
                  <c:v>14.307968421052632</c:v>
                </c:pt>
                <c:pt idx="4">
                  <c:v>14.90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56</c:v>
                </c:pt>
                <c:pt idx="1">
                  <c:v>Av Price/Unit 30.57</c:v>
                </c:pt>
                <c:pt idx="2">
                  <c:v>Av Price/Unit 31.90</c:v>
                </c:pt>
                <c:pt idx="3">
                  <c:v>Av Price/Unit 35.62</c:v>
                </c:pt>
                <c:pt idx="4">
                  <c:v>Av Price/Unit 34.39</c:v>
                </c:pt>
              </c:strCache>
            </c:strRef>
          </c:cat>
          <c:val>
            <c:numRef>
              <c:f>Sheet1!$D$2:$D$6</c:f>
              <c:numCache>
                <c:formatCode>General</c:formatCode>
                <c:ptCount val="5"/>
                <c:pt idx="0">
                  <c:v>-0.3215012759616265</c:v>
                </c:pt>
                <c:pt idx="1">
                  <c:v>0.3456538329026664</c:v>
                </c:pt>
                <c:pt idx="2">
                  <c:v>0.9283171277997333</c:v>
                </c:pt>
                <c:pt idx="3">
                  <c:v>3.546070175438601</c:v>
                </c:pt>
                <c:pt idx="4">
                  <c:v>1.15879649122807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9.56</c:v>
                </c:pt>
                <c:pt idx="1">
                  <c:v>Av Price/Unit 30.57</c:v>
                </c:pt>
                <c:pt idx="2">
                  <c:v>Av Price/Unit 31.90</c:v>
                </c:pt>
                <c:pt idx="3">
                  <c:v>Av Price/Unit 35.62</c:v>
                </c:pt>
                <c:pt idx="4">
                  <c:v>Av Price/Unit 34.39</c:v>
                </c:pt>
              </c:strCache>
            </c:strRef>
          </c:cat>
          <c:val>
            <c:numRef>
              <c:f>Sheet1!$E$2:$E$6</c:f>
              <c:numCache>
                <c:formatCode>General</c:formatCode>
                <c:ptCount val="5"/>
                <c:pt idx="0">
                  <c:v>4.9262829468194065</c:v>
                </c:pt>
                <c:pt idx="1">
                  <c:v>5.095391903531437</c:v>
                </c:pt>
                <c:pt idx="2">
                  <c:v>5.316864295125166</c:v>
                </c:pt>
                <c:pt idx="3">
                  <c:v>5.936403508771928</c:v>
                </c:pt>
                <c:pt idx="4">
                  <c:v>5.58771929824561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53</c:v>
                </c:pt>
                <c:pt idx="1">
                  <c:v>Av Price/Unit 30.37</c:v>
                </c:pt>
                <c:pt idx="2">
                  <c:v>Av Price/Unit 31.16</c:v>
                </c:pt>
                <c:pt idx="3">
                  <c:v>Av Price/Unit 32.38</c:v>
                </c:pt>
                <c:pt idx="4">
                  <c:v>Av Price/Unit 33.14</c:v>
                </c:pt>
                <c:pt idx="5">
                  <c:v>Av Price/Unit 34.04</c:v>
                </c:pt>
              </c:strCache>
            </c:strRef>
          </c:cat>
          <c:val>
            <c:numRef>
              <c:f>Sheet1!$B$2:$B$7</c:f>
              <c:numCache>
                <c:formatCode>General</c:formatCode>
                <c:ptCount val="6"/>
                <c:pt idx="0">
                  <c:v>10.721439784946236</c:v>
                </c:pt>
                <c:pt idx="1">
                  <c:v>11.6205859602649</c:v>
                </c:pt>
                <c:pt idx="2">
                  <c:v>11.308079886968084</c:v>
                </c:pt>
                <c:pt idx="3">
                  <c:v>11.873300000000002</c:v>
                </c:pt>
                <c:pt idx="4">
                  <c:v>12.170903597122303</c:v>
                </c:pt>
                <c:pt idx="5">
                  <c:v>11.67862031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53</c:v>
                </c:pt>
                <c:pt idx="1">
                  <c:v>Av Price/Unit 30.37</c:v>
                </c:pt>
                <c:pt idx="2">
                  <c:v>Av Price/Unit 31.16</c:v>
                </c:pt>
                <c:pt idx="3">
                  <c:v>Av Price/Unit 32.38</c:v>
                </c:pt>
                <c:pt idx="4">
                  <c:v>Av Price/Unit 33.14</c:v>
                </c:pt>
                <c:pt idx="5">
                  <c:v>Av Price/Unit 34.04</c:v>
                </c:pt>
              </c:strCache>
            </c:strRef>
          </c:cat>
          <c:val>
            <c:numRef>
              <c:f>Sheet1!$C$2:$C$7</c:f>
              <c:numCache>
                <c:formatCode>General</c:formatCode>
                <c:ptCount val="6"/>
                <c:pt idx="0">
                  <c:v>14.22041834931706</c:v>
                </c:pt>
                <c:pt idx="1">
                  <c:v>13.511126490066227</c:v>
                </c:pt>
                <c:pt idx="2">
                  <c:v>14.350498769946807</c:v>
                </c:pt>
                <c:pt idx="3">
                  <c:v>14.906499999999998</c:v>
                </c:pt>
                <c:pt idx="4">
                  <c:v>14.28129784172662</c:v>
                </c:pt>
                <c:pt idx="5">
                  <c:v>14.27545312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53</c:v>
                </c:pt>
                <c:pt idx="1">
                  <c:v>Av Price/Unit 30.37</c:v>
                </c:pt>
                <c:pt idx="2">
                  <c:v>Av Price/Unit 31.16</c:v>
                </c:pt>
                <c:pt idx="3">
                  <c:v>Av Price/Unit 32.38</c:v>
                </c:pt>
                <c:pt idx="4">
                  <c:v>Av Price/Unit 33.14</c:v>
                </c:pt>
                <c:pt idx="5">
                  <c:v>Av Price/Unit 34.04</c:v>
                </c:pt>
              </c:strCache>
            </c:strRef>
          </c:cat>
          <c:val>
            <c:numRef>
              <c:f>Sheet1!$D$2:$D$7</c:f>
              <c:numCache>
                <c:formatCode>General</c:formatCode>
                <c:ptCount val="6"/>
                <c:pt idx="0">
                  <c:v>-0.3324914017243046</c:v>
                </c:pt>
                <c:pt idx="1">
                  <c:v>0.1774748638704935</c:v>
                </c:pt>
                <c:pt idx="2">
                  <c:v>0.30490167331559803</c:v>
                </c:pt>
                <c:pt idx="3">
                  <c:v>-0.13728792270530832</c:v>
                </c:pt>
                <c:pt idx="4">
                  <c:v>1.161707434052758</c:v>
                </c:pt>
                <c:pt idx="5">
                  <c:v>2.411811979166671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53</c:v>
                </c:pt>
                <c:pt idx="1">
                  <c:v>Av Price/Unit 30.37</c:v>
                </c:pt>
                <c:pt idx="2">
                  <c:v>Av Price/Unit 31.16</c:v>
                </c:pt>
                <c:pt idx="3">
                  <c:v>Av Price/Unit 32.38</c:v>
                </c:pt>
                <c:pt idx="4">
                  <c:v>Av Price/Unit 33.14</c:v>
                </c:pt>
                <c:pt idx="5">
                  <c:v>Av Price/Unit 34.04</c:v>
                </c:pt>
              </c:strCache>
            </c:strRef>
          </c:cat>
          <c:val>
            <c:numRef>
              <c:f>Sheet1!$E$2:$E$7</c:f>
              <c:numCache>
                <c:formatCode>General</c:formatCode>
                <c:ptCount val="6"/>
                <c:pt idx="0">
                  <c:v>4.921863799283155</c:v>
                </c:pt>
                <c:pt idx="1">
                  <c:v>5.06184694628403</c:v>
                </c:pt>
                <c:pt idx="2">
                  <c:v>5.192708333333335</c:v>
                </c:pt>
                <c:pt idx="3">
                  <c:v>5.328502415458935</c:v>
                </c:pt>
                <c:pt idx="4">
                  <c:v>5.522781774580334</c:v>
                </c:pt>
                <c:pt idx="5">
                  <c:v>5.67317708333332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62</c:v>
                </c:pt>
                <c:pt idx="1">
                  <c:v>Av Price/Unit 30.43</c:v>
                </c:pt>
                <c:pt idx="2">
                  <c:v>Av Price/Unit 31.30</c:v>
                </c:pt>
                <c:pt idx="3">
                  <c:v>Av Price/Unit 31.94</c:v>
                </c:pt>
                <c:pt idx="4">
                  <c:v>Av Price/Unit 33.39</c:v>
                </c:pt>
                <c:pt idx="5">
                  <c:v>Av Price/Unit 33.31</c:v>
                </c:pt>
              </c:strCache>
            </c:strRef>
          </c:cat>
          <c:val>
            <c:numRef>
              <c:f>Sheet1!$B$2:$B$7</c:f>
              <c:numCache>
                <c:formatCode>General</c:formatCode>
                <c:ptCount val="6"/>
                <c:pt idx="0">
                  <c:v>10.72252910372608</c:v>
                </c:pt>
                <c:pt idx="1">
                  <c:v>11.620479939781708</c:v>
                </c:pt>
                <c:pt idx="2">
                  <c:v>11.262560363636362</c:v>
                </c:pt>
                <c:pt idx="3">
                  <c:v>11.8733</c:v>
                </c:pt>
                <c:pt idx="4">
                  <c:v>11.652093103448276</c:v>
                </c:pt>
                <c:pt idx="5">
                  <c:v>12.14308613138685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62</c:v>
                </c:pt>
                <c:pt idx="1">
                  <c:v>Av Price/Unit 30.43</c:v>
                </c:pt>
                <c:pt idx="2">
                  <c:v>Av Price/Unit 31.30</c:v>
                </c:pt>
                <c:pt idx="3">
                  <c:v>Av Price/Unit 31.94</c:v>
                </c:pt>
                <c:pt idx="4">
                  <c:v>Av Price/Unit 33.39</c:v>
                </c:pt>
                <c:pt idx="5">
                  <c:v>Av Price/Unit 33.31</c:v>
                </c:pt>
              </c:strCache>
            </c:strRef>
          </c:cat>
          <c:val>
            <c:numRef>
              <c:f>Sheet1!$C$2:$C$7</c:f>
              <c:numCache>
                <c:formatCode>General</c:formatCode>
                <c:ptCount val="6"/>
                <c:pt idx="0">
                  <c:v>14.219792467270896</c:v>
                </c:pt>
                <c:pt idx="1">
                  <c:v>13.510655287918706</c:v>
                </c:pt>
                <c:pt idx="2">
                  <c:v>14.380738181818183</c:v>
                </c:pt>
                <c:pt idx="3">
                  <c:v>14.9065</c:v>
                </c:pt>
                <c:pt idx="4">
                  <c:v>14.273586206896553</c:v>
                </c:pt>
                <c:pt idx="5">
                  <c:v>14.28346131386861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62</c:v>
                </c:pt>
                <c:pt idx="1">
                  <c:v>Av Price/Unit 30.43</c:v>
                </c:pt>
                <c:pt idx="2">
                  <c:v>Av Price/Unit 31.30</c:v>
                </c:pt>
                <c:pt idx="3">
                  <c:v>Av Price/Unit 31.94</c:v>
                </c:pt>
                <c:pt idx="4">
                  <c:v>Av Price/Unit 33.39</c:v>
                </c:pt>
                <c:pt idx="5">
                  <c:v>Av Price/Unit 33.31</c:v>
                </c:pt>
              </c:strCache>
            </c:strRef>
          </c:cat>
          <c:val>
            <c:numRef>
              <c:f>Sheet1!$D$2:$D$7</c:f>
              <c:numCache>
                <c:formatCode>General</c:formatCode>
                <c:ptCount val="6"/>
                <c:pt idx="0">
                  <c:v>-0.26083728432359976</c:v>
                </c:pt>
                <c:pt idx="1">
                  <c:v>0.22479380253418668</c:v>
                </c:pt>
                <c:pt idx="2">
                  <c:v>0.4369550303030323</c:v>
                </c:pt>
                <c:pt idx="3">
                  <c:v>-0.17980000000000018</c:v>
                </c:pt>
                <c:pt idx="4">
                  <c:v>1.901906896551722</c:v>
                </c:pt>
                <c:pt idx="5">
                  <c:v>1.328927007299274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9.62</c:v>
                </c:pt>
                <c:pt idx="1">
                  <c:v>Av Price/Unit 30.43</c:v>
                </c:pt>
                <c:pt idx="2">
                  <c:v>Av Price/Unit 31.30</c:v>
                </c:pt>
                <c:pt idx="3">
                  <c:v>Av Price/Unit 31.94</c:v>
                </c:pt>
                <c:pt idx="4">
                  <c:v>Av Price/Unit 33.39</c:v>
                </c:pt>
                <c:pt idx="5">
                  <c:v>Av Price/Unit 33.31</c:v>
                </c:pt>
              </c:strCache>
            </c:strRef>
          </c:cat>
          <c:val>
            <c:numRef>
              <c:f>Sheet1!$E$2:$E$7</c:f>
              <c:numCache>
                <c:formatCode>General</c:formatCode>
                <c:ptCount val="6"/>
                <c:pt idx="0">
                  <c:v>4.936287344746558</c:v>
                </c:pt>
                <c:pt idx="1">
                  <c:v>5.071195583991967</c:v>
                </c:pt>
                <c:pt idx="2">
                  <c:v>5.216060606060604</c:v>
                </c:pt>
                <c:pt idx="3">
                  <c:v>5.319999999999997</c:v>
                </c:pt>
                <c:pt idx="4">
                  <c:v>5.565517241379314</c:v>
                </c:pt>
                <c:pt idx="5">
                  <c:v>5.55109489051094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2</c:v>
                </c:pt>
                <c:pt idx="1">
                  <c:v>Av Price/Unit 30.45</c:v>
                </c:pt>
                <c:pt idx="2">
                  <c:v>Av Price/Unit 31.64</c:v>
                </c:pt>
                <c:pt idx="3">
                  <c:v>Av Price/Unit 31.16</c:v>
                </c:pt>
                <c:pt idx="4">
                  <c:v>Av Price/Unit 33.09</c:v>
                </c:pt>
                <c:pt idx="5">
                  <c:v>Av Price/Unit 82.97</c:v>
                </c:pt>
                <c:pt idx="6">
                  <c:v>Av Price/Unit 36.20</c:v>
                </c:pt>
              </c:strCache>
            </c:strRef>
          </c:cat>
          <c:val>
            <c:numRef>
              <c:f>Sheet1!$B$2:$B$8</c:f>
              <c:numCache>
                <c:formatCode>General</c:formatCode>
                <c:ptCount val="7"/>
                <c:pt idx="0">
                  <c:v>10.722603546099288</c:v>
                </c:pt>
                <c:pt idx="1">
                  <c:v>11.620486031639182</c:v>
                </c:pt>
                <c:pt idx="2">
                  <c:v>11.25816324701195</c:v>
                </c:pt>
                <c:pt idx="3">
                  <c:v>12.052182555780933</c:v>
                </c:pt>
                <c:pt idx="4">
                  <c:v>11.873300000000002</c:v>
                </c:pt>
                <c:pt idx="5">
                  <c:v>26.0915</c:v>
                </c:pt>
                <c:pt idx="6">
                  <c:v>11.9180608695652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2</c:v>
                </c:pt>
                <c:pt idx="1">
                  <c:v>Av Price/Unit 30.45</c:v>
                </c:pt>
                <c:pt idx="2">
                  <c:v>Av Price/Unit 31.64</c:v>
                </c:pt>
                <c:pt idx="3">
                  <c:v>Av Price/Unit 31.16</c:v>
                </c:pt>
                <c:pt idx="4">
                  <c:v>Av Price/Unit 33.09</c:v>
                </c:pt>
                <c:pt idx="5">
                  <c:v>Av Price/Unit 82.97</c:v>
                </c:pt>
                <c:pt idx="6">
                  <c:v>Av Price/Unit 36.20</c:v>
                </c:pt>
              </c:strCache>
            </c:strRef>
          </c:cat>
          <c:val>
            <c:numRef>
              <c:f>Sheet1!$C$2:$C$8</c:f>
              <c:numCache>
                <c:formatCode>General</c:formatCode>
                <c:ptCount val="7"/>
                <c:pt idx="0">
                  <c:v>14.21974969545265</c:v>
                </c:pt>
                <c:pt idx="1">
                  <c:v>13.510682362840797</c:v>
                </c:pt>
                <c:pt idx="2">
                  <c:v>14.383659262948209</c:v>
                </c:pt>
                <c:pt idx="3">
                  <c:v>14.290531237322515</c:v>
                </c:pt>
                <c:pt idx="4">
                  <c:v>14.9065</c:v>
                </c:pt>
                <c:pt idx="5">
                  <c:v>31.530999999999995</c:v>
                </c:pt>
                <c:pt idx="6">
                  <c:v>14.29230434782608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2</c:v>
                </c:pt>
                <c:pt idx="1">
                  <c:v>Av Price/Unit 30.45</c:v>
                </c:pt>
                <c:pt idx="2">
                  <c:v>Av Price/Unit 31.64</c:v>
                </c:pt>
                <c:pt idx="3">
                  <c:v>Av Price/Unit 31.16</c:v>
                </c:pt>
                <c:pt idx="4">
                  <c:v>Av Price/Unit 33.09</c:v>
                </c:pt>
                <c:pt idx="5">
                  <c:v>Av Price/Unit 82.97</c:v>
                </c:pt>
                <c:pt idx="6">
                  <c:v>Av Price/Unit 36.20</c:v>
                </c:pt>
              </c:strCache>
            </c:strRef>
          </c:cat>
          <c:val>
            <c:numRef>
              <c:f>Sheet1!$D$2:$D$8</c:f>
              <c:numCache>
                <c:formatCode>General</c:formatCode>
                <c:ptCount val="7"/>
                <c:pt idx="0">
                  <c:v>-0.25985540536782636</c:v>
                </c:pt>
                <c:pt idx="1">
                  <c:v>0.24407731403567823</c:v>
                </c:pt>
                <c:pt idx="2">
                  <c:v>0.7210109893758307</c:v>
                </c:pt>
                <c:pt idx="3">
                  <c:v>-0.3724636240703205</c:v>
                </c:pt>
                <c:pt idx="4">
                  <c:v>0.2649154471544719</c:v>
                </c:pt>
                <c:pt idx="5">
                  <c:v>10.849722222222212</c:v>
                </c:pt>
                <c:pt idx="6">
                  <c:v>3.952678260869568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9.62</c:v>
                </c:pt>
                <c:pt idx="1">
                  <c:v>Av Price/Unit 30.45</c:v>
                </c:pt>
                <c:pt idx="2">
                  <c:v>Av Price/Unit 31.64</c:v>
                </c:pt>
                <c:pt idx="3">
                  <c:v>Av Price/Unit 31.16</c:v>
                </c:pt>
                <c:pt idx="4">
                  <c:v>Av Price/Unit 33.09</c:v>
                </c:pt>
                <c:pt idx="5">
                  <c:v>Av Price/Unit 82.97</c:v>
                </c:pt>
                <c:pt idx="6">
                  <c:v>Av Price/Unit 36.20</c:v>
                </c:pt>
              </c:strCache>
            </c:strRef>
          </c:cat>
          <c:val>
            <c:numRef>
              <c:f>Sheet1!$E$2:$E$8</c:f>
              <c:numCache>
                <c:formatCode>General</c:formatCode>
                <c:ptCount val="7"/>
                <c:pt idx="0">
                  <c:v>4.9364900570157175</c:v>
                </c:pt>
                <c:pt idx="1">
                  <c:v>5.075058902726354</c:v>
                </c:pt>
                <c:pt idx="2">
                  <c:v>5.272576361221777</c:v>
                </c:pt>
                <c:pt idx="3">
                  <c:v>5.194050033806625</c:v>
                </c:pt>
                <c:pt idx="4">
                  <c:v>5.408943089430893</c:v>
                </c:pt>
                <c:pt idx="5">
                  <c:v>13.694444444444448</c:v>
                </c:pt>
                <c:pt idx="6">
                  <c:v>6.03260869565217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63</c:v>
                </c:pt>
                <c:pt idx="2">
                  <c:v>Av Price/Unit 45.00</c:v>
                </c:pt>
                <c:pt idx="3">
                  <c:v>Av Price/Unit 42.05</c:v>
                </c:pt>
                <c:pt idx="4">
                  <c:v>Av Price/Unit 39.13</c:v>
                </c:pt>
                <c:pt idx="5">
                  <c:v>Av Price/Unit 40.19</c:v>
                </c:pt>
              </c:strCache>
            </c:strRef>
          </c:cat>
          <c:val>
            <c:numRef>
              <c:f>Sheet1!$B$2:$B$7</c:f>
              <c:numCache>
                <c:formatCode>General</c:formatCode>
                <c:ptCount val="6"/>
                <c:pt idx="0">
                  <c:v>11.320845365343633</c:v>
                </c:pt>
                <c:pt idx="1">
                  <c:v>13.48837019982624</c:v>
                </c:pt>
                <c:pt idx="2">
                  <c:v>13.763791185576396</c:v>
                </c:pt>
                <c:pt idx="3">
                  <c:v>12.679924840764334</c:v>
                </c:pt>
                <c:pt idx="4">
                  <c:v>13.929</c:v>
                </c:pt>
                <c:pt idx="5">
                  <c:v>13.90245305343511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63</c:v>
                </c:pt>
                <c:pt idx="2">
                  <c:v>Av Price/Unit 45.00</c:v>
                </c:pt>
                <c:pt idx="3">
                  <c:v>Av Price/Unit 42.05</c:v>
                </c:pt>
                <c:pt idx="4">
                  <c:v>Av Price/Unit 39.13</c:v>
                </c:pt>
                <c:pt idx="5">
                  <c:v>Av Price/Unit 40.19</c:v>
                </c:pt>
              </c:strCache>
            </c:strRef>
          </c:cat>
          <c:val>
            <c:numRef>
              <c:f>Sheet1!$C$2:$C$7</c:f>
              <c:numCache>
                <c:formatCode>General</c:formatCode>
                <c:ptCount val="6"/>
                <c:pt idx="0">
                  <c:v>13.899442753448351</c:v>
                </c:pt>
                <c:pt idx="1">
                  <c:v>17.753950173761947</c:v>
                </c:pt>
                <c:pt idx="2">
                  <c:v>22.672635166636322</c:v>
                </c:pt>
                <c:pt idx="3">
                  <c:v>22.66696178343949</c:v>
                </c:pt>
                <c:pt idx="4">
                  <c:v>17.571</c:v>
                </c:pt>
                <c:pt idx="5">
                  <c:v>16.7208095419847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63</c:v>
                </c:pt>
                <c:pt idx="2">
                  <c:v>Av Price/Unit 45.00</c:v>
                </c:pt>
                <c:pt idx="3">
                  <c:v>Av Price/Unit 42.05</c:v>
                </c:pt>
                <c:pt idx="4">
                  <c:v>Av Price/Unit 39.13</c:v>
                </c:pt>
                <c:pt idx="5">
                  <c:v>Av Price/Unit 40.19</c:v>
                </c:pt>
              </c:strCache>
            </c:strRef>
          </c:cat>
          <c:val>
            <c:numRef>
              <c:f>Sheet1!$D$2:$D$7</c:f>
              <c:numCache>
                <c:formatCode>General</c:formatCode>
                <c:ptCount val="6"/>
                <c:pt idx="0">
                  <c:v>0.1571532023699298</c:v>
                </c:pt>
                <c:pt idx="1">
                  <c:v>-0.718138502751227</c:v>
                </c:pt>
                <c:pt idx="2">
                  <c:v>1.0609356644205619</c:v>
                </c:pt>
                <c:pt idx="3">
                  <c:v>-0.301769851380044</c:v>
                </c:pt>
                <c:pt idx="4">
                  <c:v>0.9904434250764567</c:v>
                </c:pt>
                <c:pt idx="5">
                  <c:v>2.8691038167939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63</c:v>
                </c:pt>
                <c:pt idx="2">
                  <c:v>Av Price/Unit 45.00</c:v>
                </c:pt>
                <c:pt idx="3">
                  <c:v>Av Price/Unit 42.05</c:v>
                </c:pt>
                <c:pt idx="4">
                  <c:v>Av Price/Unit 39.13</c:v>
                </c:pt>
                <c:pt idx="5">
                  <c:v>Av Price/Unit 40.19</c:v>
                </c:pt>
              </c:strCache>
            </c:strRef>
          </c:cat>
          <c:val>
            <c:numRef>
              <c:f>Sheet1!$E$2:$E$7</c:f>
              <c:numCache>
                <c:formatCode>General</c:formatCode>
                <c:ptCount val="6"/>
                <c:pt idx="0">
                  <c:v>5.075488264232386</c:v>
                </c:pt>
                <c:pt idx="1">
                  <c:v>6.104836374167399</c:v>
                </c:pt>
                <c:pt idx="2">
                  <c:v>7.499484004127976</c:v>
                </c:pt>
                <c:pt idx="3">
                  <c:v>7.009023354564756</c:v>
                </c:pt>
                <c:pt idx="4">
                  <c:v>6.498088685015289</c:v>
                </c:pt>
                <c:pt idx="5">
                  <c:v>6.69847328244274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54</c:v>
                </c:pt>
                <c:pt idx="2">
                  <c:v>Av Price/Unit 44.91</c:v>
                </c:pt>
                <c:pt idx="3">
                  <c:v>Av Price/Unit 42.19</c:v>
                </c:pt>
                <c:pt idx="4">
                  <c:v>Av Price/Unit 38.47</c:v>
                </c:pt>
                <c:pt idx="5">
                  <c:v>Av Price/Unit 39.59</c:v>
                </c:pt>
              </c:strCache>
            </c:strRef>
          </c:cat>
          <c:val>
            <c:numRef>
              <c:f>Sheet1!$B$2:$B$7</c:f>
              <c:numCache>
                <c:formatCode>General</c:formatCode>
                <c:ptCount val="6"/>
                <c:pt idx="0">
                  <c:v>11.294494046495666</c:v>
                </c:pt>
                <c:pt idx="1">
                  <c:v>13.487224540641545</c:v>
                </c:pt>
                <c:pt idx="2">
                  <c:v>13.650449509403106</c:v>
                </c:pt>
                <c:pt idx="3">
                  <c:v>12.63190733944954</c:v>
                </c:pt>
                <c:pt idx="4">
                  <c:v>13.929000000000002</c:v>
                </c:pt>
                <c:pt idx="5">
                  <c:v>13.95015540540540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54</c:v>
                </c:pt>
                <c:pt idx="2">
                  <c:v>Av Price/Unit 44.91</c:v>
                </c:pt>
                <c:pt idx="3">
                  <c:v>Av Price/Unit 42.19</c:v>
                </c:pt>
                <c:pt idx="4">
                  <c:v>Av Price/Unit 38.47</c:v>
                </c:pt>
                <c:pt idx="5">
                  <c:v>Av Price/Unit 39.59</c:v>
                </c:pt>
              </c:strCache>
            </c:strRef>
          </c:cat>
          <c:val>
            <c:numRef>
              <c:f>Sheet1!$C$2:$C$7</c:f>
              <c:numCache>
                <c:formatCode>General</c:formatCode>
                <c:ptCount val="6"/>
                <c:pt idx="0">
                  <c:v>13.904633078836751</c:v>
                </c:pt>
                <c:pt idx="1">
                  <c:v>17.755204733727812</c:v>
                </c:pt>
                <c:pt idx="2">
                  <c:v>22.672055028618153</c:v>
                </c:pt>
                <c:pt idx="3">
                  <c:v>22.67024637197665</c:v>
                </c:pt>
                <c:pt idx="4">
                  <c:v>17.571</c:v>
                </c:pt>
                <c:pt idx="5">
                  <c:v>16.77780135135135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54</c:v>
                </c:pt>
                <c:pt idx="2">
                  <c:v>Av Price/Unit 44.91</c:v>
                </c:pt>
                <c:pt idx="3">
                  <c:v>Av Price/Unit 42.19</c:v>
                </c:pt>
                <c:pt idx="4">
                  <c:v>Av Price/Unit 38.47</c:v>
                </c:pt>
                <c:pt idx="5">
                  <c:v>Av Price/Unit 39.59</c:v>
                </c:pt>
              </c:strCache>
            </c:strRef>
          </c:cat>
          <c:val>
            <c:numRef>
              <c:f>Sheet1!$D$2:$D$7</c:f>
              <c:numCache>
                <c:formatCode>General</c:formatCode>
                <c:ptCount val="6"/>
                <c:pt idx="0">
                  <c:v>0.17182309056074985</c:v>
                </c:pt>
                <c:pt idx="1">
                  <c:v>-0.7924137028962868</c:v>
                </c:pt>
                <c:pt idx="2">
                  <c:v>1.0983940583265195</c:v>
                </c:pt>
                <c:pt idx="3">
                  <c:v>-0.14681592994161718</c:v>
                </c:pt>
                <c:pt idx="4">
                  <c:v>0.5521292217327485</c:v>
                </c:pt>
                <c:pt idx="5">
                  <c:v>2.26753873873874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54</c:v>
                </c:pt>
                <c:pt idx="2">
                  <c:v>Av Price/Unit 44.91</c:v>
                </c:pt>
                <c:pt idx="3">
                  <c:v>Av Price/Unit 42.19</c:v>
                </c:pt>
                <c:pt idx="4">
                  <c:v>Av Price/Unit 38.47</c:v>
                </c:pt>
                <c:pt idx="5">
                  <c:v>Av Price/Unit 39.59</c:v>
                </c:pt>
              </c:strCache>
            </c:strRef>
          </c:cat>
          <c:val>
            <c:numRef>
              <c:f>Sheet1!$E$2:$E$7</c:f>
              <c:numCache>
                <c:formatCode>General</c:formatCode>
                <c:ptCount val="6"/>
                <c:pt idx="0">
                  <c:v>5.074190043178632</c:v>
                </c:pt>
                <c:pt idx="1">
                  <c:v>6.090003114294608</c:v>
                </c:pt>
                <c:pt idx="2">
                  <c:v>7.484191877895882</c:v>
                </c:pt>
                <c:pt idx="3">
                  <c:v>7.0310675562969145</c:v>
                </c:pt>
                <c:pt idx="4">
                  <c:v>6.4104258443465465</c:v>
                </c:pt>
                <c:pt idx="5">
                  <c:v>6.59909909909909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55</c:v>
                </c:pt>
                <c:pt idx="1">
                  <c:v>Av Price/Unit 41.05</c:v>
                </c:pt>
                <c:pt idx="2">
                  <c:v>Av Price/Unit 36.12</c:v>
                </c:pt>
                <c:pt idx="3">
                  <c:v>Av Price/Unit 45.96</c:v>
                </c:pt>
              </c:strCache>
            </c:strRef>
          </c:cat>
          <c:val>
            <c:numRef>
              <c:f>Sheet1!$B$2:$B$5</c:f>
              <c:numCache>
                <c:formatCode>General</c:formatCode>
                <c:ptCount val="4"/>
                <c:pt idx="0">
                  <c:v>11.309679907264297</c:v>
                </c:pt>
                <c:pt idx="1">
                  <c:v>12.436428760162602</c:v>
                </c:pt>
                <c:pt idx="2">
                  <c:v>13.485827682737169</c:v>
                </c:pt>
                <c:pt idx="3">
                  <c:v>13.52104690431519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55</c:v>
                </c:pt>
                <c:pt idx="1">
                  <c:v>Av Price/Unit 41.05</c:v>
                </c:pt>
                <c:pt idx="2">
                  <c:v>Av Price/Unit 36.12</c:v>
                </c:pt>
                <c:pt idx="3">
                  <c:v>Av Price/Unit 45.96</c:v>
                </c:pt>
              </c:strCache>
            </c:strRef>
          </c:cat>
          <c:val>
            <c:numRef>
              <c:f>Sheet1!$C$2:$C$5</c:f>
              <c:numCache>
                <c:formatCode>General</c:formatCode>
                <c:ptCount val="4"/>
                <c:pt idx="0">
                  <c:v>13.901641973945685</c:v>
                </c:pt>
                <c:pt idx="1">
                  <c:v>22.68361788617886</c:v>
                </c:pt>
                <c:pt idx="2">
                  <c:v>17.75673437013997</c:v>
                </c:pt>
                <c:pt idx="3">
                  <c:v>22.67139268292682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55</c:v>
                </c:pt>
                <c:pt idx="1">
                  <c:v>Av Price/Unit 41.05</c:v>
                </c:pt>
                <c:pt idx="2">
                  <c:v>Av Price/Unit 36.12</c:v>
                </c:pt>
                <c:pt idx="3">
                  <c:v>Av Price/Unit 45.96</c:v>
                </c:pt>
              </c:strCache>
            </c:strRef>
          </c:cat>
          <c:val>
            <c:numRef>
              <c:f>Sheet1!$D$2:$D$5</c:f>
              <c:numCache>
                <c:formatCode>General</c:formatCode>
                <c:ptCount val="4"/>
                <c:pt idx="0">
                  <c:v>0.24757265032751974</c:v>
                </c:pt>
                <c:pt idx="1">
                  <c:v>-0.9101889227642346</c:v>
                </c:pt>
                <c:pt idx="2">
                  <c:v>-1.1427694142042526</c:v>
                </c:pt>
                <c:pt idx="3">
                  <c:v>2.111123702313946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55</c:v>
                </c:pt>
                <c:pt idx="1">
                  <c:v>Av Price/Unit 41.05</c:v>
                </c:pt>
                <c:pt idx="2">
                  <c:v>Av Price/Unit 36.12</c:v>
                </c:pt>
                <c:pt idx="3">
                  <c:v>Av Price/Unit 45.96</c:v>
                </c:pt>
              </c:strCache>
            </c:strRef>
          </c:cat>
          <c:val>
            <c:numRef>
              <c:f>Sheet1!$E$2:$E$5</c:f>
              <c:numCache>
                <c:formatCode>General</c:formatCode>
                <c:ptCount val="4"/>
                <c:pt idx="0">
                  <c:v>5.091778906307501</c:v>
                </c:pt>
                <c:pt idx="1">
                  <c:v>6.841971544715447</c:v>
                </c:pt>
                <c:pt idx="2">
                  <c:v>6.019958527734576</c:v>
                </c:pt>
                <c:pt idx="3">
                  <c:v>7.66072545340837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8</c:v>
                </c:pt>
                <c:pt idx="1">
                  <c:v>Av Price/Unit 45.06</c:v>
                </c:pt>
                <c:pt idx="2">
                  <c:v>Av Price/Unit 43.34</c:v>
                </c:pt>
                <c:pt idx="3">
                  <c:v>Av Price/Unit 38.73</c:v>
                </c:pt>
              </c:strCache>
            </c:strRef>
          </c:cat>
          <c:val>
            <c:numRef>
              <c:f>Sheet1!$B$2:$B$5</c:f>
              <c:numCache>
                <c:formatCode>General</c:formatCode>
                <c:ptCount val="4"/>
                <c:pt idx="0">
                  <c:v>11.449227761688043</c:v>
                </c:pt>
                <c:pt idx="1">
                  <c:v>14.47115910447761</c:v>
                </c:pt>
                <c:pt idx="2">
                  <c:v>12.908407894736843</c:v>
                </c:pt>
                <c:pt idx="3">
                  <c:v>13.52453202614379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8</c:v>
                </c:pt>
                <c:pt idx="1">
                  <c:v>Av Price/Unit 45.06</c:v>
                </c:pt>
                <c:pt idx="2">
                  <c:v>Av Price/Unit 43.34</c:v>
                </c:pt>
                <c:pt idx="3">
                  <c:v>Av Price/Unit 38.73</c:v>
                </c:pt>
              </c:strCache>
            </c:strRef>
          </c:cat>
          <c:val>
            <c:numRef>
              <c:f>Sheet1!$C$2:$C$5</c:f>
              <c:numCache>
                <c:formatCode>General</c:formatCode>
                <c:ptCount val="4"/>
                <c:pt idx="0">
                  <c:v>13.874155730244103</c:v>
                </c:pt>
                <c:pt idx="1">
                  <c:v>22.676255820895523</c:v>
                </c:pt>
                <c:pt idx="2">
                  <c:v>22.65133263157895</c:v>
                </c:pt>
                <c:pt idx="3">
                  <c:v>17.7143509803921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8</c:v>
                </c:pt>
                <c:pt idx="1">
                  <c:v>Av Price/Unit 45.06</c:v>
                </c:pt>
                <c:pt idx="2">
                  <c:v>Av Price/Unit 43.34</c:v>
                </c:pt>
                <c:pt idx="3">
                  <c:v>Av Price/Unit 38.73</c:v>
                </c:pt>
              </c:strCache>
            </c:strRef>
          </c:cat>
          <c:val>
            <c:numRef>
              <c:f>Sheet1!$D$2:$D$5</c:f>
              <c:numCache>
                <c:formatCode>General</c:formatCode>
                <c:ptCount val="4"/>
                <c:pt idx="0">
                  <c:v>-0.005151523927732882</c:v>
                </c:pt>
                <c:pt idx="1">
                  <c:v>0.40229572139303116</c:v>
                </c:pt>
                <c:pt idx="2">
                  <c:v>0.5542945614035091</c:v>
                </c:pt>
                <c:pt idx="3">
                  <c:v>1.037805446623089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8</c:v>
                </c:pt>
                <c:pt idx="1">
                  <c:v>Av Price/Unit 45.06</c:v>
                </c:pt>
                <c:pt idx="2">
                  <c:v>Av Price/Unit 43.34</c:v>
                </c:pt>
                <c:pt idx="3">
                  <c:v>Av Price/Unit 38.73</c:v>
                </c:pt>
              </c:strCache>
            </c:strRef>
          </c:cat>
          <c:val>
            <c:numRef>
              <c:f>Sheet1!$E$2:$E$5</c:f>
              <c:numCache>
                <c:formatCode>General</c:formatCode>
                <c:ptCount val="4"/>
                <c:pt idx="0">
                  <c:v>5.063646393600884</c:v>
                </c:pt>
                <c:pt idx="1">
                  <c:v>7.509950248756221</c:v>
                </c:pt>
                <c:pt idx="2">
                  <c:v>7.222807017543858</c:v>
                </c:pt>
                <c:pt idx="3">
                  <c:v>6.455337690631810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29</c:v>
                </c:pt>
                <c:pt idx="2">
                  <c:v>Av Price/Unit 41.79</c:v>
                </c:pt>
                <c:pt idx="3">
                  <c:v>Av Price/Unit 44.94</c:v>
                </c:pt>
                <c:pt idx="4">
                  <c:v>Av Price/Unit 38.30</c:v>
                </c:pt>
                <c:pt idx="5">
                  <c:v>Av Price/Unit 38.76</c:v>
                </c:pt>
              </c:strCache>
            </c:strRef>
          </c:cat>
          <c:val>
            <c:numRef>
              <c:f>Sheet1!$B$2:$B$7</c:f>
              <c:numCache>
                <c:formatCode>General</c:formatCode>
                <c:ptCount val="6"/>
                <c:pt idx="0">
                  <c:v>11.29904943817197</c:v>
                </c:pt>
                <c:pt idx="1">
                  <c:v>13.485180642804966</c:v>
                </c:pt>
                <c:pt idx="2">
                  <c:v>12.613931331760671</c:v>
                </c:pt>
                <c:pt idx="3">
                  <c:v>13.672461798839457</c:v>
                </c:pt>
                <c:pt idx="4">
                  <c:v>13.928999999999998</c:v>
                </c:pt>
                <c:pt idx="5">
                  <c:v>13.86973011363636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29</c:v>
                </c:pt>
                <c:pt idx="2">
                  <c:v>Av Price/Unit 41.79</c:v>
                </c:pt>
                <c:pt idx="3">
                  <c:v>Av Price/Unit 44.94</c:v>
                </c:pt>
                <c:pt idx="4">
                  <c:v>Av Price/Unit 38.30</c:v>
                </c:pt>
                <c:pt idx="5">
                  <c:v>Av Price/Unit 38.76</c:v>
                </c:pt>
              </c:strCache>
            </c:strRef>
          </c:cat>
          <c:val>
            <c:numRef>
              <c:f>Sheet1!$C$2:$C$7</c:f>
              <c:numCache>
                <c:formatCode>General</c:formatCode>
                <c:ptCount val="6"/>
                <c:pt idx="0">
                  <c:v>13.90373581956832</c:v>
                </c:pt>
                <c:pt idx="1">
                  <c:v>17.75744291453616</c:v>
                </c:pt>
                <c:pt idx="2">
                  <c:v>22.671476002573453</c:v>
                </c:pt>
                <c:pt idx="3">
                  <c:v>22.672167698259187</c:v>
                </c:pt>
                <c:pt idx="4">
                  <c:v>17.571</c:v>
                </c:pt>
                <c:pt idx="5">
                  <c:v>16.68171420454545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29</c:v>
                </c:pt>
                <c:pt idx="2">
                  <c:v>Av Price/Unit 41.79</c:v>
                </c:pt>
                <c:pt idx="3">
                  <c:v>Av Price/Unit 44.94</c:v>
                </c:pt>
                <c:pt idx="4">
                  <c:v>Av Price/Unit 38.30</c:v>
                </c:pt>
                <c:pt idx="5">
                  <c:v>Av Price/Unit 38.76</c:v>
                </c:pt>
              </c:strCache>
            </c:strRef>
          </c:cat>
          <c:val>
            <c:numRef>
              <c:f>Sheet1!$D$2:$D$7</c:f>
              <c:numCache>
                <c:formatCode>General</c:formatCode>
                <c:ptCount val="6"/>
                <c:pt idx="0">
                  <c:v>0.16988052868421377</c:v>
                </c:pt>
                <c:pt idx="1">
                  <c:v>-1.0029413075237414</c:v>
                </c:pt>
                <c:pt idx="2">
                  <c:v>-0.46108107798985287</c:v>
                </c:pt>
                <c:pt idx="3">
                  <c:v>1.1073573178594458</c:v>
                </c:pt>
                <c:pt idx="4">
                  <c:v>0.378393051031491</c:v>
                </c:pt>
                <c:pt idx="5">
                  <c:v>1.749692045454551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45</c:v>
                </c:pt>
                <c:pt idx="1">
                  <c:v>Av Price/Unit 36.29</c:v>
                </c:pt>
                <c:pt idx="2">
                  <c:v>Av Price/Unit 41.79</c:v>
                </c:pt>
                <c:pt idx="3">
                  <c:v>Av Price/Unit 44.94</c:v>
                </c:pt>
                <c:pt idx="4">
                  <c:v>Av Price/Unit 38.30</c:v>
                </c:pt>
                <c:pt idx="5">
                  <c:v>Av Price/Unit 38.76</c:v>
                </c:pt>
              </c:strCache>
            </c:strRef>
          </c:cat>
          <c:val>
            <c:numRef>
              <c:f>Sheet1!$E$2:$E$7</c:f>
              <c:numCache>
                <c:formatCode>General</c:formatCode>
                <c:ptCount val="6"/>
                <c:pt idx="0">
                  <c:v>5.074533157284902</c:v>
                </c:pt>
                <c:pt idx="1">
                  <c:v>6.047936449963477</c:v>
                </c:pt>
                <c:pt idx="2">
                  <c:v>6.964865251268852</c:v>
                </c:pt>
                <c:pt idx="3">
                  <c:v>7.490409413281749</c:v>
                </c:pt>
                <c:pt idx="4">
                  <c:v>6.375678610206293</c:v>
                </c:pt>
                <c:pt idx="5">
                  <c:v>6.460227272727272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88</c:v>
                </c:pt>
                <c:pt idx="1">
                  <c:v>Av Price/Unit 45.02</c:v>
                </c:pt>
                <c:pt idx="2">
                  <c:v>Av Price/Unit 37.25</c:v>
                </c:pt>
                <c:pt idx="3">
                  <c:v>Av Price/Unit 43.28</c:v>
                </c:pt>
              </c:strCache>
            </c:strRef>
          </c:cat>
          <c:val>
            <c:numRef>
              <c:f>Sheet1!$B$2:$B$5</c:f>
              <c:numCache>
                <c:formatCode>General</c:formatCode>
                <c:ptCount val="4"/>
                <c:pt idx="0">
                  <c:v>11.362520689655172</c:v>
                </c:pt>
                <c:pt idx="1">
                  <c:v>14.329236741214057</c:v>
                </c:pt>
                <c:pt idx="2">
                  <c:v>13.537649107142856</c:v>
                </c:pt>
                <c:pt idx="3">
                  <c:v>12.87751393442623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88</c:v>
                </c:pt>
                <c:pt idx="1">
                  <c:v>Av Price/Unit 45.02</c:v>
                </c:pt>
                <c:pt idx="2">
                  <c:v>Av Price/Unit 37.25</c:v>
                </c:pt>
                <c:pt idx="3">
                  <c:v>Av Price/Unit 43.28</c:v>
                </c:pt>
              </c:strCache>
            </c:strRef>
          </c:cat>
          <c:val>
            <c:numRef>
              <c:f>Sheet1!$C$2:$C$5</c:f>
              <c:numCache>
                <c:formatCode>General</c:formatCode>
                <c:ptCount val="4"/>
                <c:pt idx="0">
                  <c:v>13.89123411330049</c:v>
                </c:pt>
                <c:pt idx="1">
                  <c:v>22.675529392971246</c:v>
                </c:pt>
                <c:pt idx="2">
                  <c:v>17.699987053571427</c:v>
                </c:pt>
                <c:pt idx="3">
                  <c:v>22.65344590163934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88</c:v>
                </c:pt>
                <c:pt idx="1">
                  <c:v>Av Price/Unit 45.02</c:v>
                </c:pt>
                <c:pt idx="2">
                  <c:v>Av Price/Unit 37.25</c:v>
                </c:pt>
                <c:pt idx="3">
                  <c:v>Av Price/Unit 43.28</c:v>
                </c:pt>
              </c:strCache>
            </c:strRef>
          </c:cat>
          <c:val>
            <c:numRef>
              <c:f>Sheet1!$D$2:$D$5</c:f>
              <c:numCache>
                <c:formatCode>General</c:formatCode>
                <c:ptCount val="4"/>
                <c:pt idx="0">
                  <c:v>0.4762670908593307</c:v>
                </c:pt>
                <c:pt idx="1">
                  <c:v>0.5138266240681588</c:v>
                </c:pt>
                <c:pt idx="2">
                  <c:v>-0.19596949404761332</c:v>
                </c:pt>
                <c:pt idx="3">
                  <c:v>0.53461393442622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88</c:v>
                </c:pt>
                <c:pt idx="1">
                  <c:v>Av Price/Unit 45.02</c:v>
                </c:pt>
                <c:pt idx="2">
                  <c:v>Av Price/Unit 37.25</c:v>
                </c:pt>
                <c:pt idx="3">
                  <c:v>Av Price/Unit 43.28</c:v>
                </c:pt>
              </c:strCache>
            </c:strRef>
          </c:cat>
          <c:val>
            <c:numRef>
              <c:f>Sheet1!$E$2:$E$5</c:f>
              <c:numCache>
                <c:formatCode>General</c:formatCode>
                <c:ptCount val="4"/>
                <c:pt idx="0">
                  <c:v>5.146004378763002</c:v>
                </c:pt>
                <c:pt idx="1">
                  <c:v>7.503727369542064</c:v>
                </c:pt>
                <c:pt idx="2">
                  <c:v>6.208333333333327</c:v>
                </c:pt>
                <c:pt idx="3">
                  <c:v>7.21311475409836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60</c:v>
                </c:pt>
                <c:pt idx="1">
                  <c:v>Av Price/Unit 37.16</c:v>
                </c:pt>
                <c:pt idx="2">
                  <c:v>Av Price/Unit 43.83</c:v>
                </c:pt>
                <c:pt idx="3">
                  <c:v>Av Price/Unit 46.33</c:v>
                </c:pt>
              </c:strCache>
            </c:strRef>
          </c:cat>
          <c:val>
            <c:numRef>
              <c:f>Sheet1!$B$2:$B$5</c:f>
              <c:numCache>
                <c:formatCode>General</c:formatCode>
                <c:ptCount val="4"/>
                <c:pt idx="0">
                  <c:v>11.289530982658958</c:v>
                </c:pt>
                <c:pt idx="1">
                  <c:v>13.4595</c:v>
                </c:pt>
                <c:pt idx="2">
                  <c:v>12.934777966101697</c:v>
                </c:pt>
                <c:pt idx="3">
                  <c:v>14.0137962962962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60</c:v>
                </c:pt>
                <c:pt idx="1">
                  <c:v>Av Price/Unit 37.16</c:v>
                </c:pt>
                <c:pt idx="2">
                  <c:v>Av Price/Unit 43.83</c:v>
                </c:pt>
                <c:pt idx="3">
                  <c:v>Av Price/Unit 46.33</c:v>
                </c:pt>
              </c:strCache>
            </c:strRef>
          </c:cat>
          <c:val>
            <c:numRef>
              <c:f>Sheet1!$C$2:$C$5</c:f>
              <c:numCache>
                <c:formatCode>General</c:formatCode>
                <c:ptCount val="4"/>
                <c:pt idx="0">
                  <c:v>13.90561063583815</c:v>
                </c:pt>
                <c:pt idx="1">
                  <c:v>17.785564634146343</c:v>
                </c:pt>
                <c:pt idx="2">
                  <c:v>22.649528813559325</c:v>
                </c:pt>
                <c:pt idx="3">
                  <c:v>22.67391481481481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60</c:v>
                </c:pt>
                <c:pt idx="1">
                  <c:v>Av Price/Unit 37.16</c:v>
                </c:pt>
                <c:pt idx="2">
                  <c:v>Av Price/Unit 43.83</c:v>
                </c:pt>
                <c:pt idx="3">
                  <c:v>Av Price/Unit 46.33</c:v>
                </c:pt>
              </c:strCache>
            </c:strRef>
          </c:cat>
          <c:val>
            <c:numRef>
              <c:f>Sheet1!$D$2:$D$5</c:f>
              <c:numCache>
                <c:formatCode>General</c:formatCode>
                <c:ptCount val="4"/>
                <c:pt idx="0">
                  <c:v>0.30293159922928936</c:v>
                </c:pt>
                <c:pt idx="1">
                  <c:v>-0.27453617886178705</c:v>
                </c:pt>
                <c:pt idx="2">
                  <c:v>0.9411169491525371</c:v>
                </c:pt>
                <c:pt idx="3">
                  <c:v>1.923348148148157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60</c:v>
                </c:pt>
                <c:pt idx="1">
                  <c:v>Av Price/Unit 37.16</c:v>
                </c:pt>
                <c:pt idx="2">
                  <c:v>Av Price/Unit 43.83</c:v>
                </c:pt>
                <c:pt idx="3">
                  <c:v>Av Price/Unit 46.33</c:v>
                </c:pt>
              </c:strCache>
            </c:strRef>
          </c:cat>
          <c:val>
            <c:numRef>
              <c:f>Sheet1!$E$2:$E$5</c:f>
              <c:numCache>
                <c:formatCode>General</c:formatCode>
                <c:ptCount val="4"/>
                <c:pt idx="0">
                  <c:v>5.0996146435452765</c:v>
                </c:pt>
                <c:pt idx="1">
                  <c:v>6.194105691056909</c:v>
                </c:pt>
                <c:pt idx="2">
                  <c:v>7.305084745762712</c:v>
                </c:pt>
                <c:pt idx="3">
                  <c:v>7.72222222222221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36</c:v>
                </c:pt>
                <c:pt idx="1">
                  <c:v>Av Price/Unit 41.62</c:v>
                </c:pt>
                <c:pt idx="2">
                  <c:v>Av Price/Unit 36.29</c:v>
                </c:pt>
                <c:pt idx="3">
                  <c:v>Av Price/Unit 45.07</c:v>
                </c:pt>
                <c:pt idx="4">
                  <c:v>Av Price/Unit 38.29</c:v>
                </c:pt>
                <c:pt idx="5">
                  <c:v>Av Price/Unit 40.61</c:v>
                </c:pt>
              </c:strCache>
            </c:strRef>
          </c:cat>
          <c:val>
            <c:numRef>
              <c:f>Sheet1!$B$2:$B$7</c:f>
              <c:numCache>
                <c:formatCode>General</c:formatCode>
                <c:ptCount val="6"/>
                <c:pt idx="0">
                  <c:v>11.3172250677099</c:v>
                </c:pt>
                <c:pt idx="1">
                  <c:v>12.639008579465543</c:v>
                </c:pt>
                <c:pt idx="2">
                  <c:v>13.50290892857143</c:v>
                </c:pt>
                <c:pt idx="3">
                  <c:v>14.030997142857144</c:v>
                </c:pt>
                <c:pt idx="4">
                  <c:v>13.929</c:v>
                </c:pt>
                <c:pt idx="5">
                  <c:v>13.9463789473684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36</c:v>
                </c:pt>
                <c:pt idx="1">
                  <c:v>Av Price/Unit 41.62</c:v>
                </c:pt>
                <c:pt idx="2">
                  <c:v>Av Price/Unit 36.29</c:v>
                </c:pt>
                <c:pt idx="3">
                  <c:v>Av Price/Unit 45.07</c:v>
                </c:pt>
                <c:pt idx="4">
                  <c:v>Av Price/Unit 38.29</c:v>
                </c:pt>
                <c:pt idx="5">
                  <c:v>Av Price/Unit 40.61</c:v>
                </c:pt>
              </c:strCache>
            </c:strRef>
          </c:cat>
          <c:val>
            <c:numRef>
              <c:f>Sheet1!$C$2:$C$7</c:f>
              <c:numCache>
                <c:formatCode>General</c:formatCode>
                <c:ptCount val="6"/>
                <c:pt idx="0">
                  <c:v>13.90015583057478</c:v>
                </c:pt>
                <c:pt idx="1">
                  <c:v>22.6697606188467</c:v>
                </c:pt>
                <c:pt idx="2">
                  <c:v>17.738029464285717</c:v>
                </c:pt>
                <c:pt idx="3">
                  <c:v>22.674002857142856</c:v>
                </c:pt>
                <c:pt idx="4">
                  <c:v>17.571</c:v>
                </c:pt>
                <c:pt idx="5">
                  <c:v>16.77328947368421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36</c:v>
                </c:pt>
                <c:pt idx="1">
                  <c:v>Av Price/Unit 41.62</c:v>
                </c:pt>
                <c:pt idx="2">
                  <c:v>Av Price/Unit 36.29</c:v>
                </c:pt>
                <c:pt idx="3">
                  <c:v>Av Price/Unit 45.07</c:v>
                </c:pt>
                <c:pt idx="4">
                  <c:v>Av Price/Unit 38.29</c:v>
                </c:pt>
                <c:pt idx="5">
                  <c:v>Av Price/Unit 40.61</c:v>
                </c:pt>
              </c:strCache>
            </c:strRef>
          </c:cat>
          <c:val>
            <c:numRef>
              <c:f>Sheet1!$D$2:$D$7</c:f>
              <c:numCache>
                <c:formatCode>General</c:formatCode>
                <c:ptCount val="6"/>
                <c:pt idx="0">
                  <c:v>0.08442971461531101</c:v>
                </c:pt>
                <c:pt idx="1">
                  <c:v>-0.6220994061572043</c:v>
                </c:pt>
                <c:pt idx="2">
                  <c:v>-0.9957747023809596</c:v>
                </c:pt>
                <c:pt idx="3">
                  <c:v>0.8519806866002213</c:v>
                </c:pt>
                <c:pt idx="4">
                  <c:v>0.3207282913165237</c:v>
                </c:pt>
                <c:pt idx="5">
                  <c:v>3.118050877192981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36</c:v>
                </c:pt>
                <c:pt idx="1">
                  <c:v>Av Price/Unit 41.62</c:v>
                </c:pt>
                <c:pt idx="2">
                  <c:v>Av Price/Unit 36.29</c:v>
                </c:pt>
                <c:pt idx="3">
                  <c:v>Av Price/Unit 45.07</c:v>
                </c:pt>
                <c:pt idx="4">
                  <c:v>Av Price/Unit 38.29</c:v>
                </c:pt>
                <c:pt idx="5">
                  <c:v>Av Price/Unit 40.61</c:v>
                </c:pt>
              </c:strCache>
            </c:strRef>
          </c:cat>
          <c:val>
            <c:numRef>
              <c:f>Sheet1!$E$2:$E$7</c:f>
              <c:numCache>
                <c:formatCode>General</c:formatCode>
                <c:ptCount val="6"/>
                <c:pt idx="0">
                  <c:v>5.060362122579992</c:v>
                </c:pt>
                <c:pt idx="1">
                  <c:v>6.937333958431003</c:v>
                </c:pt>
                <c:pt idx="2">
                  <c:v>6.049032738095242</c:v>
                </c:pt>
                <c:pt idx="3">
                  <c:v>7.5114064230343285</c:v>
                </c:pt>
                <c:pt idx="4">
                  <c:v>6.364145658263307</c:v>
                </c:pt>
                <c:pt idx="5">
                  <c:v>6.76754385964912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7</c:v>
                </c:pt>
                <c:pt idx="1">
                  <c:v>Av Price/Unit 45.27</c:v>
                </c:pt>
                <c:pt idx="2">
                  <c:v>Av Price/Unit 36.53</c:v>
                </c:pt>
                <c:pt idx="3">
                  <c:v>Av Price/Unit 42.20</c:v>
                </c:pt>
              </c:strCache>
            </c:strRef>
          </c:cat>
          <c:val>
            <c:numRef>
              <c:f>Sheet1!$B$2:$B$5</c:f>
              <c:numCache>
                <c:formatCode>General</c:formatCode>
                <c:ptCount val="4"/>
                <c:pt idx="0">
                  <c:v>11.304310708310098</c:v>
                </c:pt>
                <c:pt idx="1">
                  <c:v>13.810964635364636</c:v>
                </c:pt>
                <c:pt idx="2">
                  <c:v>13.473391683168318</c:v>
                </c:pt>
                <c:pt idx="3">
                  <c:v>12.72315587557603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7</c:v>
                </c:pt>
                <c:pt idx="1">
                  <c:v>Av Price/Unit 45.27</c:v>
                </c:pt>
                <c:pt idx="2">
                  <c:v>Av Price/Unit 36.53</c:v>
                </c:pt>
                <c:pt idx="3">
                  <c:v>Av Price/Unit 42.20</c:v>
                </c:pt>
              </c:strCache>
            </c:strRef>
          </c:cat>
          <c:val>
            <c:numRef>
              <c:f>Sheet1!$C$2:$C$5</c:f>
              <c:numCache>
                <c:formatCode>General</c:formatCode>
                <c:ptCount val="4"/>
                <c:pt idx="0">
                  <c:v>13.902699525934187</c:v>
                </c:pt>
                <c:pt idx="1">
                  <c:v>22.67287662337662</c:v>
                </c:pt>
                <c:pt idx="2">
                  <c:v>17.770352475247524</c:v>
                </c:pt>
                <c:pt idx="3">
                  <c:v>22.6640046082949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7</c:v>
                </c:pt>
                <c:pt idx="1">
                  <c:v>Av Price/Unit 45.27</c:v>
                </c:pt>
                <c:pt idx="2">
                  <c:v>Av Price/Unit 36.53</c:v>
                </c:pt>
                <c:pt idx="3">
                  <c:v>Av Price/Unit 42.20</c:v>
                </c:pt>
              </c:strCache>
            </c:strRef>
          </c:cat>
          <c:val>
            <c:numRef>
              <c:f>Sheet1!$D$2:$D$5</c:f>
              <c:numCache>
                <c:formatCode>General</c:formatCode>
                <c:ptCount val="4"/>
                <c:pt idx="0">
                  <c:v>0.10101635062279257</c:v>
                </c:pt>
                <c:pt idx="1">
                  <c:v>1.2400446220446213</c:v>
                </c:pt>
                <c:pt idx="2">
                  <c:v>-0.8014999339933979</c:v>
                </c:pt>
                <c:pt idx="3">
                  <c:v>-0.2201097926267223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0.37</c:v>
                </c:pt>
                <c:pt idx="1">
                  <c:v>Av Price/Unit 45.27</c:v>
                </c:pt>
                <c:pt idx="2">
                  <c:v>Av Price/Unit 36.53</c:v>
                </c:pt>
                <c:pt idx="3">
                  <c:v>Av Price/Unit 42.20</c:v>
                </c:pt>
              </c:strCache>
            </c:strRef>
          </c:cat>
          <c:val>
            <c:numRef>
              <c:f>Sheet1!$E$2:$E$5</c:f>
              <c:numCache>
                <c:formatCode>General</c:formatCode>
                <c:ptCount val="4"/>
                <c:pt idx="0">
                  <c:v>5.061605316973412</c:v>
                </c:pt>
                <c:pt idx="1">
                  <c:v>7.544788544788547</c:v>
                </c:pt>
                <c:pt idx="2">
                  <c:v>6.088448844884484</c:v>
                </c:pt>
                <c:pt idx="3">
                  <c:v>7.03341013824884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68</c:v>
                </c:pt>
                <c:pt idx="1">
                  <c:v>Av Price/Unit 36.92</c:v>
                </c:pt>
                <c:pt idx="2">
                  <c:v>Av Price/Unit 44.35</c:v>
                </c:pt>
                <c:pt idx="3">
                  <c:v>Av Price/Unit 42.06</c:v>
                </c:pt>
                <c:pt idx="4">
                  <c:v>Av Price/Unit 39.15</c:v>
                </c:pt>
                <c:pt idx="5">
                  <c:v>Av Price/Unit 40.12</c:v>
                </c:pt>
              </c:strCache>
            </c:strRef>
          </c:cat>
          <c:val>
            <c:numRef>
              <c:f>Sheet1!$B$2:$B$7</c:f>
              <c:numCache>
                <c:formatCode>General</c:formatCode>
                <c:ptCount val="6"/>
                <c:pt idx="0">
                  <c:v>11.32673680592279</c:v>
                </c:pt>
                <c:pt idx="1">
                  <c:v>13.484842068361086</c:v>
                </c:pt>
                <c:pt idx="2">
                  <c:v>13.440805296343001</c:v>
                </c:pt>
                <c:pt idx="3">
                  <c:v>12.680091365777082</c:v>
                </c:pt>
                <c:pt idx="4">
                  <c:v>13.929</c:v>
                </c:pt>
                <c:pt idx="5">
                  <c:v>13.8940956521739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68</c:v>
                </c:pt>
                <c:pt idx="1">
                  <c:v>Av Price/Unit 36.92</c:v>
                </c:pt>
                <c:pt idx="2">
                  <c:v>Av Price/Unit 44.35</c:v>
                </c:pt>
                <c:pt idx="3">
                  <c:v>Av Price/Unit 42.06</c:v>
                </c:pt>
                <c:pt idx="4">
                  <c:v>Av Price/Unit 39.15</c:v>
                </c:pt>
                <c:pt idx="5">
                  <c:v>Av Price/Unit 40.12</c:v>
                </c:pt>
              </c:strCache>
            </c:strRef>
          </c:cat>
          <c:val>
            <c:numRef>
              <c:f>Sheet1!$C$2:$C$7</c:f>
              <c:numCache>
                <c:formatCode>General</c:formatCode>
                <c:ptCount val="6"/>
                <c:pt idx="0">
                  <c:v>13.898282337387625</c:v>
                </c:pt>
                <c:pt idx="1">
                  <c:v>17.757813672217356</c:v>
                </c:pt>
                <c:pt idx="2">
                  <c:v>22.670981967213116</c:v>
                </c:pt>
                <c:pt idx="3">
                  <c:v>22.666950392464678</c:v>
                </c:pt>
                <c:pt idx="4">
                  <c:v>17.571</c:v>
                </c:pt>
                <c:pt idx="5">
                  <c:v>16.71082463768116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68</c:v>
                </c:pt>
                <c:pt idx="1">
                  <c:v>Av Price/Unit 36.92</c:v>
                </c:pt>
                <c:pt idx="2">
                  <c:v>Av Price/Unit 44.35</c:v>
                </c:pt>
                <c:pt idx="3">
                  <c:v>Av Price/Unit 42.06</c:v>
                </c:pt>
                <c:pt idx="4">
                  <c:v>Av Price/Unit 39.15</c:v>
                </c:pt>
                <c:pt idx="5">
                  <c:v>Av Price/Unit 40.12</c:v>
                </c:pt>
              </c:strCache>
            </c:strRef>
          </c:cat>
          <c:val>
            <c:numRef>
              <c:f>Sheet1!$D$2:$D$7</c:f>
              <c:numCache>
                <c:formatCode>General</c:formatCode>
                <c:ptCount val="6"/>
                <c:pt idx="0">
                  <c:v>0.3430224572536602</c:v>
                </c:pt>
                <c:pt idx="1">
                  <c:v>-0.47286316096990433</c:v>
                </c:pt>
                <c:pt idx="2">
                  <c:v>0.8438004203446852</c:v>
                </c:pt>
                <c:pt idx="3">
                  <c:v>-0.29340491889063003</c:v>
                </c:pt>
                <c:pt idx="4">
                  <c:v>0.7868217054263624</c:v>
                </c:pt>
                <c:pt idx="5">
                  <c:v>2.825031400966196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30.68</c:v>
                </c:pt>
                <c:pt idx="1">
                  <c:v>Av Price/Unit 36.92</c:v>
                </c:pt>
                <c:pt idx="2">
                  <c:v>Av Price/Unit 44.35</c:v>
                </c:pt>
                <c:pt idx="3">
                  <c:v>Av Price/Unit 42.06</c:v>
                </c:pt>
                <c:pt idx="4">
                  <c:v>Av Price/Unit 39.15</c:v>
                </c:pt>
                <c:pt idx="5">
                  <c:v>Av Price/Unit 40.12</c:v>
                </c:pt>
              </c:strCache>
            </c:strRef>
          </c:cat>
          <c:val>
            <c:numRef>
              <c:f>Sheet1!$E$2:$E$7</c:f>
              <c:numCache>
                <c:formatCode>General</c:formatCode>
                <c:ptCount val="6"/>
                <c:pt idx="0">
                  <c:v>5.113608320112813</c:v>
                </c:pt>
                <c:pt idx="1">
                  <c:v>6.153958515921704</c:v>
                </c:pt>
                <c:pt idx="2">
                  <c:v>7.391130727196298</c:v>
                </c:pt>
                <c:pt idx="3">
                  <c:v>7.010727367870223</c:v>
                </c:pt>
                <c:pt idx="4">
                  <c:v>6.457364341085268</c:v>
                </c:pt>
                <c:pt idx="5">
                  <c:v>6.68599033816424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5.30</c:v>
                </c:pt>
                <c:pt idx="1">
                  <c:v>Av Price/Unit 270.80</c:v>
                </c:pt>
                <c:pt idx="2">
                  <c:v>Av Price/Unit 37.53</c:v>
                </c:pt>
                <c:pt idx="3">
                  <c:v>Av Price/Unit 87.92</c:v>
                </c:pt>
                <c:pt idx="4">
                  <c:v>Av Price/Unit 372.49</c:v>
                </c:pt>
                <c:pt idx="5">
                  <c:v>Av Price/Unit 99.26</c:v>
                </c:pt>
                <c:pt idx="6">
                  <c:v>Av Price/Unit 333.84</c:v>
                </c:pt>
                <c:pt idx="7">
                  <c:v>Av Price/Unit 272.45</c:v>
                </c:pt>
                <c:pt idx="8">
                  <c:v>Av Price/Unit 87.28</c:v>
                </c:pt>
                <c:pt idx="9">
                  <c:v>Av Price/Unit 92.22</c:v>
                </c:pt>
                <c:pt idx="10">
                  <c:v>Av Price/Unit 219.19</c:v>
                </c:pt>
                <c:pt idx="11">
                  <c:v>Av Price/Unit 63.90</c:v>
                </c:pt>
              </c:strCache>
            </c:strRef>
          </c:cat>
          <c:val>
            <c:numRef>
              <c:f>Sheet1!$B$2:$B$13</c:f>
              <c:numCache>
                <c:formatCode>General</c:formatCode>
                <c:ptCount val="12"/>
                <c:pt idx="0">
                  <c:v>65.903026519337</c:v>
                </c:pt>
                <c:pt idx="1">
                  <c:v>81.25616425531915</c:v>
                </c:pt>
                <c:pt idx="2">
                  <c:v>12.518891443298966</c:v>
                </c:pt>
                <c:pt idx="3">
                  <c:v>30.360788775510205</c:v>
                </c:pt>
                <c:pt idx="4">
                  <c:v>113.44119850746269</c:v>
                </c:pt>
                <c:pt idx="5">
                  <c:v>32.650662068965524</c:v>
                </c:pt>
                <c:pt idx="6">
                  <c:v>92.12422258064515</c:v>
                </c:pt>
                <c:pt idx="7">
                  <c:v>83.091796875</c:v>
                </c:pt>
                <c:pt idx="8">
                  <c:v>29.43573415841584</c:v>
                </c:pt>
                <c:pt idx="9">
                  <c:v>30.387364331210186</c:v>
                </c:pt>
                <c:pt idx="10">
                  <c:v>77.0964375</c:v>
                </c:pt>
                <c:pt idx="11">
                  <c:v>22.189441818181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5.30</c:v>
                </c:pt>
                <c:pt idx="1">
                  <c:v>Av Price/Unit 270.80</c:v>
                </c:pt>
                <c:pt idx="2">
                  <c:v>Av Price/Unit 37.53</c:v>
                </c:pt>
                <c:pt idx="3">
                  <c:v>Av Price/Unit 87.92</c:v>
                </c:pt>
                <c:pt idx="4">
                  <c:v>Av Price/Unit 372.49</c:v>
                </c:pt>
                <c:pt idx="5">
                  <c:v>Av Price/Unit 99.26</c:v>
                </c:pt>
                <c:pt idx="6">
                  <c:v>Av Price/Unit 333.84</c:v>
                </c:pt>
                <c:pt idx="7">
                  <c:v>Av Price/Unit 272.45</c:v>
                </c:pt>
                <c:pt idx="8">
                  <c:v>Av Price/Unit 87.28</c:v>
                </c:pt>
                <c:pt idx="9">
                  <c:v>Av Price/Unit 92.22</c:v>
                </c:pt>
                <c:pt idx="10">
                  <c:v>Av Price/Unit 219.19</c:v>
                </c:pt>
                <c:pt idx="11">
                  <c:v>Av Price/Unit 63.90</c:v>
                </c:pt>
              </c:strCache>
            </c:strRef>
          </c:cat>
          <c:val>
            <c:numRef>
              <c:f>Sheet1!$C$2:$C$13</c:f>
              <c:numCache>
                <c:formatCode>General</c:formatCode>
                <c:ptCount val="12"/>
                <c:pt idx="0">
                  <c:v>141.20806077348067</c:v>
                </c:pt>
                <c:pt idx="1">
                  <c:v>137.2452208510638</c:v>
                </c:pt>
                <c:pt idx="2">
                  <c:v>18.34648567010309</c:v>
                </c:pt>
                <c:pt idx="3">
                  <c:v>42.92395408163265</c:v>
                </c:pt>
                <c:pt idx="4">
                  <c:v>170.62020149253732</c:v>
                </c:pt>
                <c:pt idx="5">
                  <c:v>47.735439655172414</c:v>
                </c:pt>
                <c:pt idx="6">
                  <c:v>167.1716693548387</c:v>
                </c:pt>
                <c:pt idx="7">
                  <c:v>150.63218750000001</c:v>
                </c:pt>
                <c:pt idx="8">
                  <c:v>40.75061930693069</c:v>
                </c:pt>
                <c:pt idx="9">
                  <c:v>42.75403057324841</c:v>
                </c:pt>
                <c:pt idx="10">
                  <c:v>103.19</c:v>
                </c:pt>
                <c:pt idx="11">
                  <c:v>29.77872727272727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5.30</c:v>
                </c:pt>
                <c:pt idx="1">
                  <c:v>Av Price/Unit 270.80</c:v>
                </c:pt>
                <c:pt idx="2">
                  <c:v>Av Price/Unit 37.53</c:v>
                </c:pt>
                <c:pt idx="3">
                  <c:v>Av Price/Unit 87.92</c:v>
                </c:pt>
                <c:pt idx="4">
                  <c:v>Av Price/Unit 372.49</c:v>
                </c:pt>
                <c:pt idx="5">
                  <c:v>Av Price/Unit 99.26</c:v>
                </c:pt>
                <c:pt idx="6">
                  <c:v>Av Price/Unit 333.84</c:v>
                </c:pt>
                <c:pt idx="7">
                  <c:v>Av Price/Unit 272.45</c:v>
                </c:pt>
                <c:pt idx="8">
                  <c:v>Av Price/Unit 87.28</c:v>
                </c:pt>
                <c:pt idx="9">
                  <c:v>Av Price/Unit 92.22</c:v>
                </c:pt>
                <c:pt idx="10">
                  <c:v>Av Price/Unit 219.19</c:v>
                </c:pt>
                <c:pt idx="11">
                  <c:v>Av Price/Unit 63.90</c:v>
                </c:pt>
              </c:strCache>
            </c:strRef>
          </c:cat>
          <c:val>
            <c:numRef>
              <c:f>Sheet1!$D$2:$D$13</c:f>
              <c:numCache>
                <c:formatCode>General</c:formatCode>
                <c:ptCount val="12"/>
                <c:pt idx="0">
                  <c:v>-2.6981038674032902</c:v>
                </c:pt>
                <c:pt idx="1">
                  <c:v>7.168827659574475</c:v>
                </c:pt>
                <c:pt idx="2">
                  <c:v>0.40948017182131125</c:v>
                </c:pt>
                <c:pt idx="3">
                  <c:v>-0.019436734693869084</c:v>
                </c:pt>
                <c:pt idx="4">
                  <c:v>26.3490477611939</c:v>
                </c:pt>
                <c:pt idx="5">
                  <c:v>2.3330074712643665</c:v>
                </c:pt>
                <c:pt idx="6">
                  <c:v>18.903032795698948</c:v>
                </c:pt>
                <c:pt idx="7">
                  <c:v>-6.6797135416666436</c:v>
                </c:pt>
                <c:pt idx="8">
                  <c:v>2.544669636963704</c:v>
                </c:pt>
                <c:pt idx="9">
                  <c:v>3.711046709129505</c:v>
                </c:pt>
                <c:pt idx="10">
                  <c:v>2.369812500000023</c:v>
                </c:pt>
                <c:pt idx="11">
                  <c:v>1.279305656565661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5.30</c:v>
                </c:pt>
                <c:pt idx="1">
                  <c:v>Av Price/Unit 270.80</c:v>
                </c:pt>
                <c:pt idx="2">
                  <c:v>Av Price/Unit 37.53</c:v>
                </c:pt>
                <c:pt idx="3">
                  <c:v>Av Price/Unit 87.92</c:v>
                </c:pt>
                <c:pt idx="4">
                  <c:v>Av Price/Unit 372.49</c:v>
                </c:pt>
                <c:pt idx="5">
                  <c:v>Av Price/Unit 99.26</c:v>
                </c:pt>
                <c:pt idx="6">
                  <c:v>Av Price/Unit 333.84</c:v>
                </c:pt>
                <c:pt idx="7">
                  <c:v>Av Price/Unit 272.45</c:v>
                </c:pt>
                <c:pt idx="8">
                  <c:v>Av Price/Unit 87.28</c:v>
                </c:pt>
                <c:pt idx="9">
                  <c:v>Av Price/Unit 92.22</c:v>
                </c:pt>
                <c:pt idx="10">
                  <c:v>Av Price/Unit 219.19</c:v>
                </c:pt>
                <c:pt idx="11">
                  <c:v>Av Price/Unit 63.90</c:v>
                </c:pt>
              </c:strCache>
            </c:strRef>
          </c:cat>
          <c:val>
            <c:numRef>
              <c:f>Sheet1!$E$2:$E$13</c:f>
              <c:numCache>
                <c:formatCode>General</c:formatCode>
                <c:ptCount val="12"/>
                <c:pt idx="0">
                  <c:v>40.88259668508283</c:v>
                </c:pt>
                <c:pt idx="1">
                  <c:v>45.13404255319149</c:v>
                </c:pt>
                <c:pt idx="2">
                  <c:v>6.2549828178694105</c:v>
                </c:pt>
                <c:pt idx="3">
                  <c:v>14.653061224489797</c:v>
                </c:pt>
                <c:pt idx="4">
                  <c:v>62.08208955223886</c:v>
                </c:pt>
                <c:pt idx="5">
                  <c:v>16.543821839080465</c:v>
                </c:pt>
                <c:pt idx="6">
                  <c:v>55.63978494623652</c:v>
                </c:pt>
                <c:pt idx="7">
                  <c:v>45.40885416666666</c:v>
                </c:pt>
                <c:pt idx="8">
                  <c:v>14.54620462046205</c:v>
                </c:pt>
                <c:pt idx="9">
                  <c:v>15.370488322717618</c:v>
                </c:pt>
                <c:pt idx="10">
                  <c:v>36.531249999999964</c:v>
                </c:pt>
                <c:pt idx="11">
                  <c:v>10.64949494949494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746F8A4-74CE-4363-B1D0-7047B2ABC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6AF0262-162A-4BD7-A9FA-76B7F69F8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D8D8078-1C18-4CDB-9B23-48EB0A3D0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94DCE52-18AB-4DF5-882D-B8BC70421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8358FD0-1BF3-456D-842E-B242DF21A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7C5BF4B-2D8B-4BA3-939B-4A585FCC2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9B424BF-1C52-4B19-B474-254092BE1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CD41E81-0E06-4861-A129-AFF1A073F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81.8028</c:v>
                </c:pt>
                <c:pt idx="1">
                  <c:v>88.02</c:v>
                </c:pt>
                <c:pt idx="2">
                  <c:v>53.3916</c:v>
                </c:pt>
                <c:pt idx="3">
                  <c:v>80.3097</c:v>
                </c:pt>
                <c:pt idx="4">
                  <c:v>74.4424</c:v>
                </c:pt>
              </c:numCache>
            </c:numRef>
          </c:xVal>
          <c:yVal>
            <c:numRef>
              <c:f>Sheet1!$B$2:$B$6</c:f>
              <c:numCache>
                <c:formatCode>General</c:formatCode>
                <c:ptCount val="5"/>
                <c:pt idx="0">
                  <c:v>0.4043</c:v>
                </c:pt>
                <c:pt idx="1">
                  <c:v>0.4014</c:v>
                </c:pt>
                <c:pt idx="2">
                  <c:v>0.3704</c:v>
                </c:pt>
                <c:pt idx="3">
                  <c:v>0.4046</c:v>
                </c:pt>
                <c:pt idx="4">
                  <c:v>0.4083</c:v>
                </c:pt>
              </c:numCache>
            </c:numRef>
          </c:yVal>
          <c:bubbleSize>
            <c:numRef>
              <c:f>Sheet1!$C$2:$C$6</c:f>
              <c:numCache>
                <c:formatCode>General</c:formatCode>
                <c:ptCount val="5"/>
                <c:pt idx="0">
                  <c:v>4484593.922000001</c:v>
                </c:pt>
                <c:pt idx="1">
                  <c:v>774047.7883000007</c:v>
                </c:pt>
                <c:pt idx="2">
                  <c:v>203261.72849999994</c:v>
                </c:pt>
                <c:pt idx="3">
                  <c:v>347419.8889000002</c:v>
                </c:pt>
                <c:pt idx="4">
                  <c:v>155733.574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05.624"/>
          <c:min val="42.7132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289043240392397"/>
        <c:crossBetween val="midCat"/>
      </c:valAx>
      <c:valAx>
        <c:axId val="1011451359"/>
        <c:scaling>
          <c:orientation val="minMax"/>
          <c:max val="0.8499599999999999"/>
          <c:min val="0.05632000000000001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1.3623190806066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7.90</c:v>
                </c:pt>
                <c:pt idx="1">
                  <c:v>Av Price/Unit 273.41</c:v>
                </c:pt>
                <c:pt idx="2">
                  <c:v>Av Price/Unit 360.93</c:v>
                </c:pt>
                <c:pt idx="3">
                  <c:v>Av Price/Unit 37.59</c:v>
                </c:pt>
                <c:pt idx="4">
                  <c:v>Av Price/Unit 270.48</c:v>
                </c:pt>
                <c:pt idx="5">
                  <c:v>Av Price/Unit 88.56</c:v>
                </c:pt>
                <c:pt idx="6">
                  <c:v>Av Price/Unit 90.73</c:v>
                </c:pt>
                <c:pt idx="7">
                  <c:v>Av Price/Unit 333.51</c:v>
                </c:pt>
                <c:pt idx="8">
                  <c:v>Av Price/Unit 100.38</c:v>
                </c:pt>
                <c:pt idx="9">
                  <c:v>Av Price/Unit 92.63</c:v>
                </c:pt>
                <c:pt idx="10">
                  <c:v>Av Price/Unit 64.01</c:v>
                </c:pt>
                <c:pt idx="11">
                  <c:v>Av Price/Unit 231.83</c:v>
                </c:pt>
              </c:strCache>
            </c:strRef>
          </c:cat>
          <c:val>
            <c:numRef>
              <c:f>Sheet1!$B$2:$B$13</c:f>
              <c:numCache>
                <c:formatCode>General</c:formatCode>
                <c:ptCount val="12"/>
                <c:pt idx="0">
                  <c:v>64.27041754385964</c:v>
                </c:pt>
                <c:pt idx="1">
                  <c:v>81.57898018181824</c:v>
                </c:pt>
                <c:pt idx="2">
                  <c:v>113.4924897996357</c:v>
                </c:pt>
                <c:pt idx="3">
                  <c:v>12.520718631408963</c:v>
                </c:pt>
                <c:pt idx="4">
                  <c:v>84.97177220843672</c:v>
                </c:pt>
                <c:pt idx="5">
                  <c:v>29.41437705451587</c:v>
                </c:pt>
                <c:pt idx="6">
                  <c:v>30.348047523892262</c:v>
                </c:pt>
                <c:pt idx="7">
                  <c:v>92.50410123839005</c:v>
                </c:pt>
                <c:pt idx="8">
                  <c:v>32.96574354838713</c:v>
                </c:pt>
                <c:pt idx="9">
                  <c:v>30.381549550449556</c:v>
                </c:pt>
                <c:pt idx="10">
                  <c:v>21.457211747285296</c:v>
                </c:pt>
                <c:pt idx="11">
                  <c:v>76.694526506024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7.90</c:v>
                </c:pt>
                <c:pt idx="1">
                  <c:v>Av Price/Unit 273.41</c:v>
                </c:pt>
                <c:pt idx="2">
                  <c:v>Av Price/Unit 360.93</c:v>
                </c:pt>
                <c:pt idx="3">
                  <c:v>Av Price/Unit 37.59</c:v>
                </c:pt>
                <c:pt idx="4">
                  <c:v>Av Price/Unit 270.48</c:v>
                </c:pt>
                <c:pt idx="5">
                  <c:v>Av Price/Unit 88.56</c:v>
                </c:pt>
                <c:pt idx="6">
                  <c:v>Av Price/Unit 90.73</c:v>
                </c:pt>
                <c:pt idx="7">
                  <c:v>Av Price/Unit 333.51</c:v>
                </c:pt>
                <c:pt idx="8">
                  <c:v>Av Price/Unit 100.38</c:v>
                </c:pt>
                <c:pt idx="9">
                  <c:v>Av Price/Unit 92.63</c:v>
                </c:pt>
                <c:pt idx="10">
                  <c:v>Av Price/Unit 64.01</c:v>
                </c:pt>
                <c:pt idx="11">
                  <c:v>Av Price/Unit 231.83</c:v>
                </c:pt>
              </c:strCache>
            </c:strRef>
          </c:cat>
          <c:val>
            <c:numRef>
              <c:f>Sheet1!$C$2:$C$13</c:f>
              <c:numCache>
                <c:formatCode>General</c:formatCode>
                <c:ptCount val="12"/>
                <c:pt idx="0">
                  <c:v>141.75126705653028</c:v>
                </c:pt>
                <c:pt idx="1">
                  <c:v>137.16818345454544</c:v>
                </c:pt>
                <c:pt idx="2">
                  <c:v>170.6284990892533</c:v>
                </c:pt>
                <c:pt idx="3">
                  <c:v>18.35252622123536</c:v>
                </c:pt>
                <c:pt idx="4">
                  <c:v>151.2772158808934</c:v>
                </c:pt>
                <c:pt idx="5">
                  <c:v>40.762507648494704</c:v>
                </c:pt>
                <c:pt idx="6">
                  <c:v>42.987777410947004</c:v>
                </c:pt>
                <c:pt idx="7">
                  <c:v>167.2331238390092</c:v>
                </c:pt>
                <c:pt idx="8">
                  <c:v>47.65838306451616</c:v>
                </c:pt>
                <c:pt idx="9">
                  <c:v>42.76464335664338</c:v>
                </c:pt>
                <c:pt idx="10">
                  <c:v>30.012416584402782</c:v>
                </c:pt>
                <c:pt idx="11">
                  <c:v>103.1899999999998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7.90</c:v>
                </c:pt>
                <c:pt idx="1">
                  <c:v>Av Price/Unit 273.41</c:v>
                </c:pt>
                <c:pt idx="2">
                  <c:v>Av Price/Unit 360.93</c:v>
                </c:pt>
                <c:pt idx="3">
                  <c:v>Av Price/Unit 37.59</c:v>
                </c:pt>
                <c:pt idx="4">
                  <c:v>Av Price/Unit 270.48</c:v>
                </c:pt>
                <c:pt idx="5">
                  <c:v>Av Price/Unit 88.56</c:v>
                </c:pt>
                <c:pt idx="6">
                  <c:v>Av Price/Unit 90.73</c:v>
                </c:pt>
                <c:pt idx="7">
                  <c:v>Av Price/Unit 333.51</c:v>
                </c:pt>
                <c:pt idx="8">
                  <c:v>Av Price/Unit 100.38</c:v>
                </c:pt>
                <c:pt idx="9">
                  <c:v>Av Price/Unit 92.63</c:v>
                </c:pt>
                <c:pt idx="10">
                  <c:v>Av Price/Unit 64.01</c:v>
                </c:pt>
                <c:pt idx="11">
                  <c:v>Av Price/Unit 231.83</c:v>
                </c:pt>
              </c:strCache>
            </c:strRef>
          </c:cat>
          <c:val>
            <c:numRef>
              <c:f>Sheet1!$D$2:$D$13</c:f>
              <c:numCache>
                <c:formatCode>General</c:formatCode>
                <c:ptCount val="12"/>
                <c:pt idx="0">
                  <c:v>0.5645727095517259</c:v>
                </c:pt>
                <c:pt idx="1">
                  <c:v>9.09223030303042</c:v>
                </c:pt>
                <c:pt idx="2">
                  <c:v>16.65011007893162</c:v>
                </c:pt>
                <c:pt idx="3">
                  <c:v>0.4540803862198892</c:v>
                </c:pt>
                <c:pt idx="4">
                  <c:v>-10.851965756823745</c:v>
                </c:pt>
                <c:pt idx="5">
                  <c:v>3.6256647952265126</c:v>
                </c:pt>
                <c:pt idx="6">
                  <c:v>2.275961917173518</c:v>
                </c:pt>
                <c:pt idx="7">
                  <c:v>18.18589153766777</c:v>
                </c:pt>
                <c:pt idx="8">
                  <c:v>3.028427150537638</c:v>
                </c:pt>
                <c:pt idx="9">
                  <c:v>4.044949284049224</c:v>
                </c:pt>
                <c:pt idx="10">
                  <c:v>1.871931391905214</c:v>
                </c:pt>
                <c:pt idx="11">
                  <c:v>13.30489785809899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7.90</c:v>
                </c:pt>
                <c:pt idx="1">
                  <c:v>Av Price/Unit 273.41</c:v>
                </c:pt>
                <c:pt idx="2">
                  <c:v>Av Price/Unit 360.93</c:v>
                </c:pt>
                <c:pt idx="3">
                  <c:v>Av Price/Unit 37.59</c:v>
                </c:pt>
                <c:pt idx="4">
                  <c:v>Av Price/Unit 270.48</c:v>
                </c:pt>
                <c:pt idx="5">
                  <c:v>Av Price/Unit 88.56</c:v>
                </c:pt>
                <c:pt idx="6">
                  <c:v>Av Price/Unit 90.73</c:v>
                </c:pt>
                <c:pt idx="7">
                  <c:v>Av Price/Unit 333.51</c:v>
                </c:pt>
                <c:pt idx="8">
                  <c:v>Av Price/Unit 100.38</c:v>
                </c:pt>
                <c:pt idx="9">
                  <c:v>Av Price/Unit 92.63</c:v>
                </c:pt>
                <c:pt idx="10">
                  <c:v>Av Price/Unit 64.01</c:v>
                </c:pt>
                <c:pt idx="11">
                  <c:v>Av Price/Unit 231.83</c:v>
                </c:pt>
              </c:strCache>
            </c:strRef>
          </c:cat>
          <c:val>
            <c:numRef>
              <c:f>Sheet1!$E$2:$E$13</c:f>
              <c:numCache>
                <c:formatCode>General</c:formatCode>
                <c:ptCount val="12"/>
                <c:pt idx="0">
                  <c:v>41.31725146198825</c:v>
                </c:pt>
                <c:pt idx="1">
                  <c:v>45.56787878787879</c:v>
                </c:pt>
                <c:pt idx="2">
                  <c:v>60.15421979356372</c:v>
                </c:pt>
                <c:pt idx="3">
                  <c:v>6.265475709864081</c:v>
                </c:pt>
                <c:pt idx="4">
                  <c:v>45.07940446650117</c:v>
                </c:pt>
                <c:pt idx="5">
                  <c:v>14.760509899647367</c:v>
                </c:pt>
                <c:pt idx="6">
                  <c:v>15.122357370402545</c:v>
                </c:pt>
                <c:pt idx="7">
                  <c:v>55.58462332301331</c:v>
                </c:pt>
                <c:pt idx="8">
                  <c:v>16.730510752688193</c:v>
                </c:pt>
                <c:pt idx="9">
                  <c:v>15.438228438228473</c:v>
                </c:pt>
                <c:pt idx="10">
                  <c:v>10.66831194471868</c:v>
                </c:pt>
                <c:pt idx="11">
                  <c:v>38.6378848728246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5.01</c:v>
                </c:pt>
                <c:pt idx="1">
                  <c:v>Av Price/Unit 270.62</c:v>
                </c:pt>
                <c:pt idx="2">
                  <c:v>Av Price/Unit 356.48</c:v>
                </c:pt>
                <c:pt idx="3">
                  <c:v>Av Price/Unit 304.42</c:v>
                </c:pt>
                <c:pt idx="4">
                  <c:v>Av Price/Unit 37.64</c:v>
                </c:pt>
                <c:pt idx="5">
                  <c:v>Av Price/Unit 89.56</c:v>
                </c:pt>
                <c:pt idx="6">
                  <c:v>Av Price/Unit 99.92</c:v>
                </c:pt>
                <c:pt idx="7">
                  <c:v>Av Price/Unit 93.84</c:v>
                </c:pt>
                <c:pt idx="8">
                  <c:v>Av Price/Unit 397.74</c:v>
                </c:pt>
                <c:pt idx="9">
                  <c:v>Av Price/Unit 234.04</c:v>
                </c:pt>
                <c:pt idx="10">
                  <c:v>Av Price/Unit 288.18</c:v>
                </c:pt>
                <c:pt idx="11">
                  <c:v>Av Price/Unit 758.33</c:v>
                </c:pt>
              </c:strCache>
            </c:strRef>
          </c:cat>
          <c:val>
            <c:numRef>
              <c:f>Sheet1!$B$2:$B$13</c:f>
              <c:numCache>
                <c:formatCode>General</c:formatCode>
                <c:ptCount val="12"/>
                <c:pt idx="0">
                  <c:v>62.465647787610614</c:v>
                </c:pt>
                <c:pt idx="1">
                  <c:v>81.19260154440154</c:v>
                </c:pt>
                <c:pt idx="2">
                  <c:v>105.03052962962961</c:v>
                </c:pt>
                <c:pt idx="3">
                  <c:v>77.13994096385541</c:v>
                </c:pt>
                <c:pt idx="4">
                  <c:v>12.525242718446602</c:v>
                </c:pt>
                <c:pt idx="5">
                  <c:v>29.442109499999997</c:v>
                </c:pt>
                <c:pt idx="6">
                  <c:v>32.79869837398374</c:v>
                </c:pt>
                <c:pt idx="7">
                  <c:v>30.400788888888886</c:v>
                </c:pt>
                <c:pt idx="8">
                  <c:v>122.56408064516127</c:v>
                </c:pt>
                <c:pt idx="9">
                  <c:v>76.50202173913041</c:v>
                </c:pt>
                <c:pt idx="10">
                  <c:v>84.71706176470589</c:v>
                </c:pt>
                <c:pt idx="11">
                  <c:v>234.577174999999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5.01</c:v>
                </c:pt>
                <c:pt idx="1">
                  <c:v>Av Price/Unit 270.62</c:v>
                </c:pt>
                <c:pt idx="2">
                  <c:v>Av Price/Unit 356.48</c:v>
                </c:pt>
                <c:pt idx="3">
                  <c:v>Av Price/Unit 304.42</c:v>
                </c:pt>
                <c:pt idx="4">
                  <c:v>Av Price/Unit 37.64</c:v>
                </c:pt>
                <c:pt idx="5">
                  <c:v>Av Price/Unit 89.56</c:v>
                </c:pt>
                <c:pt idx="6">
                  <c:v>Av Price/Unit 99.92</c:v>
                </c:pt>
                <c:pt idx="7">
                  <c:v>Av Price/Unit 93.84</c:v>
                </c:pt>
                <c:pt idx="8">
                  <c:v>Av Price/Unit 397.74</c:v>
                </c:pt>
                <c:pt idx="9">
                  <c:v>Av Price/Unit 234.04</c:v>
                </c:pt>
                <c:pt idx="10">
                  <c:v>Av Price/Unit 288.18</c:v>
                </c:pt>
                <c:pt idx="11">
                  <c:v>Av Price/Unit 758.33</c:v>
                </c:pt>
              </c:strCache>
            </c:strRef>
          </c:cat>
          <c:val>
            <c:numRef>
              <c:f>Sheet1!$C$2:$C$13</c:f>
              <c:numCache>
                <c:formatCode>General</c:formatCode>
                <c:ptCount val="12"/>
                <c:pt idx="0">
                  <c:v>142.3517551622419</c:v>
                </c:pt>
                <c:pt idx="1">
                  <c:v>137.2603895752896</c:v>
                </c:pt>
                <c:pt idx="2">
                  <c:v>169.25957407407412</c:v>
                </c:pt>
                <c:pt idx="3">
                  <c:v>164.74760240963855</c:v>
                </c:pt>
                <c:pt idx="4">
                  <c:v>18.367482524271843</c:v>
                </c:pt>
                <c:pt idx="5">
                  <c:v>40.74707050000001</c:v>
                </c:pt>
                <c:pt idx="6">
                  <c:v>47.699235772357724</c:v>
                </c:pt>
                <c:pt idx="7">
                  <c:v>42.729528888888886</c:v>
                </c:pt>
                <c:pt idx="8">
                  <c:v>172.0843612903226</c:v>
                </c:pt>
                <c:pt idx="9">
                  <c:v>103.19</c:v>
                </c:pt>
                <c:pt idx="10">
                  <c:v>151.18982352941177</c:v>
                </c:pt>
                <c:pt idx="11">
                  <c:v>421.4992083333333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5.01</c:v>
                </c:pt>
                <c:pt idx="1">
                  <c:v>Av Price/Unit 270.62</c:v>
                </c:pt>
                <c:pt idx="2">
                  <c:v>Av Price/Unit 356.48</c:v>
                </c:pt>
                <c:pt idx="3">
                  <c:v>Av Price/Unit 304.42</c:v>
                </c:pt>
                <c:pt idx="4">
                  <c:v>Av Price/Unit 37.64</c:v>
                </c:pt>
                <c:pt idx="5">
                  <c:v>Av Price/Unit 89.56</c:v>
                </c:pt>
                <c:pt idx="6">
                  <c:v>Av Price/Unit 99.92</c:v>
                </c:pt>
                <c:pt idx="7">
                  <c:v>Av Price/Unit 93.84</c:v>
                </c:pt>
                <c:pt idx="8">
                  <c:v>Av Price/Unit 397.74</c:v>
                </c:pt>
                <c:pt idx="9">
                  <c:v>Av Price/Unit 234.04</c:v>
                </c:pt>
                <c:pt idx="10">
                  <c:v>Av Price/Unit 288.18</c:v>
                </c:pt>
                <c:pt idx="11">
                  <c:v>Av Price/Unit 758.33</c:v>
                </c:pt>
              </c:strCache>
            </c:strRef>
          </c:cat>
          <c:val>
            <c:numRef>
              <c:f>Sheet1!$D$2:$D$13</c:f>
              <c:numCache>
                <c:formatCode>General</c:formatCode>
                <c:ptCount val="12"/>
                <c:pt idx="0">
                  <c:v>-0.645819862340204</c:v>
                </c:pt>
                <c:pt idx="1">
                  <c:v>7.061809395109407</c:v>
                </c:pt>
                <c:pt idx="2">
                  <c:v>22.777797530864177</c:v>
                </c:pt>
                <c:pt idx="3">
                  <c:v>11.797195582329351</c:v>
                </c:pt>
                <c:pt idx="4">
                  <c:v>0.47184714131607564</c:v>
                </c:pt>
                <c:pt idx="5">
                  <c:v>4.43998666666667</c:v>
                </c:pt>
                <c:pt idx="6">
                  <c:v>2.767648509485099</c:v>
                </c:pt>
                <c:pt idx="7">
                  <c:v>5.067213086419798</c:v>
                </c:pt>
                <c:pt idx="8">
                  <c:v>36.803170967742005</c:v>
                </c:pt>
                <c:pt idx="9">
                  <c:v>15.344210144927558</c:v>
                </c:pt>
                <c:pt idx="10">
                  <c:v>4.240173529411777</c:v>
                </c:pt>
                <c:pt idx="11">
                  <c:v>-24.13193888888861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5.01</c:v>
                </c:pt>
                <c:pt idx="1">
                  <c:v>Av Price/Unit 270.62</c:v>
                </c:pt>
                <c:pt idx="2">
                  <c:v>Av Price/Unit 356.48</c:v>
                </c:pt>
                <c:pt idx="3">
                  <c:v>Av Price/Unit 304.42</c:v>
                </c:pt>
                <c:pt idx="4">
                  <c:v>Av Price/Unit 37.64</c:v>
                </c:pt>
                <c:pt idx="5">
                  <c:v>Av Price/Unit 89.56</c:v>
                </c:pt>
                <c:pt idx="6">
                  <c:v>Av Price/Unit 99.92</c:v>
                </c:pt>
                <c:pt idx="7">
                  <c:v>Av Price/Unit 93.84</c:v>
                </c:pt>
                <c:pt idx="8">
                  <c:v>Av Price/Unit 397.74</c:v>
                </c:pt>
                <c:pt idx="9">
                  <c:v>Av Price/Unit 234.04</c:v>
                </c:pt>
                <c:pt idx="10">
                  <c:v>Av Price/Unit 288.18</c:v>
                </c:pt>
                <c:pt idx="11">
                  <c:v>Av Price/Unit 758.33</c:v>
                </c:pt>
              </c:strCache>
            </c:strRef>
          </c:cat>
          <c:val>
            <c:numRef>
              <c:f>Sheet1!$E$2:$E$13</c:f>
              <c:numCache>
                <c:formatCode>General</c:formatCode>
                <c:ptCount val="12"/>
                <c:pt idx="0">
                  <c:v>40.834316617502445</c:v>
                </c:pt>
                <c:pt idx="1">
                  <c:v>45.1029601029601</c:v>
                </c:pt>
                <c:pt idx="2">
                  <c:v>59.41358024691358</c:v>
                </c:pt>
                <c:pt idx="3">
                  <c:v>50.73694779116463</c:v>
                </c:pt>
                <c:pt idx="4">
                  <c:v>6.272923408845741</c:v>
                </c:pt>
                <c:pt idx="5">
                  <c:v>14.925833333333339</c:v>
                </c:pt>
                <c:pt idx="6">
                  <c:v>16.653116531165303</c:v>
                </c:pt>
                <c:pt idx="7">
                  <c:v>15.639506172839484</c:v>
                </c:pt>
                <c:pt idx="8">
                  <c:v>66.2903225806451</c:v>
                </c:pt>
                <c:pt idx="9">
                  <c:v>39.007246376811565</c:v>
                </c:pt>
                <c:pt idx="10">
                  <c:v>48.029411764705884</c:v>
                </c:pt>
                <c:pt idx="11">
                  <c:v>126.3888888888887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56.34</c:v>
                </c:pt>
                <c:pt idx="1">
                  <c:v>Av Price/Unit 271.94</c:v>
                </c:pt>
                <c:pt idx="2">
                  <c:v>Av Price/Unit 101.71</c:v>
                </c:pt>
                <c:pt idx="3">
                  <c:v>Av Price/Unit 359.96</c:v>
                </c:pt>
                <c:pt idx="4">
                  <c:v>Av Price/Unit 38.90</c:v>
                </c:pt>
                <c:pt idx="5">
                  <c:v>Av Price/Unit 262.46</c:v>
                </c:pt>
                <c:pt idx="6">
                  <c:v>Av Price/Unit 90.09</c:v>
                </c:pt>
                <c:pt idx="7">
                  <c:v>Av Price/Unit 93.64</c:v>
                </c:pt>
                <c:pt idx="8">
                  <c:v>Av Price/Unit 98.90</c:v>
                </c:pt>
                <c:pt idx="9">
                  <c:v>Av Price/Unit 238.42</c:v>
                </c:pt>
                <c:pt idx="10">
                  <c:v>Av Price/Unit 91.29</c:v>
                </c:pt>
                <c:pt idx="11">
                  <c:v>Av Price/Unit 67.21</c:v>
                </c:pt>
              </c:strCache>
            </c:strRef>
          </c:cat>
          <c:val>
            <c:numRef>
              <c:f>Sheet1!$B$2:$B$13</c:f>
              <c:numCache>
                <c:formatCode>General</c:formatCode>
                <c:ptCount val="12"/>
                <c:pt idx="0">
                  <c:v>64.5489435582822</c:v>
                </c:pt>
                <c:pt idx="1">
                  <c:v>83.43693333333334</c:v>
                </c:pt>
                <c:pt idx="2">
                  <c:v>33.22672307692307</c:v>
                </c:pt>
                <c:pt idx="3">
                  <c:v>113.16474347826089</c:v>
                </c:pt>
                <c:pt idx="4">
                  <c:v>12.51979304812834</c:v>
                </c:pt>
                <c:pt idx="5">
                  <c:v>80.99130833333334</c:v>
                </c:pt>
                <c:pt idx="6">
                  <c:v>29.619617910447758</c:v>
                </c:pt>
                <c:pt idx="7">
                  <c:v>30.363568965517242</c:v>
                </c:pt>
                <c:pt idx="8">
                  <c:v>30.411402083333325</c:v>
                </c:pt>
                <c:pt idx="9">
                  <c:v>76.87577368421051</c:v>
                </c:pt>
                <c:pt idx="10">
                  <c:v>30.26610526315789</c:v>
                </c:pt>
                <c:pt idx="11">
                  <c:v>21.9613603773584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56.34</c:v>
                </c:pt>
                <c:pt idx="1">
                  <c:v>Av Price/Unit 271.94</c:v>
                </c:pt>
                <c:pt idx="2">
                  <c:v>Av Price/Unit 101.71</c:v>
                </c:pt>
                <c:pt idx="3">
                  <c:v>Av Price/Unit 359.96</c:v>
                </c:pt>
                <c:pt idx="4">
                  <c:v>Av Price/Unit 38.90</c:v>
                </c:pt>
                <c:pt idx="5">
                  <c:v>Av Price/Unit 262.46</c:v>
                </c:pt>
                <c:pt idx="6">
                  <c:v>Av Price/Unit 90.09</c:v>
                </c:pt>
                <c:pt idx="7">
                  <c:v>Av Price/Unit 93.64</c:v>
                </c:pt>
                <c:pt idx="8">
                  <c:v>Av Price/Unit 98.90</c:v>
                </c:pt>
                <c:pt idx="9">
                  <c:v>Av Price/Unit 238.42</c:v>
                </c:pt>
                <c:pt idx="10">
                  <c:v>Av Price/Unit 91.29</c:v>
                </c:pt>
                <c:pt idx="11">
                  <c:v>Av Price/Unit 67.21</c:v>
                </c:pt>
              </c:strCache>
            </c:strRef>
          </c:cat>
          <c:val>
            <c:numRef>
              <c:f>Sheet1!$C$2:$C$13</c:f>
              <c:numCache>
                <c:formatCode>General</c:formatCode>
                <c:ptCount val="12"/>
                <c:pt idx="0">
                  <c:v>141.65859509202454</c:v>
                </c:pt>
                <c:pt idx="1">
                  <c:v>136.7247980392157</c:v>
                </c:pt>
                <c:pt idx="2">
                  <c:v>47.594557692307674</c:v>
                </c:pt>
                <c:pt idx="3">
                  <c:v>170.57547826086957</c:v>
                </c:pt>
                <c:pt idx="4">
                  <c:v>18.349466310160427</c:v>
                </c:pt>
                <c:pt idx="5">
                  <c:v>149.9115</c:v>
                </c:pt>
                <c:pt idx="6">
                  <c:v>40.64826119402985</c:v>
                </c:pt>
                <c:pt idx="7">
                  <c:v>42.9100275862069</c:v>
                </c:pt>
                <c:pt idx="8">
                  <c:v>42.71015833333333</c:v>
                </c:pt>
                <c:pt idx="9">
                  <c:v>103.19000000000003</c:v>
                </c:pt>
                <c:pt idx="10">
                  <c:v>43.67164736842105</c:v>
                </c:pt>
                <c:pt idx="11">
                  <c:v>29.85151886792453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56.34</c:v>
                </c:pt>
                <c:pt idx="1">
                  <c:v>Av Price/Unit 271.94</c:v>
                </c:pt>
                <c:pt idx="2">
                  <c:v>Av Price/Unit 101.71</c:v>
                </c:pt>
                <c:pt idx="3">
                  <c:v>Av Price/Unit 359.96</c:v>
                </c:pt>
                <c:pt idx="4">
                  <c:v>Av Price/Unit 38.90</c:v>
                </c:pt>
                <c:pt idx="5">
                  <c:v>Av Price/Unit 262.46</c:v>
                </c:pt>
                <c:pt idx="6">
                  <c:v>Av Price/Unit 90.09</c:v>
                </c:pt>
                <c:pt idx="7">
                  <c:v>Av Price/Unit 93.64</c:v>
                </c:pt>
                <c:pt idx="8">
                  <c:v>Av Price/Unit 98.90</c:v>
                </c:pt>
                <c:pt idx="9">
                  <c:v>Av Price/Unit 238.42</c:v>
                </c:pt>
                <c:pt idx="10">
                  <c:v>Av Price/Unit 91.29</c:v>
                </c:pt>
                <c:pt idx="11">
                  <c:v>Av Price/Unit 67.21</c:v>
                </c:pt>
              </c:strCache>
            </c:strRef>
          </c:cat>
          <c:val>
            <c:numRef>
              <c:f>Sheet1!$D$2:$D$13</c:f>
              <c:numCache>
                <c:formatCode>General</c:formatCode>
                <c:ptCount val="12"/>
                <c:pt idx="0">
                  <c:v>7.412093251533719</c:v>
                </c:pt>
                <c:pt idx="1">
                  <c:v>6.455915686274523</c:v>
                </c:pt>
                <c:pt idx="2">
                  <c:v>3.938334615384619</c:v>
                </c:pt>
                <c:pt idx="3">
                  <c:v>16.2235463768115</c:v>
                </c:pt>
                <c:pt idx="4">
                  <c:v>1.5504716577540094</c:v>
                </c:pt>
                <c:pt idx="5">
                  <c:v>-12.187530555555554</c:v>
                </c:pt>
                <c:pt idx="6">
                  <c:v>4.806747761194032</c:v>
                </c:pt>
                <c:pt idx="7">
                  <c:v>4.758012643678171</c:v>
                </c:pt>
                <c:pt idx="8">
                  <c:v>9.291634027777775</c:v>
                </c:pt>
                <c:pt idx="9">
                  <c:v>18.618436842105325</c:v>
                </c:pt>
                <c:pt idx="10">
                  <c:v>2.1368087719298217</c:v>
                </c:pt>
                <c:pt idx="11">
                  <c:v>4.1934100628930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56.34</c:v>
                </c:pt>
                <c:pt idx="1">
                  <c:v>Av Price/Unit 271.94</c:v>
                </c:pt>
                <c:pt idx="2">
                  <c:v>Av Price/Unit 101.71</c:v>
                </c:pt>
                <c:pt idx="3">
                  <c:v>Av Price/Unit 359.96</c:v>
                </c:pt>
                <c:pt idx="4">
                  <c:v>Av Price/Unit 38.90</c:v>
                </c:pt>
                <c:pt idx="5">
                  <c:v>Av Price/Unit 262.46</c:v>
                </c:pt>
                <c:pt idx="6">
                  <c:v>Av Price/Unit 90.09</c:v>
                </c:pt>
                <c:pt idx="7">
                  <c:v>Av Price/Unit 93.64</c:v>
                </c:pt>
                <c:pt idx="8">
                  <c:v>Av Price/Unit 98.90</c:v>
                </c:pt>
                <c:pt idx="9">
                  <c:v>Av Price/Unit 238.42</c:v>
                </c:pt>
                <c:pt idx="10">
                  <c:v>Av Price/Unit 91.29</c:v>
                </c:pt>
                <c:pt idx="11">
                  <c:v>Av Price/Unit 67.21</c:v>
                </c:pt>
              </c:strCache>
            </c:strRef>
          </c:cat>
          <c:val>
            <c:numRef>
              <c:f>Sheet1!$E$2:$E$13</c:f>
              <c:numCache>
                <c:formatCode>General</c:formatCode>
                <c:ptCount val="12"/>
                <c:pt idx="0">
                  <c:v>42.7239263803681</c:v>
                </c:pt>
                <c:pt idx="1">
                  <c:v>45.32352941176467</c:v>
                </c:pt>
                <c:pt idx="2">
                  <c:v>16.951923076923094</c:v>
                </c:pt>
                <c:pt idx="3">
                  <c:v>59.99275362318847</c:v>
                </c:pt>
                <c:pt idx="4">
                  <c:v>6.483957219251337</c:v>
                </c:pt>
                <c:pt idx="5">
                  <c:v>43.74305555555554</c:v>
                </c:pt>
                <c:pt idx="6">
                  <c:v>15.014925373134329</c:v>
                </c:pt>
                <c:pt idx="7">
                  <c:v>15.606321839080449</c:v>
                </c:pt>
                <c:pt idx="8">
                  <c:v>16.482638888888886</c:v>
                </c:pt>
                <c:pt idx="9">
                  <c:v>39.736842105263136</c:v>
                </c:pt>
                <c:pt idx="10">
                  <c:v>15.21491228070174</c:v>
                </c:pt>
                <c:pt idx="11">
                  <c:v>11.20125786163521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4.92</c:v>
                </c:pt>
                <c:pt idx="1">
                  <c:v>Av Price/Unit 267.06</c:v>
                </c:pt>
                <c:pt idx="2">
                  <c:v>Av Price/Unit 348.53</c:v>
                </c:pt>
                <c:pt idx="3">
                  <c:v>Av Price/Unit 37.17</c:v>
                </c:pt>
                <c:pt idx="4">
                  <c:v>Av Price/Unit 86.75</c:v>
                </c:pt>
                <c:pt idx="5">
                  <c:v>Av Price/Unit 329.50</c:v>
                </c:pt>
                <c:pt idx="6">
                  <c:v>Av Price/Unit 263.29</c:v>
                </c:pt>
                <c:pt idx="7">
                  <c:v>Av Price/Unit 88.87</c:v>
                </c:pt>
                <c:pt idx="8">
                  <c:v>Av Price/Unit 90.21</c:v>
                </c:pt>
                <c:pt idx="9">
                  <c:v>Av Price/Unit 97.57</c:v>
                </c:pt>
                <c:pt idx="10">
                  <c:v>Av Price/Unit 62.30</c:v>
                </c:pt>
                <c:pt idx="11">
                  <c:v>Av Price/Unit 220.21</c:v>
                </c:pt>
              </c:strCache>
            </c:strRef>
          </c:cat>
          <c:val>
            <c:numRef>
              <c:f>Sheet1!$B$2:$B$13</c:f>
              <c:numCache>
                <c:formatCode>General</c:formatCode>
                <c:ptCount val="12"/>
                <c:pt idx="0">
                  <c:v>64.46690818754372</c:v>
                </c:pt>
                <c:pt idx="1">
                  <c:v>81.5324910802775</c:v>
                </c:pt>
                <c:pt idx="2">
                  <c:v>114.74976534653464</c:v>
                </c:pt>
                <c:pt idx="3">
                  <c:v>12.520509540636041</c:v>
                </c:pt>
                <c:pt idx="4">
                  <c:v>29.382363877118646</c:v>
                </c:pt>
                <c:pt idx="5">
                  <c:v>96.1134712</c:v>
                </c:pt>
                <c:pt idx="6">
                  <c:v>85.8904534979424</c:v>
                </c:pt>
                <c:pt idx="7">
                  <c:v>30.339909673202612</c:v>
                </c:pt>
                <c:pt idx="8">
                  <c:v>30.367006548431096</c:v>
                </c:pt>
                <c:pt idx="9">
                  <c:v>32.990944578313254</c:v>
                </c:pt>
                <c:pt idx="10">
                  <c:v>21.14352672064777</c:v>
                </c:pt>
                <c:pt idx="11">
                  <c:v>76.7222684210526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4.92</c:v>
                </c:pt>
                <c:pt idx="1">
                  <c:v>Av Price/Unit 267.06</c:v>
                </c:pt>
                <c:pt idx="2">
                  <c:v>Av Price/Unit 348.53</c:v>
                </c:pt>
                <c:pt idx="3">
                  <c:v>Av Price/Unit 37.17</c:v>
                </c:pt>
                <c:pt idx="4">
                  <c:v>Av Price/Unit 86.75</c:v>
                </c:pt>
                <c:pt idx="5">
                  <c:v>Av Price/Unit 329.50</c:v>
                </c:pt>
                <c:pt idx="6">
                  <c:v>Av Price/Unit 263.29</c:v>
                </c:pt>
                <c:pt idx="7">
                  <c:v>Av Price/Unit 88.87</c:v>
                </c:pt>
                <c:pt idx="8">
                  <c:v>Av Price/Unit 90.21</c:v>
                </c:pt>
                <c:pt idx="9">
                  <c:v>Av Price/Unit 97.57</c:v>
                </c:pt>
                <c:pt idx="10">
                  <c:v>Av Price/Unit 62.30</c:v>
                </c:pt>
                <c:pt idx="11">
                  <c:v>Av Price/Unit 220.21</c:v>
                </c:pt>
              </c:strCache>
            </c:strRef>
          </c:cat>
          <c:val>
            <c:numRef>
              <c:f>Sheet1!$C$2:$C$13</c:f>
              <c:numCache>
                <c:formatCode>General</c:formatCode>
                <c:ptCount val="12"/>
                <c:pt idx="0">
                  <c:v>141.6858901329601</c:v>
                </c:pt>
                <c:pt idx="1">
                  <c:v>137.17927770069377</c:v>
                </c:pt>
                <c:pt idx="2">
                  <c:v>170.83189356435645</c:v>
                </c:pt>
                <c:pt idx="3">
                  <c:v>18.351834982332157</c:v>
                </c:pt>
                <c:pt idx="4">
                  <c:v>40.78032764830508</c:v>
                </c:pt>
                <c:pt idx="5">
                  <c:v>167.817026</c:v>
                </c:pt>
                <c:pt idx="6">
                  <c:v>151.59241975308643</c:v>
                </c:pt>
                <c:pt idx="7">
                  <c:v>43.0285414379085</c:v>
                </c:pt>
                <c:pt idx="8">
                  <c:v>42.791186357435194</c:v>
                </c:pt>
                <c:pt idx="9">
                  <c:v>47.65221987951808</c:v>
                </c:pt>
                <c:pt idx="10">
                  <c:v>30.11252834008097</c:v>
                </c:pt>
                <c:pt idx="11">
                  <c:v>103.1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4.92</c:v>
                </c:pt>
                <c:pt idx="1">
                  <c:v>Av Price/Unit 267.06</c:v>
                </c:pt>
                <c:pt idx="2">
                  <c:v>Av Price/Unit 348.53</c:v>
                </c:pt>
                <c:pt idx="3">
                  <c:v>Av Price/Unit 37.17</c:v>
                </c:pt>
                <c:pt idx="4">
                  <c:v>Av Price/Unit 86.75</c:v>
                </c:pt>
                <c:pt idx="5">
                  <c:v>Av Price/Unit 329.50</c:v>
                </c:pt>
                <c:pt idx="6">
                  <c:v>Av Price/Unit 263.29</c:v>
                </c:pt>
                <c:pt idx="7">
                  <c:v>Av Price/Unit 88.87</c:v>
                </c:pt>
                <c:pt idx="8">
                  <c:v>Av Price/Unit 90.21</c:v>
                </c:pt>
                <c:pt idx="9">
                  <c:v>Av Price/Unit 97.57</c:v>
                </c:pt>
                <c:pt idx="10">
                  <c:v>Av Price/Unit 62.30</c:v>
                </c:pt>
                <c:pt idx="11">
                  <c:v>Av Price/Unit 220.21</c:v>
                </c:pt>
              </c:strCache>
            </c:strRef>
          </c:cat>
          <c:val>
            <c:numRef>
              <c:f>Sheet1!$D$2:$D$13</c:f>
              <c:numCache>
                <c:formatCode>General</c:formatCode>
                <c:ptCount val="12"/>
                <c:pt idx="0">
                  <c:v>-2.0502790762771497</c:v>
                </c:pt>
                <c:pt idx="1">
                  <c:v>3.8410888338289055</c:v>
                </c:pt>
                <c:pt idx="2">
                  <c:v>4.857697524752496</c:v>
                </c:pt>
                <c:pt idx="3">
                  <c:v>0.10318389961039287</c:v>
                </c:pt>
                <c:pt idx="4">
                  <c:v>2.127209604519777</c:v>
                </c:pt>
                <c:pt idx="5">
                  <c:v>10.649502799999993</c:v>
                </c:pt>
                <c:pt idx="6">
                  <c:v>-18.072722359396437</c:v>
                </c:pt>
                <c:pt idx="7">
                  <c:v>0.691461742919401</c:v>
                </c:pt>
                <c:pt idx="8">
                  <c:v>2.0202973169622567</c:v>
                </c:pt>
                <c:pt idx="9">
                  <c:v>0.6620564257028576</c:v>
                </c:pt>
                <c:pt idx="10">
                  <c:v>0.660274224021606</c:v>
                </c:pt>
                <c:pt idx="11">
                  <c:v>3.596503508771945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4.92</c:v>
                </c:pt>
                <c:pt idx="1">
                  <c:v>Av Price/Unit 267.06</c:v>
                </c:pt>
                <c:pt idx="2">
                  <c:v>Av Price/Unit 348.53</c:v>
                </c:pt>
                <c:pt idx="3">
                  <c:v>Av Price/Unit 37.17</c:v>
                </c:pt>
                <c:pt idx="4">
                  <c:v>Av Price/Unit 86.75</c:v>
                </c:pt>
                <c:pt idx="5">
                  <c:v>Av Price/Unit 329.50</c:v>
                </c:pt>
                <c:pt idx="6">
                  <c:v>Av Price/Unit 263.29</c:v>
                </c:pt>
                <c:pt idx="7">
                  <c:v>Av Price/Unit 88.87</c:v>
                </c:pt>
                <c:pt idx="8">
                  <c:v>Av Price/Unit 90.21</c:v>
                </c:pt>
                <c:pt idx="9">
                  <c:v>Av Price/Unit 97.57</c:v>
                </c:pt>
                <c:pt idx="10">
                  <c:v>Av Price/Unit 62.30</c:v>
                </c:pt>
                <c:pt idx="11">
                  <c:v>Av Price/Unit 220.21</c:v>
                </c:pt>
              </c:strCache>
            </c:strRef>
          </c:cat>
          <c:val>
            <c:numRef>
              <c:f>Sheet1!$E$2:$E$13</c:f>
              <c:numCache>
                <c:formatCode>General</c:formatCode>
                <c:ptCount val="12"/>
                <c:pt idx="0">
                  <c:v>40.82050384884535</c:v>
                </c:pt>
                <c:pt idx="1">
                  <c:v>44.510571522960014</c:v>
                </c:pt>
                <c:pt idx="2">
                  <c:v>58.08787128712868</c:v>
                </c:pt>
                <c:pt idx="3">
                  <c:v>6.195116426565193</c:v>
                </c:pt>
                <c:pt idx="4">
                  <c:v>14.457980225988695</c:v>
                </c:pt>
                <c:pt idx="5">
                  <c:v>54.916</c:v>
                </c:pt>
                <c:pt idx="6">
                  <c:v>43.88203017832645</c:v>
                </c:pt>
                <c:pt idx="7">
                  <c:v>14.811982570806107</c:v>
                </c:pt>
                <c:pt idx="8">
                  <c:v>15.035698044565708</c:v>
                </c:pt>
                <c:pt idx="9">
                  <c:v>16.261044176706807</c:v>
                </c:pt>
                <c:pt idx="10">
                  <c:v>10.383265856950057</c:v>
                </c:pt>
                <c:pt idx="11">
                  <c:v>36.7017543859648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77.32</c:v>
                </c:pt>
                <c:pt idx="1">
                  <c:v>Av Price/Unit 247.68</c:v>
                </c:pt>
                <c:pt idx="2">
                  <c:v>Av Price/Unit 357.97</c:v>
                </c:pt>
                <c:pt idx="3">
                  <c:v>Av Price/Unit 303.64</c:v>
                </c:pt>
                <c:pt idx="4">
                  <c:v>Av Price/Unit 37.69</c:v>
                </c:pt>
                <c:pt idx="5">
                  <c:v>Av Price/Unit 101.66</c:v>
                </c:pt>
                <c:pt idx="6">
                  <c:v>Av Price/Unit 287.09</c:v>
                </c:pt>
                <c:pt idx="7">
                  <c:v>Av Price/Unit 94.41</c:v>
                </c:pt>
                <c:pt idx="8">
                  <c:v>Av Price/Unit 90.26</c:v>
                </c:pt>
                <c:pt idx="9">
                  <c:v>Av Price/Unit 91.24</c:v>
                </c:pt>
                <c:pt idx="10">
                  <c:v>Av Price/Unit 264.74</c:v>
                </c:pt>
                <c:pt idx="11">
                  <c:v>Av Price/Unit 425.12</c:v>
                </c:pt>
              </c:strCache>
            </c:strRef>
          </c:cat>
          <c:val>
            <c:numRef>
              <c:f>Sheet1!$B$2:$B$13</c:f>
              <c:numCache>
                <c:formatCode>General</c:formatCode>
                <c:ptCount val="12"/>
                <c:pt idx="0">
                  <c:v>81.75226546546547</c:v>
                </c:pt>
                <c:pt idx="1">
                  <c:v>63.31117319587628</c:v>
                </c:pt>
                <c:pt idx="2">
                  <c:v>113.8332242105263</c:v>
                </c:pt>
                <c:pt idx="3">
                  <c:v>80.38956363636363</c:v>
                </c:pt>
                <c:pt idx="4">
                  <c:v>12.522366984126984</c:v>
                </c:pt>
                <c:pt idx="5">
                  <c:v>32.415299999999995</c:v>
                </c:pt>
                <c:pt idx="6">
                  <c:v>84.57368000000001</c:v>
                </c:pt>
                <c:pt idx="7">
                  <c:v>30.393274311926607</c:v>
                </c:pt>
                <c:pt idx="8">
                  <c:v>29.54867727272727</c:v>
                </c:pt>
                <c:pt idx="9">
                  <c:v>30.353060919540237</c:v>
                </c:pt>
                <c:pt idx="10">
                  <c:v>80.21453125000004</c:v>
                </c:pt>
                <c:pt idx="11">
                  <c:v>130.7570764705882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77.32</c:v>
                </c:pt>
                <c:pt idx="1">
                  <c:v>Av Price/Unit 247.68</c:v>
                </c:pt>
                <c:pt idx="2">
                  <c:v>Av Price/Unit 357.97</c:v>
                </c:pt>
                <c:pt idx="3">
                  <c:v>Av Price/Unit 303.64</c:v>
                </c:pt>
                <c:pt idx="4">
                  <c:v>Av Price/Unit 37.69</c:v>
                </c:pt>
                <c:pt idx="5">
                  <c:v>Av Price/Unit 101.66</c:v>
                </c:pt>
                <c:pt idx="6">
                  <c:v>Av Price/Unit 287.09</c:v>
                </c:pt>
                <c:pt idx="7">
                  <c:v>Av Price/Unit 94.41</c:v>
                </c:pt>
                <c:pt idx="8">
                  <c:v>Av Price/Unit 90.26</c:v>
                </c:pt>
                <c:pt idx="9">
                  <c:v>Av Price/Unit 91.24</c:v>
                </c:pt>
                <c:pt idx="10">
                  <c:v>Av Price/Unit 264.74</c:v>
                </c:pt>
                <c:pt idx="11">
                  <c:v>Av Price/Unit 425.12</c:v>
                </c:pt>
              </c:strCache>
            </c:strRef>
          </c:cat>
          <c:val>
            <c:numRef>
              <c:f>Sheet1!$C$2:$C$13</c:f>
              <c:numCache>
                <c:formatCode>General</c:formatCode>
                <c:ptCount val="12"/>
                <c:pt idx="0">
                  <c:v>137.12683033033034</c:v>
                </c:pt>
                <c:pt idx="1">
                  <c:v>142.0704295532646</c:v>
                </c:pt>
                <c:pt idx="2">
                  <c:v>170.6836210526316</c:v>
                </c:pt>
                <c:pt idx="3">
                  <c:v>165.27330681818185</c:v>
                </c:pt>
                <c:pt idx="4">
                  <c:v>18.357975555555555</c:v>
                </c:pt>
                <c:pt idx="5">
                  <c:v>47.793</c:v>
                </c:pt>
                <c:pt idx="6">
                  <c:v>151.14062857142855</c:v>
                </c:pt>
                <c:pt idx="7">
                  <c:v>42.74324403669724</c:v>
                </c:pt>
                <c:pt idx="8">
                  <c:v>40.68775</c:v>
                </c:pt>
                <c:pt idx="9">
                  <c:v>42.96266436781609</c:v>
                </c:pt>
                <c:pt idx="10">
                  <c:v>112.59796874999996</c:v>
                </c:pt>
                <c:pt idx="11">
                  <c:v>173.4170999999999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77.32</c:v>
                </c:pt>
                <c:pt idx="1">
                  <c:v>Av Price/Unit 247.68</c:v>
                </c:pt>
                <c:pt idx="2">
                  <c:v>Av Price/Unit 357.97</c:v>
                </c:pt>
                <c:pt idx="3">
                  <c:v>Av Price/Unit 303.64</c:v>
                </c:pt>
                <c:pt idx="4">
                  <c:v>Av Price/Unit 37.69</c:v>
                </c:pt>
                <c:pt idx="5">
                  <c:v>Av Price/Unit 101.66</c:v>
                </c:pt>
                <c:pt idx="6">
                  <c:v>Av Price/Unit 287.09</c:v>
                </c:pt>
                <c:pt idx="7">
                  <c:v>Av Price/Unit 94.41</c:v>
                </c:pt>
                <c:pt idx="8">
                  <c:v>Av Price/Unit 90.26</c:v>
                </c:pt>
                <c:pt idx="9">
                  <c:v>Av Price/Unit 91.24</c:v>
                </c:pt>
                <c:pt idx="10">
                  <c:v>Av Price/Unit 264.74</c:v>
                </c:pt>
                <c:pt idx="11">
                  <c:v>Av Price/Unit 425.12</c:v>
                </c:pt>
              </c:strCache>
            </c:strRef>
          </c:cat>
          <c:val>
            <c:numRef>
              <c:f>Sheet1!$D$2:$D$13</c:f>
              <c:numCache>
                <c:formatCode>General</c:formatCode>
                <c:ptCount val="12"/>
                <c:pt idx="0">
                  <c:v>12.217000300300299</c:v>
                </c:pt>
                <c:pt idx="1">
                  <c:v>1.0158772050401126</c:v>
                </c:pt>
                <c:pt idx="2">
                  <c:v>13.790172280701768</c:v>
                </c:pt>
                <c:pt idx="3">
                  <c:v>7.367432575757562</c:v>
                </c:pt>
                <c:pt idx="4">
                  <c:v>0.5296602116402127</c:v>
                </c:pt>
                <c:pt idx="5">
                  <c:v>4.508961904761904</c:v>
                </c:pt>
                <c:pt idx="6">
                  <c:v>3.5237866666666946</c:v>
                </c:pt>
                <c:pt idx="7">
                  <c:v>5.540851681957193</c:v>
                </c:pt>
                <c:pt idx="8">
                  <c:v>4.9832696969696855</c:v>
                </c:pt>
                <c:pt idx="9">
                  <c:v>2.718757471264354</c:v>
                </c:pt>
                <c:pt idx="10">
                  <c:v>29.270833333333314</c:v>
                </c:pt>
                <c:pt idx="11">
                  <c:v>50.0905294117646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77.32</c:v>
                </c:pt>
                <c:pt idx="1">
                  <c:v>Av Price/Unit 247.68</c:v>
                </c:pt>
                <c:pt idx="2">
                  <c:v>Av Price/Unit 357.97</c:v>
                </c:pt>
                <c:pt idx="3">
                  <c:v>Av Price/Unit 303.64</c:v>
                </c:pt>
                <c:pt idx="4">
                  <c:v>Av Price/Unit 37.69</c:v>
                </c:pt>
                <c:pt idx="5">
                  <c:v>Av Price/Unit 101.66</c:v>
                </c:pt>
                <c:pt idx="6">
                  <c:v>Av Price/Unit 287.09</c:v>
                </c:pt>
                <c:pt idx="7">
                  <c:v>Av Price/Unit 94.41</c:v>
                </c:pt>
                <c:pt idx="8">
                  <c:v>Av Price/Unit 90.26</c:v>
                </c:pt>
                <c:pt idx="9">
                  <c:v>Av Price/Unit 91.24</c:v>
                </c:pt>
                <c:pt idx="10">
                  <c:v>Av Price/Unit 264.74</c:v>
                </c:pt>
                <c:pt idx="11">
                  <c:v>Av Price/Unit 425.12</c:v>
                </c:pt>
              </c:strCache>
            </c:strRef>
          </c:cat>
          <c:val>
            <c:numRef>
              <c:f>Sheet1!$E$2:$E$13</c:f>
              <c:numCache>
                <c:formatCode>General</c:formatCode>
                <c:ptCount val="12"/>
                <c:pt idx="0">
                  <c:v>46.21921921921922</c:v>
                </c:pt>
                <c:pt idx="1">
                  <c:v>41.27949599083618</c:v>
                </c:pt>
                <c:pt idx="2">
                  <c:v>59.66140350877192</c:v>
                </c:pt>
                <c:pt idx="3">
                  <c:v>50.606060606060595</c:v>
                </c:pt>
                <c:pt idx="4">
                  <c:v>6.282010582010578</c:v>
                </c:pt>
                <c:pt idx="5">
                  <c:v>16.943452380952376</c:v>
                </c:pt>
                <c:pt idx="6">
                  <c:v>47.84761904761903</c:v>
                </c:pt>
                <c:pt idx="7">
                  <c:v>15.735474006116203</c:v>
                </c:pt>
                <c:pt idx="8">
                  <c:v>15.0439393939394</c:v>
                </c:pt>
                <c:pt idx="9">
                  <c:v>15.206896551724139</c:v>
                </c:pt>
                <c:pt idx="10">
                  <c:v>44.416666666666686</c:v>
                </c:pt>
                <c:pt idx="11">
                  <c:v>70.852941176470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79.15</c:v>
                </c:pt>
                <c:pt idx="1">
                  <c:v>Av Price/Unit 286.78</c:v>
                </c:pt>
                <c:pt idx="2">
                  <c:v>Av Price/Unit 38.66</c:v>
                </c:pt>
                <c:pt idx="3">
                  <c:v>Av Price/Unit 90.83</c:v>
                </c:pt>
                <c:pt idx="4">
                  <c:v>Av Price/Unit 299.15</c:v>
                </c:pt>
                <c:pt idx="5">
                  <c:v>Av Price/Unit 394.73</c:v>
                </c:pt>
                <c:pt idx="6">
                  <c:v>Av Price/Unit 250.69</c:v>
                </c:pt>
                <c:pt idx="7">
                  <c:v>Av Price/Unit 105.12</c:v>
                </c:pt>
                <c:pt idx="8">
                  <c:v>Av Price/Unit 92.59</c:v>
                </c:pt>
                <c:pt idx="9">
                  <c:v>Av Price/Unit 68.77</c:v>
                </c:pt>
                <c:pt idx="10">
                  <c:v>Av Price/Unit 101.00</c:v>
                </c:pt>
                <c:pt idx="11">
                  <c:v>Av Price/Unit 316.33</c:v>
                </c:pt>
              </c:strCache>
            </c:strRef>
          </c:cat>
          <c:val>
            <c:numRef>
              <c:f>Sheet1!$B$2:$B$13</c:f>
              <c:numCache>
                <c:formatCode>General</c:formatCode>
                <c:ptCount val="12"/>
                <c:pt idx="0">
                  <c:v>81.4353205128205</c:v>
                </c:pt>
                <c:pt idx="1">
                  <c:v>62.185399999999994</c:v>
                </c:pt>
                <c:pt idx="2">
                  <c:v>12.523339455782313</c:v>
                </c:pt>
                <c:pt idx="3">
                  <c:v>29.563904347826085</c:v>
                </c:pt>
                <c:pt idx="4">
                  <c:v>86.85776153846155</c:v>
                </c:pt>
                <c:pt idx="5">
                  <c:v>101.13715454545455</c:v>
                </c:pt>
                <c:pt idx="6">
                  <c:v>76.00271249999999</c:v>
                </c:pt>
                <c:pt idx="7">
                  <c:v>32.72555</c:v>
                </c:pt>
                <c:pt idx="8">
                  <c:v>30.39509310344828</c:v>
                </c:pt>
                <c:pt idx="9">
                  <c:v>23.037674193548387</c:v>
                </c:pt>
                <c:pt idx="10">
                  <c:v>30.480700000000002</c:v>
                </c:pt>
                <c:pt idx="11">
                  <c:v>90.39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79.15</c:v>
                </c:pt>
                <c:pt idx="1">
                  <c:v>Av Price/Unit 286.78</c:v>
                </c:pt>
                <c:pt idx="2">
                  <c:v>Av Price/Unit 38.66</c:v>
                </c:pt>
                <c:pt idx="3">
                  <c:v>Av Price/Unit 90.83</c:v>
                </c:pt>
                <c:pt idx="4">
                  <c:v>Av Price/Unit 299.15</c:v>
                </c:pt>
                <c:pt idx="5">
                  <c:v>Av Price/Unit 394.73</c:v>
                </c:pt>
                <c:pt idx="6">
                  <c:v>Av Price/Unit 250.69</c:v>
                </c:pt>
                <c:pt idx="7">
                  <c:v>Av Price/Unit 105.12</c:v>
                </c:pt>
                <c:pt idx="8">
                  <c:v>Av Price/Unit 92.59</c:v>
                </c:pt>
                <c:pt idx="9">
                  <c:v>Av Price/Unit 68.77</c:v>
                </c:pt>
                <c:pt idx="10">
                  <c:v>Av Price/Unit 101.00</c:v>
                </c:pt>
                <c:pt idx="11">
                  <c:v>Av Price/Unit 316.33</c:v>
                </c:pt>
              </c:strCache>
            </c:strRef>
          </c:cat>
          <c:val>
            <c:numRef>
              <c:f>Sheet1!$C$2:$C$13</c:f>
              <c:numCache>
                <c:formatCode>General</c:formatCode>
                <c:ptCount val="12"/>
                <c:pt idx="0">
                  <c:v>137.20246666666665</c:v>
                </c:pt>
                <c:pt idx="1">
                  <c:v>142.445</c:v>
                </c:pt>
                <c:pt idx="2">
                  <c:v>18.361190476190476</c:v>
                </c:pt>
                <c:pt idx="3">
                  <c:v>40.67927391304348</c:v>
                </c:pt>
                <c:pt idx="4">
                  <c:v>151.92430769230765</c:v>
                </c:pt>
                <c:pt idx="5">
                  <c:v>168.6297272727273</c:v>
                </c:pt>
                <c:pt idx="6">
                  <c:v>103.19000000000003</c:v>
                </c:pt>
                <c:pt idx="7">
                  <c:v>47.71712499999999</c:v>
                </c:pt>
                <c:pt idx="8">
                  <c:v>42.75211724137931</c:v>
                </c:pt>
                <c:pt idx="9">
                  <c:v>29.50801612903226</c:v>
                </c:pt>
                <c:pt idx="10">
                  <c:v>42.58368</c:v>
                </c:pt>
                <c:pt idx="11">
                  <c:v>117.934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79.15</c:v>
                </c:pt>
                <c:pt idx="1">
                  <c:v>Av Price/Unit 286.78</c:v>
                </c:pt>
                <c:pt idx="2">
                  <c:v>Av Price/Unit 38.66</c:v>
                </c:pt>
                <c:pt idx="3">
                  <c:v>Av Price/Unit 90.83</c:v>
                </c:pt>
                <c:pt idx="4">
                  <c:v>Av Price/Unit 299.15</c:v>
                </c:pt>
                <c:pt idx="5">
                  <c:v>Av Price/Unit 394.73</c:v>
                </c:pt>
                <c:pt idx="6">
                  <c:v>Av Price/Unit 250.69</c:v>
                </c:pt>
                <c:pt idx="7">
                  <c:v>Av Price/Unit 105.12</c:v>
                </c:pt>
                <c:pt idx="8">
                  <c:v>Av Price/Unit 92.59</c:v>
                </c:pt>
                <c:pt idx="9">
                  <c:v>Av Price/Unit 68.77</c:v>
                </c:pt>
                <c:pt idx="10">
                  <c:v>Av Price/Unit 101.00</c:v>
                </c:pt>
                <c:pt idx="11">
                  <c:v>Av Price/Unit 316.33</c:v>
                </c:pt>
              </c:strCache>
            </c:strRef>
          </c:cat>
          <c:val>
            <c:numRef>
              <c:f>Sheet1!$D$2:$D$13</c:f>
              <c:numCache>
                <c:formatCode>General</c:formatCode>
                <c:ptCount val="12"/>
                <c:pt idx="0">
                  <c:v>13.990417948717976</c:v>
                </c:pt>
                <c:pt idx="1">
                  <c:v>34.355107246376804</c:v>
                </c:pt>
                <c:pt idx="2">
                  <c:v>1.3319750566893482</c:v>
                </c:pt>
                <c:pt idx="3">
                  <c:v>5.445227536231883</c:v>
                </c:pt>
                <c:pt idx="4">
                  <c:v>10.5128025641026</c:v>
                </c:pt>
                <c:pt idx="5">
                  <c:v>59.17251212121215</c:v>
                </c:pt>
                <c:pt idx="6">
                  <c:v>29.71353750000003</c:v>
                </c:pt>
                <c:pt idx="7">
                  <c:v>7.1614916666666915</c:v>
                </c:pt>
                <c:pt idx="8">
                  <c:v>4.00796206896554</c:v>
                </c:pt>
                <c:pt idx="9">
                  <c:v>4.766137634408615</c:v>
                </c:pt>
                <c:pt idx="10">
                  <c:v>11.102286666666657</c:v>
                </c:pt>
                <c:pt idx="11">
                  <c:v>55.27781111111113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79.15</c:v>
                </c:pt>
                <c:pt idx="1">
                  <c:v>Av Price/Unit 286.78</c:v>
                </c:pt>
                <c:pt idx="2">
                  <c:v>Av Price/Unit 38.66</c:v>
                </c:pt>
                <c:pt idx="3">
                  <c:v>Av Price/Unit 90.83</c:v>
                </c:pt>
                <c:pt idx="4">
                  <c:v>Av Price/Unit 299.15</c:v>
                </c:pt>
                <c:pt idx="5">
                  <c:v>Av Price/Unit 394.73</c:v>
                </c:pt>
                <c:pt idx="6">
                  <c:v>Av Price/Unit 250.69</c:v>
                </c:pt>
                <c:pt idx="7">
                  <c:v>Av Price/Unit 105.12</c:v>
                </c:pt>
                <c:pt idx="8">
                  <c:v>Av Price/Unit 92.59</c:v>
                </c:pt>
                <c:pt idx="9">
                  <c:v>Av Price/Unit 68.77</c:v>
                </c:pt>
                <c:pt idx="10">
                  <c:v>Av Price/Unit 101.00</c:v>
                </c:pt>
                <c:pt idx="11">
                  <c:v>Av Price/Unit 316.33</c:v>
                </c:pt>
              </c:strCache>
            </c:strRef>
          </c:cat>
          <c:val>
            <c:numRef>
              <c:f>Sheet1!$E$2:$E$13</c:f>
              <c:numCache>
                <c:formatCode>General</c:formatCode>
                <c:ptCount val="12"/>
                <c:pt idx="0">
                  <c:v>46.52564102564098</c:v>
                </c:pt>
                <c:pt idx="1">
                  <c:v>47.79710144927535</c:v>
                </c:pt>
                <c:pt idx="2">
                  <c:v>6.443310657596368</c:v>
                </c:pt>
                <c:pt idx="3">
                  <c:v>15.137681159420284</c:v>
                </c:pt>
                <c:pt idx="4">
                  <c:v>49.85897435897435</c:v>
                </c:pt>
                <c:pt idx="5">
                  <c:v>65.78787878787874</c:v>
                </c:pt>
                <c:pt idx="6">
                  <c:v>41.78125</c:v>
                </c:pt>
                <c:pt idx="7">
                  <c:v>17.520833333333343</c:v>
                </c:pt>
                <c:pt idx="8">
                  <c:v>15.431034482758621</c:v>
                </c:pt>
                <c:pt idx="9">
                  <c:v>11.462365591397832</c:v>
                </c:pt>
                <c:pt idx="10">
                  <c:v>16.833333333333336</c:v>
                </c:pt>
                <c:pt idx="11">
                  <c:v>52.7222222222222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7.28</c:v>
                </c:pt>
                <c:pt idx="1">
                  <c:v>Av Price/Unit 271.17</c:v>
                </c:pt>
                <c:pt idx="2">
                  <c:v>Av Price/Unit 346.94</c:v>
                </c:pt>
                <c:pt idx="3">
                  <c:v>Av Price/Unit 260.47</c:v>
                </c:pt>
                <c:pt idx="4">
                  <c:v>Av Price/Unit 37.13</c:v>
                </c:pt>
                <c:pt idx="5">
                  <c:v>Av Price/Unit 327.96</c:v>
                </c:pt>
                <c:pt idx="6">
                  <c:v>Av Price/Unit 86.63</c:v>
                </c:pt>
                <c:pt idx="7">
                  <c:v>Av Price/Unit 90.62</c:v>
                </c:pt>
                <c:pt idx="8">
                  <c:v>Av Price/Unit 89.39</c:v>
                </c:pt>
                <c:pt idx="9">
                  <c:v>Av Price/Unit 98.54</c:v>
                </c:pt>
                <c:pt idx="10">
                  <c:v>Av Price/Unit 62.72</c:v>
                </c:pt>
                <c:pt idx="11">
                  <c:v>Av Price/Unit 223.52</c:v>
                </c:pt>
              </c:strCache>
            </c:strRef>
          </c:cat>
          <c:val>
            <c:numRef>
              <c:f>Sheet1!$B$2:$B$13</c:f>
              <c:numCache>
                <c:formatCode>General</c:formatCode>
                <c:ptCount val="12"/>
                <c:pt idx="0">
                  <c:v>63.493308745247155</c:v>
                </c:pt>
                <c:pt idx="1">
                  <c:v>81.70356976744185</c:v>
                </c:pt>
                <c:pt idx="2">
                  <c:v>113.62848762886598</c:v>
                </c:pt>
                <c:pt idx="3">
                  <c:v>85.5154375</c:v>
                </c:pt>
                <c:pt idx="4">
                  <c:v>12.51964083728278</c:v>
                </c:pt>
                <c:pt idx="5">
                  <c:v>93.15011203007518</c:v>
                </c:pt>
                <c:pt idx="6">
                  <c:v>29.47573671706264</c:v>
                </c:pt>
                <c:pt idx="7">
                  <c:v>30.365778571428574</c:v>
                </c:pt>
                <c:pt idx="8">
                  <c:v>30.334982461538463</c:v>
                </c:pt>
                <c:pt idx="9">
                  <c:v>32.995835593220335</c:v>
                </c:pt>
                <c:pt idx="10">
                  <c:v>21.455183538083542</c:v>
                </c:pt>
                <c:pt idx="11">
                  <c:v>76.6016571428571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7.28</c:v>
                </c:pt>
                <c:pt idx="1">
                  <c:v>Av Price/Unit 271.17</c:v>
                </c:pt>
                <c:pt idx="2">
                  <c:v>Av Price/Unit 346.94</c:v>
                </c:pt>
                <c:pt idx="3">
                  <c:v>Av Price/Unit 260.47</c:v>
                </c:pt>
                <c:pt idx="4">
                  <c:v>Av Price/Unit 37.13</c:v>
                </c:pt>
                <c:pt idx="5">
                  <c:v>Av Price/Unit 327.96</c:v>
                </c:pt>
                <c:pt idx="6">
                  <c:v>Av Price/Unit 86.63</c:v>
                </c:pt>
                <c:pt idx="7">
                  <c:v>Av Price/Unit 90.62</c:v>
                </c:pt>
                <c:pt idx="8">
                  <c:v>Av Price/Unit 89.39</c:v>
                </c:pt>
                <c:pt idx="9">
                  <c:v>Av Price/Unit 98.54</c:v>
                </c:pt>
                <c:pt idx="10">
                  <c:v>Av Price/Unit 62.72</c:v>
                </c:pt>
                <c:pt idx="11">
                  <c:v>Av Price/Unit 223.52</c:v>
                </c:pt>
              </c:strCache>
            </c:strRef>
          </c:cat>
          <c:val>
            <c:numRef>
              <c:f>Sheet1!$C$2:$C$13</c:f>
              <c:numCache>
                <c:formatCode>General</c:formatCode>
                <c:ptCount val="12"/>
                <c:pt idx="0">
                  <c:v>142.00982889733842</c:v>
                </c:pt>
                <c:pt idx="1">
                  <c:v>137.1384511627907</c:v>
                </c:pt>
                <c:pt idx="2">
                  <c:v>170.6505</c:v>
                </c:pt>
                <c:pt idx="3">
                  <c:v>151.46375</c:v>
                </c:pt>
                <c:pt idx="4">
                  <c:v>18.3489631121643</c:v>
                </c:pt>
                <c:pt idx="5">
                  <c:v>167.3376315789474</c:v>
                </c:pt>
                <c:pt idx="6">
                  <c:v>40.72835205183585</c:v>
                </c:pt>
                <c:pt idx="7">
                  <c:v>42.793427586206896</c:v>
                </c:pt>
                <c:pt idx="8">
                  <c:v>43.05322276923077</c:v>
                </c:pt>
                <c:pt idx="9">
                  <c:v>47.65102372881356</c:v>
                </c:pt>
                <c:pt idx="10">
                  <c:v>30.01306388206388</c:v>
                </c:pt>
                <c:pt idx="11">
                  <c:v>103.190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7.28</c:v>
                </c:pt>
                <c:pt idx="1">
                  <c:v>Av Price/Unit 271.17</c:v>
                </c:pt>
                <c:pt idx="2">
                  <c:v>Av Price/Unit 346.94</c:v>
                </c:pt>
                <c:pt idx="3">
                  <c:v>Av Price/Unit 260.47</c:v>
                </c:pt>
                <c:pt idx="4">
                  <c:v>Av Price/Unit 37.13</c:v>
                </c:pt>
                <c:pt idx="5">
                  <c:v>Av Price/Unit 327.96</c:v>
                </c:pt>
                <c:pt idx="6">
                  <c:v>Av Price/Unit 86.63</c:v>
                </c:pt>
                <c:pt idx="7">
                  <c:v>Av Price/Unit 90.62</c:v>
                </c:pt>
                <c:pt idx="8">
                  <c:v>Av Price/Unit 89.39</c:v>
                </c:pt>
                <c:pt idx="9">
                  <c:v>Av Price/Unit 98.54</c:v>
                </c:pt>
                <c:pt idx="10">
                  <c:v>Av Price/Unit 62.72</c:v>
                </c:pt>
                <c:pt idx="11">
                  <c:v>Av Price/Unit 223.52</c:v>
                </c:pt>
              </c:strCache>
            </c:strRef>
          </c:cat>
          <c:val>
            <c:numRef>
              <c:f>Sheet1!$D$2:$D$13</c:f>
              <c:numCache>
                <c:formatCode>General</c:formatCode>
                <c:ptCount val="12"/>
                <c:pt idx="0">
                  <c:v>0.5615011406844417</c:v>
                </c:pt>
                <c:pt idx="1">
                  <c:v>7.129251299589583</c:v>
                </c:pt>
                <c:pt idx="2">
                  <c:v>4.8361326460481</c:v>
                </c:pt>
                <c:pt idx="3">
                  <c:v>-19.921895833333338</c:v>
                </c:pt>
                <c:pt idx="4">
                  <c:v>0.0693343601895684</c:v>
                </c:pt>
                <c:pt idx="5">
                  <c:v>12.814261403508851</c:v>
                </c:pt>
                <c:pt idx="6">
                  <c:v>1.9863359971202215</c:v>
                </c:pt>
                <c:pt idx="7">
                  <c:v>2.353930131362901</c:v>
                </c:pt>
                <c:pt idx="8">
                  <c:v>1.10410246153846</c:v>
                </c:pt>
                <c:pt idx="9">
                  <c:v>1.471784745762747</c:v>
                </c:pt>
                <c:pt idx="10">
                  <c:v>0.7962898443898538</c:v>
                </c:pt>
                <c:pt idx="11">
                  <c:v>6.4753496598639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7.28</c:v>
                </c:pt>
                <c:pt idx="1">
                  <c:v>Av Price/Unit 271.17</c:v>
                </c:pt>
                <c:pt idx="2">
                  <c:v>Av Price/Unit 346.94</c:v>
                </c:pt>
                <c:pt idx="3">
                  <c:v>Av Price/Unit 260.47</c:v>
                </c:pt>
                <c:pt idx="4">
                  <c:v>Av Price/Unit 37.13</c:v>
                </c:pt>
                <c:pt idx="5">
                  <c:v>Av Price/Unit 327.96</c:v>
                </c:pt>
                <c:pt idx="6">
                  <c:v>Av Price/Unit 86.63</c:v>
                </c:pt>
                <c:pt idx="7">
                  <c:v>Av Price/Unit 90.62</c:v>
                </c:pt>
                <c:pt idx="8">
                  <c:v>Av Price/Unit 89.39</c:v>
                </c:pt>
                <c:pt idx="9">
                  <c:v>Av Price/Unit 98.54</c:v>
                </c:pt>
                <c:pt idx="10">
                  <c:v>Av Price/Unit 62.72</c:v>
                </c:pt>
                <c:pt idx="11">
                  <c:v>Av Price/Unit 223.52</c:v>
                </c:pt>
              </c:strCache>
            </c:strRef>
          </c:cat>
          <c:val>
            <c:numRef>
              <c:f>Sheet1!$E$2:$E$13</c:f>
              <c:numCache>
                <c:formatCode>General</c:formatCode>
                <c:ptCount val="12"/>
                <c:pt idx="0">
                  <c:v>41.212927756653954</c:v>
                </c:pt>
                <c:pt idx="1">
                  <c:v>45.19425444596443</c:v>
                </c:pt>
                <c:pt idx="2">
                  <c:v>57.82302405498277</c:v>
                </c:pt>
                <c:pt idx="3">
                  <c:v>43.41145833333334</c:v>
                </c:pt>
                <c:pt idx="4">
                  <c:v>6.187598736176941</c:v>
                </c:pt>
                <c:pt idx="5">
                  <c:v>54.66040100250623</c:v>
                </c:pt>
                <c:pt idx="6">
                  <c:v>14.438084953203749</c:v>
                </c:pt>
                <c:pt idx="7">
                  <c:v>15.102627257799666</c:v>
                </c:pt>
                <c:pt idx="8">
                  <c:v>14.898461538461538</c:v>
                </c:pt>
                <c:pt idx="9">
                  <c:v>16.42372881355931</c:v>
                </c:pt>
                <c:pt idx="10">
                  <c:v>10.45290745290745</c:v>
                </c:pt>
                <c:pt idx="11">
                  <c:v>37.253401360544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87</c:v>
                </c:pt>
                <c:pt idx="1">
                  <c:v>Av Price/Unit 271.80</c:v>
                </c:pt>
                <c:pt idx="2">
                  <c:v>Av Price/Unit 37.57</c:v>
                </c:pt>
                <c:pt idx="3">
                  <c:v>Av Price/Unit 377.59</c:v>
                </c:pt>
                <c:pt idx="4">
                  <c:v>Av Price/Unit 88.20</c:v>
                </c:pt>
                <c:pt idx="5">
                  <c:v>Av Price/Unit 64.00</c:v>
                </c:pt>
                <c:pt idx="6">
                  <c:v>Av Price/Unit 335.56</c:v>
                </c:pt>
                <c:pt idx="7">
                  <c:v>Av Price/Unit 90.82</c:v>
                </c:pt>
                <c:pt idx="8">
                  <c:v>Av Price/Unit 94.36</c:v>
                </c:pt>
                <c:pt idx="9">
                  <c:v>Av Price/Unit 100.41</c:v>
                </c:pt>
                <c:pt idx="10">
                  <c:v>Av Price/Unit 273.76</c:v>
                </c:pt>
                <c:pt idx="11">
                  <c:v>Av Price/Unit 237.32</c:v>
                </c:pt>
              </c:strCache>
            </c:strRef>
          </c:cat>
          <c:val>
            <c:numRef>
              <c:f>Sheet1!$B$2:$B$13</c:f>
              <c:numCache>
                <c:formatCode>General</c:formatCode>
                <c:ptCount val="12"/>
                <c:pt idx="0">
                  <c:v>64.46662790697675</c:v>
                </c:pt>
                <c:pt idx="1">
                  <c:v>82.33127302325582</c:v>
                </c:pt>
                <c:pt idx="2">
                  <c:v>12.522680058651025</c:v>
                </c:pt>
                <c:pt idx="3">
                  <c:v>117.42785555555554</c:v>
                </c:pt>
                <c:pt idx="4">
                  <c:v>29.32975756097561</c:v>
                </c:pt>
                <c:pt idx="5">
                  <c:v>21.33709012345679</c:v>
                </c:pt>
                <c:pt idx="6">
                  <c:v>88.35049111111111</c:v>
                </c:pt>
                <c:pt idx="7">
                  <c:v>30.3378536231884</c:v>
                </c:pt>
                <c:pt idx="8">
                  <c:v>30.416391970802916</c:v>
                </c:pt>
                <c:pt idx="9">
                  <c:v>33.08120243902438</c:v>
                </c:pt>
                <c:pt idx="10">
                  <c:v>83.02255000000001</c:v>
                </c:pt>
                <c:pt idx="11">
                  <c:v>76.33082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87</c:v>
                </c:pt>
                <c:pt idx="1">
                  <c:v>Av Price/Unit 271.80</c:v>
                </c:pt>
                <c:pt idx="2">
                  <c:v>Av Price/Unit 37.57</c:v>
                </c:pt>
                <c:pt idx="3">
                  <c:v>Av Price/Unit 377.59</c:v>
                </c:pt>
                <c:pt idx="4">
                  <c:v>Av Price/Unit 88.20</c:v>
                </c:pt>
                <c:pt idx="5">
                  <c:v>Av Price/Unit 64.00</c:v>
                </c:pt>
                <c:pt idx="6">
                  <c:v>Av Price/Unit 335.56</c:v>
                </c:pt>
                <c:pt idx="7">
                  <c:v>Av Price/Unit 90.82</c:v>
                </c:pt>
                <c:pt idx="8">
                  <c:v>Av Price/Unit 94.36</c:v>
                </c:pt>
                <c:pt idx="9">
                  <c:v>Av Price/Unit 100.41</c:v>
                </c:pt>
                <c:pt idx="10">
                  <c:v>Av Price/Unit 273.76</c:v>
                </c:pt>
                <c:pt idx="11">
                  <c:v>Av Price/Unit 237.32</c:v>
                </c:pt>
              </c:strCache>
            </c:strRef>
          </c:cat>
          <c:val>
            <c:numRef>
              <c:f>Sheet1!$C$2:$C$13</c:f>
              <c:numCache>
                <c:formatCode>General</c:formatCode>
                <c:ptCount val="12"/>
                <c:pt idx="0">
                  <c:v>141.68598338870433</c:v>
                </c:pt>
                <c:pt idx="1">
                  <c:v>136.98865488372093</c:v>
                </c:pt>
                <c:pt idx="2">
                  <c:v>18.35901055718475</c:v>
                </c:pt>
                <c:pt idx="3">
                  <c:v>171.2651388888889</c:v>
                </c:pt>
                <c:pt idx="4">
                  <c:v>40.809610731707316</c:v>
                </c:pt>
                <c:pt idx="5">
                  <c:v>30.05075308641975</c:v>
                </c:pt>
                <c:pt idx="6">
                  <c:v>166.5611777777778</c:v>
                </c:pt>
                <c:pt idx="7">
                  <c:v>43.03884057971015</c:v>
                </c:pt>
                <c:pt idx="8">
                  <c:v>42.70105109489051</c:v>
                </c:pt>
                <c:pt idx="9">
                  <c:v>47.630146341463416</c:v>
                </c:pt>
                <c:pt idx="10">
                  <c:v>150.60842857142856</c:v>
                </c:pt>
                <c:pt idx="11">
                  <c:v>103.190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87</c:v>
                </c:pt>
                <c:pt idx="1">
                  <c:v>Av Price/Unit 271.80</c:v>
                </c:pt>
                <c:pt idx="2">
                  <c:v>Av Price/Unit 37.57</c:v>
                </c:pt>
                <c:pt idx="3">
                  <c:v>Av Price/Unit 377.59</c:v>
                </c:pt>
                <c:pt idx="4">
                  <c:v>Av Price/Unit 88.20</c:v>
                </c:pt>
                <c:pt idx="5">
                  <c:v>Av Price/Unit 64.00</c:v>
                </c:pt>
                <c:pt idx="6">
                  <c:v>Av Price/Unit 335.56</c:v>
                </c:pt>
                <c:pt idx="7">
                  <c:v>Av Price/Unit 90.82</c:v>
                </c:pt>
                <c:pt idx="8">
                  <c:v>Av Price/Unit 94.36</c:v>
                </c:pt>
                <c:pt idx="9">
                  <c:v>Av Price/Unit 100.41</c:v>
                </c:pt>
                <c:pt idx="10">
                  <c:v>Av Price/Unit 273.76</c:v>
                </c:pt>
                <c:pt idx="11">
                  <c:v>Av Price/Unit 237.32</c:v>
                </c:pt>
              </c:strCache>
            </c:strRef>
          </c:cat>
          <c:val>
            <c:numRef>
              <c:f>Sheet1!$D$2:$D$13</c:f>
              <c:numCache>
                <c:formatCode>General</c:formatCode>
                <c:ptCount val="12"/>
                <c:pt idx="0">
                  <c:v>-0.42448283499444983</c:v>
                </c:pt>
                <c:pt idx="1">
                  <c:v>7.17619612403098</c:v>
                </c:pt>
                <c:pt idx="2">
                  <c:v>0.4281327468230671</c:v>
                </c:pt>
                <c:pt idx="3">
                  <c:v>25.96749938271614</c:v>
                </c:pt>
                <c:pt idx="4">
                  <c:v>3.360631707317097</c:v>
                </c:pt>
                <c:pt idx="5">
                  <c:v>1.9454901234567927</c:v>
                </c:pt>
                <c:pt idx="6">
                  <c:v>24.717960740740722</c:v>
                </c:pt>
                <c:pt idx="7">
                  <c:v>2.3056729468599286</c:v>
                </c:pt>
                <c:pt idx="8">
                  <c:v>5.513943795620449</c:v>
                </c:pt>
                <c:pt idx="9">
                  <c:v>2.9675130081300836</c:v>
                </c:pt>
                <c:pt idx="10">
                  <c:v>-5.496057936507896</c:v>
                </c:pt>
                <c:pt idx="11">
                  <c:v>18.2500033333333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87</c:v>
                </c:pt>
                <c:pt idx="1">
                  <c:v>Av Price/Unit 271.80</c:v>
                </c:pt>
                <c:pt idx="2">
                  <c:v>Av Price/Unit 37.57</c:v>
                </c:pt>
                <c:pt idx="3">
                  <c:v>Av Price/Unit 377.59</c:v>
                </c:pt>
                <c:pt idx="4">
                  <c:v>Av Price/Unit 88.20</c:v>
                </c:pt>
                <c:pt idx="5">
                  <c:v>Av Price/Unit 64.00</c:v>
                </c:pt>
                <c:pt idx="6">
                  <c:v>Av Price/Unit 335.56</c:v>
                </c:pt>
                <c:pt idx="7">
                  <c:v>Av Price/Unit 90.82</c:v>
                </c:pt>
                <c:pt idx="8">
                  <c:v>Av Price/Unit 94.36</c:v>
                </c:pt>
                <c:pt idx="9">
                  <c:v>Av Price/Unit 100.41</c:v>
                </c:pt>
                <c:pt idx="10">
                  <c:v>Av Price/Unit 273.76</c:v>
                </c:pt>
                <c:pt idx="11">
                  <c:v>Av Price/Unit 237.32</c:v>
                </c:pt>
              </c:strCache>
            </c:strRef>
          </c:cat>
          <c:val>
            <c:numRef>
              <c:f>Sheet1!$E$2:$E$13</c:f>
              <c:numCache>
                <c:formatCode>General</c:formatCode>
                <c:ptCount val="12"/>
                <c:pt idx="0">
                  <c:v>41.1456256921373</c:v>
                </c:pt>
                <c:pt idx="1">
                  <c:v>45.299224806201565</c:v>
                </c:pt>
                <c:pt idx="2">
                  <c:v>6.261974584555226</c:v>
                </c:pt>
                <c:pt idx="3">
                  <c:v>62.93209876543207</c:v>
                </c:pt>
                <c:pt idx="4">
                  <c:v>14.69999999999999</c:v>
                </c:pt>
                <c:pt idx="5">
                  <c:v>10.666666666666666</c:v>
                </c:pt>
                <c:pt idx="6">
                  <c:v>55.92592592592591</c:v>
                </c:pt>
                <c:pt idx="7">
                  <c:v>15.136473429951682</c:v>
                </c:pt>
                <c:pt idx="8">
                  <c:v>15.726277372262773</c:v>
                </c:pt>
                <c:pt idx="9">
                  <c:v>16.73577235772356</c:v>
                </c:pt>
                <c:pt idx="10">
                  <c:v>45.6269841269841</c:v>
                </c:pt>
                <c:pt idx="11">
                  <c:v>39.5541666666666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54</c:v>
                </c:pt>
                <c:pt idx="1">
                  <c:v>Av Price/Unit 269.77</c:v>
                </c:pt>
                <c:pt idx="2">
                  <c:v>Av Price/Unit 37.14</c:v>
                </c:pt>
                <c:pt idx="3">
                  <c:v>Av Price/Unit 367.04</c:v>
                </c:pt>
                <c:pt idx="4">
                  <c:v>Av Price/Unit 98.56</c:v>
                </c:pt>
                <c:pt idx="5">
                  <c:v>Av Price/Unit 337.35</c:v>
                </c:pt>
                <c:pt idx="6">
                  <c:v>Av Price/Unit 88.12</c:v>
                </c:pt>
                <c:pt idx="7">
                  <c:v>Av Price/Unit 89.74</c:v>
                </c:pt>
                <c:pt idx="8">
                  <c:v>Av Price/Unit 90.90</c:v>
                </c:pt>
                <c:pt idx="9">
                  <c:v>Av Price/Unit 285.32</c:v>
                </c:pt>
                <c:pt idx="10">
                  <c:v>Av Price/Unit 359.21</c:v>
                </c:pt>
                <c:pt idx="11">
                  <c:v>Av Price/Unit 232.44</c:v>
                </c:pt>
              </c:strCache>
            </c:strRef>
          </c:cat>
          <c:val>
            <c:numRef>
              <c:f>Sheet1!$B$2:$B$13</c:f>
              <c:numCache>
                <c:formatCode>General</c:formatCode>
                <c:ptCount val="12"/>
                <c:pt idx="0">
                  <c:v>65.03248803611737</c:v>
                </c:pt>
                <c:pt idx="1">
                  <c:v>82.02244804804803</c:v>
                </c:pt>
                <c:pt idx="2">
                  <c:v>12.52234623015873</c:v>
                </c:pt>
                <c:pt idx="3">
                  <c:v>117.52445809523809</c:v>
                </c:pt>
                <c:pt idx="4">
                  <c:v>32.951948648648646</c:v>
                </c:pt>
                <c:pt idx="5">
                  <c:v>93.76023333333333</c:v>
                </c:pt>
                <c:pt idx="6">
                  <c:v>29.41384576271187</c:v>
                </c:pt>
                <c:pt idx="7">
                  <c:v>30.361682905982907</c:v>
                </c:pt>
                <c:pt idx="8">
                  <c:v>30.37703540669856</c:v>
                </c:pt>
                <c:pt idx="9">
                  <c:v>86.42026333333334</c:v>
                </c:pt>
                <c:pt idx="10">
                  <c:v>102.87940344827587</c:v>
                </c:pt>
                <c:pt idx="11">
                  <c:v>76.9702384615384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54</c:v>
                </c:pt>
                <c:pt idx="1">
                  <c:v>Av Price/Unit 269.77</c:v>
                </c:pt>
                <c:pt idx="2">
                  <c:v>Av Price/Unit 37.14</c:v>
                </c:pt>
                <c:pt idx="3">
                  <c:v>Av Price/Unit 367.04</c:v>
                </c:pt>
                <c:pt idx="4">
                  <c:v>Av Price/Unit 98.56</c:v>
                </c:pt>
                <c:pt idx="5">
                  <c:v>Av Price/Unit 337.35</c:v>
                </c:pt>
                <c:pt idx="6">
                  <c:v>Av Price/Unit 88.12</c:v>
                </c:pt>
                <c:pt idx="7">
                  <c:v>Av Price/Unit 89.74</c:v>
                </c:pt>
                <c:pt idx="8">
                  <c:v>Av Price/Unit 90.90</c:v>
                </c:pt>
                <c:pt idx="9">
                  <c:v>Av Price/Unit 285.32</c:v>
                </c:pt>
                <c:pt idx="10">
                  <c:v>Av Price/Unit 359.21</c:v>
                </c:pt>
                <c:pt idx="11">
                  <c:v>Av Price/Unit 232.44</c:v>
                </c:pt>
              </c:strCache>
            </c:strRef>
          </c:cat>
          <c:val>
            <c:numRef>
              <c:f>Sheet1!$C$2:$C$13</c:f>
              <c:numCache>
                <c:formatCode>General</c:formatCode>
                <c:ptCount val="12"/>
                <c:pt idx="0">
                  <c:v>141.49770880361174</c:v>
                </c:pt>
                <c:pt idx="1">
                  <c:v>137.06235345345345</c:v>
                </c:pt>
                <c:pt idx="2">
                  <c:v>18.357906944444444</c:v>
                </c:pt>
                <c:pt idx="3">
                  <c:v>171.2807666666667</c:v>
                </c:pt>
                <c:pt idx="4">
                  <c:v>47.66175675675676</c:v>
                </c:pt>
                <c:pt idx="5">
                  <c:v>167.43633333333335</c:v>
                </c:pt>
                <c:pt idx="6">
                  <c:v>40.76280338983051</c:v>
                </c:pt>
                <c:pt idx="7">
                  <c:v>42.91947521367521</c:v>
                </c:pt>
                <c:pt idx="8">
                  <c:v>42.77288229665073</c:v>
                </c:pt>
                <c:pt idx="9">
                  <c:v>151.7742</c:v>
                </c:pt>
                <c:pt idx="10">
                  <c:v>168.88229310344826</c:v>
                </c:pt>
                <c:pt idx="11">
                  <c:v>103.190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54</c:v>
                </c:pt>
                <c:pt idx="1">
                  <c:v>Av Price/Unit 269.77</c:v>
                </c:pt>
                <c:pt idx="2">
                  <c:v>Av Price/Unit 37.14</c:v>
                </c:pt>
                <c:pt idx="3">
                  <c:v>Av Price/Unit 367.04</c:v>
                </c:pt>
                <c:pt idx="4">
                  <c:v>Av Price/Unit 98.56</c:v>
                </c:pt>
                <c:pt idx="5">
                  <c:v>Av Price/Unit 337.35</c:v>
                </c:pt>
                <c:pt idx="6">
                  <c:v>Av Price/Unit 88.12</c:v>
                </c:pt>
                <c:pt idx="7">
                  <c:v>Av Price/Unit 89.74</c:v>
                </c:pt>
                <c:pt idx="8">
                  <c:v>Av Price/Unit 90.90</c:v>
                </c:pt>
                <c:pt idx="9">
                  <c:v>Av Price/Unit 285.32</c:v>
                </c:pt>
                <c:pt idx="10">
                  <c:v>Av Price/Unit 359.21</c:v>
                </c:pt>
                <c:pt idx="11">
                  <c:v>Av Price/Unit 232.44</c:v>
                </c:pt>
              </c:strCache>
            </c:strRef>
          </c:cat>
          <c:val>
            <c:numRef>
              <c:f>Sheet1!$D$2:$D$13</c:f>
              <c:numCache>
                <c:formatCode>General</c:formatCode>
                <c:ptCount val="12"/>
                <c:pt idx="0">
                  <c:v>-1.0768484574868182</c:v>
                </c:pt>
                <c:pt idx="1">
                  <c:v>5.725008308308418</c:v>
                </c:pt>
                <c:pt idx="2">
                  <c:v>0.06794398148148062</c:v>
                </c:pt>
                <c:pt idx="3">
                  <c:v>17.059854603174642</c:v>
                </c:pt>
                <c:pt idx="4">
                  <c:v>1.5174882882882912</c:v>
                </c:pt>
                <c:pt idx="5">
                  <c:v>19.924465079365064</c:v>
                </c:pt>
                <c:pt idx="6">
                  <c:v>3.252729378531086</c:v>
                </c:pt>
                <c:pt idx="7">
                  <c:v>1.5051666666666819</c:v>
                </c:pt>
                <c:pt idx="8">
                  <c:v>2.6036708133971445</c:v>
                </c:pt>
                <c:pt idx="9">
                  <c:v>-0.4305744444444315</c:v>
                </c:pt>
                <c:pt idx="10">
                  <c:v>27.577383908045988</c:v>
                </c:pt>
                <c:pt idx="11">
                  <c:v>13.53634273504275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6.54</c:v>
                </c:pt>
                <c:pt idx="1">
                  <c:v>Av Price/Unit 269.77</c:v>
                </c:pt>
                <c:pt idx="2">
                  <c:v>Av Price/Unit 37.14</c:v>
                </c:pt>
                <c:pt idx="3">
                  <c:v>Av Price/Unit 367.04</c:v>
                </c:pt>
                <c:pt idx="4">
                  <c:v>Av Price/Unit 98.56</c:v>
                </c:pt>
                <c:pt idx="5">
                  <c:v>Av Price/Unit 337.35</c:v>
                </c:pt>
                <c:pt idx="6">
                  <c:v>Av Price/Unit 88.12</c:v>
                </c:pt>
                <c:pt idx="7">
                  <c:v>Av Price/Unit 89.74</c:v>
                </c:pt>
                <c:pt idx="8">
                  <c:v>Av Price/Unit 90.90</c:v>
                </c:pt>
                <c:pt idx="9">
                  <c:v>Av Price/Unit 285.32</c:v>
                </c:pt>
                <c:pt idx="10">
                  <c:v>Av Price/Unit 359.21</c:v>
                </c:pt>
                <c:pt idx="11">
                  <c:v>Av Price/Unit 232.44</c:v>
                </c:pt>
              </c:strCache>
            </c:strRef>
          </c:cat>
          <c:val>
            <c:numRef>
              <c:f>Sheet1!$E$2:$E$13</c:f>
              <c:numCache>
                <c:formatCode>General</c:formatCode>
                <c:ptCount val="12"/>
                <c:pt idx="0">
                  <c:v>41.090669676448435</c:v>
                </c:pt>
                <c:pt idx="1">
                  <c:v>44.961961961961904</c:v>
                </c:pt>
                <c:pt idx="2">
                  <c:v>6.189649470899469</c:v>
                </c:pt>
                <c:pt idx="3">
                  <c:v>61.17301587301585</c:v>
                </c:pt>
                <c:pt idx="4">
                  <c:v>16.426238738738743</c:v>
                </c:pt>
                <c:pt idx="5">
                  <c:v>56.224206349206334</c:v>
                </c:pt>
                <c:pt idx="6">
                  <c:v>14.685875706214684</c:v>
                </c:pt>
                <c:pt idx="7">
                  <c:v>14.957264957264957</c:v>
                </c:pt>
                <c:pt idx="8">
                  <c:v>15.150717703349274</c:v>
                </c:pt>
                <c:pt idx="9">
                  <c:v>47.55277777777777</c:v>
                </c:pt>
                <c:pt idx="10">
                  <c:v>59.867816091954005</c:v>
                </c:pt>
                <c:pt idx="11">
                  <c:v>38.7393162393162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8.01</c:v>
                </c:pt>
                <c:pt idx="1">
                  <c:v>Av Price/Unit 271.41</c:v>
                </c:pt>
                <c:pt idx="2">
                  <c:v>Av Price/Unit 37.53</c:v>
                </c:pt>
                <c:pt idx="3">
                  <c:v>Av Price/Unit 89.72</c:v>
                </c:pt>
                <c:pt idx="4">
                  <c:v>Av Price/Unit 365.36</c:v>
                </c:pt>
                <c:pt idx="5">
                  <c:v>Av Price/Unit 100.36</c:v>
                </c:pt>
                <c:pt idx="6">
                  <c:v>Av Price/Unit 88.58</c:v>
                </c:pt>
                <c:pt idx="7">
                  <c:v>Av Price/Unit 322.39</c:v>
                </c:pt>
                <c:pt idx="8">
                  <c:v>Av Price/Unit 402.64</c:v>
                </c:pt>
                <c:pt idx="9">
                  <c:v>Av Price/Unit 93.38</c:v>
                </c:pt>
                <c:pt idx="10">
                  <c:v>Av Price/Unit 233.98</c:v>
                </c:pt>
                <c:pt idx="11">
                  <c:v>Av Price/Unit 216.68</c:v>
                </c:pt>
              </c:strCache>
            </c:strRef>
          </c:cat>
          <c:val>
            <c:numRef>
              <c:f>Sheet1!$B$2:$B$13</c:f>
              <c:numCache>
                <c:formatCode>General</c:formatCode>
                <c:ptCount val="12"/>
                <c:pt idx="0">
                  <c:v>65.3126</c:v>
                </c:pt>
                <c:pt idx="1">
                  <c:v>81.2390867219917</c:v>
                </c:pt>
                <c:pt idx="2">
                  <c:v>12.51998528735632</c:v>
                </c:pt>
                <c:pt idx="3">
                  <c:v>30.34661100478469</c:v>
                </c:pt>
                <c:pt idx="4">
                  <c:v>102.81672142857144</c:v>
                </c:pt>
                <c:pt idx="5">
                  <c:v>33.01534395604396</c:v>
                </c:pt>
                <c:pt idx="6">
                  <c:v>29.361201724137928</c:v>
                </c:pt>
                <c:pt idx="7">
                  <c:v>92.83811818181817</c:v>
                </c:pt>
                <c:pt idx="8">
                  <c:v>125.88807777777782</c:v>
                </c:pt>
                <c:pt idx="9">
                  <c:v>30.43470465116279</c:v>
                </c:pt>
                <c:pt idx="10">
                  <c:v>76.89863617021278</c:v>
                </c:pt>
                <c:pt idx="11">
                  <c:v>72.2077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8.01</c:v>
                </c:pt>
                <c:pt idx="1">
                  <c:v>Av Price/Unit 271.41</c:v>
                </c:pt>
                <c:pt idx="2">
                  <c:v>Av Price/Unit 37.53</c:v>
                </c:pt>
                <c:pt idx="3">
                  <c:v>Av Price/Unit 89.72</c:v>
                </c:pt>
                <c:pt idx="4">
                  <c:v>Av Price/Unit 365.36</c:v>
                </c:pt>
                <c:pt idx="5">
                  <c:v>Av Price/Unit 100.36</c:v>
                </c:pt>
                <c:pt idx="6">
                  <c:v>Av Price/Unit 88.58</c:v>
                </c:pt>
                <c:pt idx="7">
                  <c:v>Av Price/Unit 322.39</c:v>
                </c:pt>
                <c:pt idx="8">
                  <c:v>Av Price/Unit 402.64</c:v>
                </c:pt>
                <c:pt idx="9">
                  <c:v>Av Price/Unit 93.38</c:v>
                </c:pt>
                <c:pt idx="10">
                  <c:v>Av Price/Unit 233.98</c:v>
                </c:pt>
                <c:pt idx="11">
                  <c:v>Av Price/Unit 216.68</c:v>
                </c:pt>
              </c:strCache>
            </c:strRef>
          </c:cat>
          <c:val>
            <c:numRef>
              <c:f>Sheet1!$C$2:$C$13</c:f>
              <c:numCache>
                <c:formatCode>General</c:formatCode>
                <c:ptCount val="12"/>
                <c:pt idx="0">
                  <c:v>141.40450915750918</c:v>
                </c:pt>
                <c:pt idx="1">
                  <c:v>137.24929626556016</c:v>
                </c:pt>
                <c:pt idx="2">
                  <c:v>18.350101839080462</c:v>
                </c:pt>
                <c:pt idx="3">
                  <c:v>42.99497320574162</c:v>
                </c:pt>
                <c:pt idx="4">
                  <c:v>168.9014375</c:v>
                </c:pt>
                <c:pt idx="5">
                  <c:v>47.64625274725275</c:v>
                </c:pt>
                <c:pt idx="6">
                  <c:v>40.792107471264366</c:v>
                </c:pt>
                <c:pt idx="7">
                  <c:v>167.28715909090909</c:v>
                </c:pt>
                <c:pt idx="8">
                  <c:v>172.62506944444442</c:v>
                </c:pt>
                <c:pt idx="9">
                  <c:v>42.66762790697674</c:v>
                </c:pt>
                <c:pt idx="10">
                  <c:v>103.18999999999996</c:v>
                </c:pt>
                <c:pt idx="11">
                  <c:v>103.1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8.01</c:v>
                </c:pt>
                <c:pt idx="1">
                  <c:v>Av Price/Unit 271.41</c:v>
                </c:pt>
                <c:pt idx="2">
                  <c:v>Av Price/Unit 37.53</c:v>
                </c:pt>
                <c:pt idx="3">
                  <c:v>Av Price/Unit 89.72</c:v>
                </c:pt>
                <c:pt idx="4">
                  <c:v>Av Price/Unit 365.36</c:v>
                </c:pt>
                <c:pt idx="5">
                  <c:v>Av Price/Unit 100.36</c:v>
                </c:pt>
                <c:pt idx="6">
                  <c:v>Av Price/Unit 88.58</c:v>
                </c:pt>
                <c:pt idx="7">
                  <c:v>Av Price/Unit 322.39</c:v>
                </c:pt>
                <c:pt idx="8">
                  <c:v>Av Price/Unit 402.64</c:v>
                </c:pt>
                <c:pt idx="9">
                  <c:v>Av Price/Unit 93.38</c:v>
                </c:pt>
                <c:pt idx="10">
                  <c:v>Av Price/Unit 233.98</c:v>
                </c:pt>
                <c:pt idx="11">
                  <c:v>Av Price/Unit 216.68</c:v>
                </c:pt>
              </c:strCache>
            </c:strRef>
          </c:cat>
          <c:val>
            <c:numRef>
              <c:f>Sheet1!$D$2:$D$13</c:f>
              <c:numCache>
                <c:formatCode>General</c:formatCode>
                <c:ptCount val="12"/>
                <c:pt idx="0">
                  <c:v>-0.04433748473749688</c:v>
                </c:pt>
                <c:pt idx="1">
                  <c:v>7.690731811894807</c:v>
                </c:pt>
                <c:pt idx="2">
                  <c:v>0.4047623754789278</c:v>
                </c:pt>
                <c:pt idx="3">
                  <c:v>1.423168580542253</c:v>
                </c:pt>
                <c:pt idx="4">
                  <c:v>32.746126785714296</c:v>
                </c:pt>
                <c:pt idx="5">
                  <c:v>2.9693556776556846</c:v>
                </c:pt>
                <c:pt idx="6">
                  <c:v>3.663740613026846</c:v>
                </c:pt>
                <c:pt idx="7">
                  <c:v>8.5300257575758</c:v>
                </c:pt>
                <c:pt idx="8">
                  <c:v>37.0192601851852</c:v>
                </c:pt>
                <c:pt idx="9">
                  <c:v>4.714204909560735</c:v>
                </c:pt>
                <c:pt idx="10">
                  <c:v>14.893633333333355</c:v>
                </c:pt>
                <c:pt idx="11">
                  <c:v>5.17045681818180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8.01</c:v>
                </c:pt>
                <c:pt idx="1">
                  <c:v>Av Price/Unit 271.41</c:v>
                </c:pt>
                <c:pt idx="2">
                  <c:v>Av Price/Unit 37.53</c:v>
                </c:pt>
                <c:pt idx="3">
                  <c:v>Av Price/Unit 89.72</c:v>
                </c:pt>
                <c:pt idx="4">
                  <c:v>Av Price/Unit 365.36</c:v>
                </c:pt>
                <c:pt idx="5">
                  <c:v>Av Price/Unit 100.36</c:v>
                </c:pt>
                <c:pt idx="6">
                  <c:v>Av Price/Unit 88.58</c:v>
                </c:pt>
                <c:pt idx="7">
                  <c:v>Av Price/Unit 322.39</c:v>
                </c:pt>
                <c:pt idx="8">
                  <c:v>Av Price/Unit 402.64</c:v>
                </c:pt>
                <c:pt idx="9">
                  <c:v>Av Price/Unit 93.38</c:v>
                </c:pt>
                <c:pt idx="10">
                  <c:v>Av Price/Unit 233.98</c:v>
                </c:pt>
                <c:pt idx="11">
                  <c:v>Av Price/Unit 216.68</c:v>
                </c:pt>
              </c:strCache>
            </c:strRef>
          </c:cat>
          <c:val>
            <c:numRef>
              <c:f>Sheet1!$E$2:$E$13</c:f>
              <c:numCache>
                <c:formatCode>General</c:formatCode>
                <c:ptCount val="12"/>
                <c:pt idx="0">
                  <c:v>41.33455433455434</c:v>
                </c:pt>
                <c:pt idx="1">
                  <c:v>45.23582295988939</c:v>
                </c:pt>
                <c:pt idx="2">
                  <c:v>6.254980842911876</c:v>
                </c:pt>
                <c:pt idx="3">
                  <c:v>14.952950558213722</c:v>
                </c:pt>
                <c:pt idx="4">
                  <c:v>60.892857142857075</c:v>
                </c:pt>
                <c:pt idx="5">
                  <c:v>16.72619047619048</c:v>
                </c:pt>
                <c:pt idx="6">
                  <c:v>14.763409961685817</c:v>
                </c:pt>
                <c:pt idx="7">
                  <c:v>53.731060606060595</c:v>
                </c:pt>
                <c:pt idx="8">
                  <c:v>67.1064814814815</c:v>
                </c:pt>
                <c:pt idx="9">
                  <c:v>15.563307493540034</c:v>
                </c:pt>
                <c:pt idx="10">
                  <c:v>38.99645390070919</c:v>
                </c:pt>
                <c:pt idx="11">
                  <c:v>36.1136363636363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33</c:v>
                </c:pt>
                <c:pt idx="1">
                  <c:v>Av Price/Unit 57.16</c:v>
                </c:pt>
                <c:pt idx="2">
                  <c:v>Av Price/Unit 37.41</c:v>
                </c:pt>
                <c:pt idx="3">
                  <c:v>Av Price/Unit 79.99</c:v>
                </c:pt>
                <c:pt idx="4">
                  <c:v>Av Price/Unit 25.02</c:v>
                </c:pt>
                <c:pt idx="5">
                  <c:v>Av Price/Unit 93.43</c:v>
                </c:pt>
                <c:pt idx="6">
                  <c:v>Av Price/Unit 37.56</c:v>
                </c:pt>
                <c:pt idx="7">
                  <c:v>Av Price/Unit 36.00</c:v>
                </c:pt>
                <c:pt idx="8">
                  <c:v>Av Price/Unit 47.11</c:v>
                </c:pt>
                <c:pt idx="9">
                  <c:v>Av Price/Unit 547.44</c:v>
                </c:pt>
                <c:pt idx="10">
                  <c:v>Av Price/Unit 51.10</c:v>
                </c:pt>
                <c:pt idx="11">
                  <c:v>Av Price/Unit 601.54</c:v>
                </c:pt>
              </c:strCache>
            </c:strRef>
          </c:cat>
          <c:val>
            <c:numRef>
              <c:f>Sheet1!$B$2:$B$13</c:f>
              <c:numCache>
                <c:formatCode>General</c:formatCode>
                <c:ptCount val="12"/>
                <c:pt idx="0">
                  <c:v>29.379279713375794</c:v>
                </c:pt>
                <c:pt idx="1">
                  <c:v>19.730616852990497</c:v>
                </c:pt>
                <c:pt idx="2">
                  <c:v>12.504784208375893</c:v>
                </c:pt>
                <c:pt idx="3">
                  <c:v>26.22596347826087</c:v>
                </c:pt>
                <c:pt idx="4">
                  <c:v>5.332938765588671</c:v>
                </c:pt>
                <c:pt idx="5">
                  <c:v>31.20284988272088</c:v>
                </c:pt>
                <c:pt idx="6">
                  <c:v>13.371841379310343</c:v>
                </c:pt>
                <c:pt idx="7">
                  <c:v>12.539535195996661</c:v>
                </c:pt>
                <c:pt idx="8">
                  <c:v>16.567723659305994</c:v>
                </c:pt>
                <c:pt idx="9">
                  <c:v>164.7408593220339</c:v>
                </c:pt>
                <c:pt idx="10">
                  <c:v>18.669612451361868</c:v>
                </c:pt>
                <c:pt idx="11">
                  <c:v>205.846246153846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33</c:v>
                </c:pt>
                <c:pt idx="1">
                  <c:v>Av Price/Unit 57.16</c:v>
                </c:pt>
                <c:pt idx="2">
                  <c:v>Av Price/Unit 37.41</c:v>
                </c:pt>
                <c:pt idx="3">
                  <c:v>Av Price/Unit 79.99</c:v>
                </c:pt>
                <c:pt idx="4">
                  <c:v>Av Price/Unit 25.02</c:v>
                </c:pt>
                <c:pt idx="5">
                  <c:v>Av Price/Unit 93.43</c:v>
                </c:pt>
                <c:pt idx="6">
                  <c:v>Av Price/Unit 37.56</c:v>
                </c:pt>
                <c:pt idx="7">
                  <c:v>Av Price/Unit 36.00</c:v>
                </c:pt>
                <c:pt idx="8">
                  <c:v>Av Price/Unit 47.11</c:v>
                </c:pt>
                <c:pt idx="9">
                  <c:v>Av Price/Unit 547.44</c:v>
                </c:pt>
                <c:pt idx="10">
                  <c:v>Av Price/Unit 51.10</c:v>
                </c:pt>
                <c:pt idx="11">
                  <c:v>Av Price/Unit 601.54</c:v>
                </c:pt>
              </c:strCache>
            </c:strRef>
          </c:cat>
          <c:val>
            <c:numRef>
              <c:f>Sheet1!$C$2:$C$13</c:f>
              <c:numCache>
                <c:formatCode>General</c:formatCode>
                <c:ptCount val="12"/>
                <c:pt idx="0">
                  <c:v>42.7891870700637</c:v>
                </c:pt>
                <c:pt idx="1">
                  <c:v>27.356952683063163</c:v>
                </c:pt>
                <c:pt idx="2">
                  <c:v>18.437670214504596</c:v>
                </c:pt>
                <c:pt idx="3">
                  <c:v>40.74034</c:v>
                </c:pt>
                <c:pt idx="4">
                  <c:v>15.50036123441133</c:v>
                </c:pt>
                <c:pt idx="5">
                  <c:v>44.704153401094615</c:v>
                </c:pt>
                <c:pt idx="6">
                  <c:v>17.03611448275862</c:v>
                </c:pt>
                <c:pt idx="7">
                  <c:v>16.55926997497915</c:v>
                </c:pt>
                <c:pt idx="8">
                  <c:v>21.230154132492117</c:v>
                </c:pt>
                <c:pt idx="9">
                  <c:v>293.1157457627118</c:v>
                </c:pt>
                <c:pt idx="10">
                  <c:v>22.96144824902724</c:v>
                </c:pt>
                <c:pt idx="11">
                  <c:v>309.92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33</c:v>
                </c:pt>
                <c:pt idx="1">
                  <c:v>Av Price/Unit 57.16</c:v>
                </c:pt>
                <c:pt idx="2">
                  <c:v>Av Price/Unit 37.41</c:v>
                </c:pt>
                <c:pt idx="3">
                  <c:v>Av Price/Unit 79.99</c:v>
                </c:pt>
                <c:pt idx="4">
                  <c:v>Av Price/Unit 25.02</c:v>
                </c:pt>
                <c:pt idx="5">
                  <c:v>Av Price/Unit 93.43</c:v>
                </c:pt>
                <c:pt idx="6">
                  <c:v>Av Price/Unit 37.56</c:v>
                </c:pt>
                <c:pt idx="7">
                  <c:v>Av Price/Unit 36.00</c:v>
                </c:pt>
                <c:pt idx="8">
                  <c:v>Av Price/Unit 47.11</c:v>
                </c:pt>
                <c:pt idx="9">
                  <c:v>Av Price/Unit 547.44</c:v>
                </c:pt>
                <c:pt idx="10">
                  <c:v>Av Price/Unit 51.10</c:v>
                </c:pt>
                <c:pt idx="11">
                  <c:v>Av Price/Unit 601.54</c:v>
                </c:pt>
              </c:strCache>
            </c:strRef>
          </c:cat>
          <c:val>
            <c:numRef>
              <c:f>Sheet1!$D$2:$D$13</c:f>
              <c:numCache>
                <c:formatCode>General</c:formatCode>
                <c:ptCount val="12"/>
                <c:pt idx="0">
                  <c:v>1.4427327919320732</c:v>
                </c:pt>
                <c:pt idx="1">
                  <c:v>0.5482139556549299</c:v>
                </c:pt>
                <c:pt idx="2">
                  <c:v>0.2305111882873767</c:v>
                </c:pt>
                <c:pt idx="3">
                  <c:v>-0.3063819746376737</c:v>
                </c:pt>
                <c:pt idx="4">
                  <c:v>0.014124786866762662</c:v>
                </c:pt>
                <c:pt idx="5">
                  <c:v>1.9514127703935316</c:v>
                </c:pt>
                <c:pt idx="6">
                  <c:v>0.8899872716273372</c:v>
                </c:pt>
                <c:pt idx="7">
                  <c:v>0.8984147345009745</c:v>
                </c:pt>
                <c:pt idx="8">
                  <c:v>1.4581684752891704</c:v>
                </c:pt>
                <c:pt idx="9">
                  <c:v>-1.6560401129943898</c:v>
                </c:pt>
                <c:pt idx="10">
                  <c:v>0.9519483787289289</c:v>
                </c:pt>
                <c:pt idx="11">
                  <c:v>-14.4871948717948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33</c:v>
                </c:pt>
                <c:pt idx="1">
                  <c:v>Av Price/Unit 57.16</c:v>
                </c:pt>
                <c:pt idx="2">
                  <c:v>Av Price/Unit 37.41</c:v>
                </c:pt>
                <c:pt idx="3">
                  <c:v>Av Price/Unit 79.99</c:v>
                </c:pt>
                <c:pt idx="4">
                  <c:v>Av Price/Unit 25.02</c:v>
                </c:pt>
                <c:pt idx="5">
                  <c:v>Av Price/Unit 93.43</c:v>
                </c:pt>
                <c:pt idx="6">
                  <c:v>Av Price/Unit 37.56</c:v>
                </c:pt>
                <c:pt idx="7">
                  <c:v>Av Price/Unit 36.00</c:v>
                </c:pt>
                <c:pt idx="8">
                  <c:v>Av Price/Unit 47.11</c:v>
                </c:pt>
                <c:pt idx="9">
                  <c:v>Av Price/Unit 547.44</c:v>
                </c:pt>
                <c:pt idx="10">
                  <c:v>Av Price/Unit 51.10</c:v>
                </c:pt>
                <c:pt idx="11">
                  <c:v>Av Price/Unit 601.54</c:v>
                </c:pt>
              </c:strCache>
            </c:strRef>
          </c:cat>
          <c:val>
            <c:numRef>
              <c:f>Sheet1!$E$2:$E$13</c:f>
              <c:numCache>
                <c:formatCode>General</c:formatCode>
                <c:ptCount val="12"/>
                <c:pt idx="0">
                  <c:v>14.722239915074304</c:v>
                </c:pt>
                <c:pt idx="1">
                  <c:v>9.527156698341715</c:v>
                </c:pt>
                <c:pt idx="2">
                  <c:v>6.234593122233561</c:v>
                </c:pt>
                <c:pt idx="3">
                  <c:v>13.331974637681157</c:v>
                </c:pt>
                <c:pt idx="4">
                  <c:v>4.169484957373352</c:v>
                </c:pt>
                <c:pt idx="5">
                  <c:v>15.571670575970815</c:v>
                </c:pt>
                <c:pt idx="6">
                  <c:v>6.259588626739264</c:v>
                </c:pt>
                <c:pt idx="7">
                  <c:v>5.999443981095353</c:v>
                </c:pt>
                <c:pt idx="8">
                  <c:v>7.851209253417454</c:v>
                </c:pt>
                <c:pt idx="9">
                  <c:v>91.2401129943503</c:v>
                </c:pt>
                <c:pt idx="10">
                  <c:v>8.516601815823602</c:v>
                </c:pt>
                <c:pt idx="11">
                  <c:v>100.2564102564102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77</c:v>
                </c:pt>
                <c:pt idx="1">
                  <c:v>Av Price/Unit 57.40</c:v>
                </c:pt>
                <c:pt idx="2">
                  <c:v>Av Price/Unit 37.39</c:v>
                </c:pt>
                <c:pt idx="3">
                  <c:v>Av Price/Unit 80.62</c:v>
                </c:pt>
                <c:pt idx="4">
                  <c:v>Av Price/Unit 94.00</c:v>
                </c:pt>
                <c:pt idx="5">
                  <c:v>Av Price/Unit 25.04</c:v>
                </c:pt>
                <c:pt idx="6">
                  <c:v>Av Price/Unit 37.79</c:v>
                </c:pt>
                <c:pt idx="7">
                  <c:v>Av Price/Unit 36.30</c:v>
                </c:pt>
                <c:pt idx="8">
                  <c:v>Av Price/Unit 47.57</c:v>
                </c:pt>
                <c:pt idx="9">
                  <c:v>Av Price/Unit 51.41</c:v>
                </c:pt>
                <c:pt idx="10">
                  <c:v>Av Price/Unit 221.42</c:v>
                </c:pt>
                <c:pt idx="11">
                  <c:v>Av Price/Unit 565.24</c:v>
                </c:pt>
              </c:strCache>
            </c:strRef>
          </c:cat>
          <c:val>
            <c:numRef>
              <c:f>Sheet1!$B$2:$B$13</c:f>
              <c:numCache>
                <c:formatCode>General</c:formatCode>
                <c:ptCount val="12"/>
                <c:pt idx="0">
                  <c:v>29.382221571373996</c:v>
                </c:pt>
                <c:pt idx="1">
                  <c:v>19.74468543352603</c:v>
                </c:pt>
                <c:pt idx="2">
                  <c:v>12.505894969012031</c:v>
                </c:pt>
                <c:pt idx="3">
                  <c:v>26.323458485908255</c:v>
                </c:pt>
                <c:pt idx="4">
                  <c:v>31.27913543502201</c:v>
                </c:pt>
                <c:pt idx="5">
                  <c:v>5.342034748965269</c:v>
                </c:pt>
                <c:pt idx="6">
                  <c:v>13.38503848852041</c:v>
                </c:pt>
                <c:pt idx="7">
                  <c:v>12.542775025035048</c:v>
                </c:pt>
                <c:pt idx="8">
                  <c:v>16.576568175182484</c:v>
                </c:pt>
                <c:pt idx="9">
                  <c:v>18.668437379265935</c:v>
                </c:pt>
                <c:pt idx="10">
                  <c:v>70.87201669865645</c:v>
                </c:pt>
                <c:pt idx="11">
                  <c:v>161.7292784946236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77</c:v>
                </c:pt>
                <c:pt idx="1">
                  <c:v>Av Price/Unit 57.40</c:v>
                </c:pt>
                <c:pt idx="2">
                  <c:v>Av Price/Unit 37.39</c:v>
                </c:pt>
                <c:pt idx="3">
                  <c:v>Av Price/Unit 80.62</c:v>
                </c:pt>
                <c:pt idx="4">
                  <c:v>Av Price/Unit 94.00</c:v>
                </c:pt>
                <c:pt idx="5">
                  <c:v>Av Price/Unit 25.04</c:v>
                </c:pt>
                <c:pt idx="6">
                  <c:v>Av Price/Unit 37.79</c:v>
                </c:pt>
                <c:pt idx="7">
                  <c:v>Av Price/Unit 36.30</c:v>
                </c:pt>
                <c:pt idx="8">
                  <c:v>Av Price/Unit 47.57</c:v>
                </c:pt>
                <c:pt idx="9">
                  <c:v>Av Price/Unit 51.41</c:v>
                </c:pt>
                <c:pt idx="10">
                  <c:v>Av Price/Unit 221.42</c:v>
                </c:pt>
                <c:pt idx="11">
                  <c:v>Av Price/Unit 565.24</c:v>
                </c:pt>
              </c:strCache>
            </c:strRef>
          </c:cat>
          <c:val>
            <c:numRef>
              <c:f>Sheet1!$C$2:$C$13</c:f>
              <c:numCache>
                <c:formatCode>General</c:formatCode>
                <c:ptCount val="12"/>
                <c:pt idx="0">
                  <c:v>42.78747898892145</c:v>
                </c:pt>
                <c:pt idx="1">
                  <c:v>27.35355095953756</c:v>
                </c:pt>
                <c:pt idx="2">
                  <c:v>18.440927488151658</c:v>
                </c:pt>
                <c:pt idx="3">
                  <c:v>40.73905447438799</c:v>
                </c:pt>
                <c:pt idx="4">
                  <c:v>44.655056580396476</c:v>
                </c:pt>
                <c:pt idx="5">
                  <c:v>15.491265251034731</c:v>
                </c:pt>
                <c:pt idx="6">
                  <c:v>17.040333545918372</c:v>
                </c:pt>
                <c:pt idx="7">
                  <c:v>16.56294061686361</c:v>
                </c:pt>
                <c:pt idx="8">
                  <c:v>21.227021518248186</c:v>
                </c:pt>
                <c:pt idx="9">
                  <c:v>22.951855280103032</c:v>
                </c:pt>
                <c:pt idx="10">
                  <c:v>100.76959520153554</c:v>
                </c:pt>
                <c:pt idx="11">
                  <c:v>292.8741827956988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77</c:v>
                </c:pt>
                <c:pt idx="1">
                  <c:v>Av Price/Unit 57.40</c:v>
                </c:pt>
                <c:pt idx="2">
                  <c:v>Av Price/Unit 37.39</c:v>
                </c:pt>
                <c:pt idx="3">
                  <c:v>Av Price/Unit 80.62</c:v>
                </c:pt>
                <c:pt idx="4">
                  <c:v>Av Price/Unit 94.00</c:v>
                </c:pt>
                <c:pt idx="5">
                  <c:v>Av Price/Unit 25.04</c:v>
                </c:pt>
                <c:pt idx="6">
                  <c:v>Av Price/Unit 37.79</c:v>
                </c:pt>
                <c:pt idx="7">
                  <c:v>Av Price/Unit 36.30</c:v>
                </c:pt>
                <c:pt idx="8">
                  <c:v>Av Price/Unit 47.57</c:v>
                </c:pt>
                <c:pt idx="9">
                  <c:v>Av Price/Unit 51.41</c:v>
                </c:pt>
                <c:pt idx="10">
                  <c:v>Av Price/Unit 221.42</c:v>
                </c:pt>
                <c:pt idx="11">
                  <c:v>Av Price/Unit 565.24</c:v>
                </c:pt>
              </c:strCache>
            </c:strRef>
          </c:cat>
          <c:val>
            <c:numRef>
              <c:f>Sheet1!$D$2:$D$13</c:f>
              <c:numCache>
                <c:formatCode>General</c:formatCode>
                <c:ptCount val="12"/>
                <c:pt idx="0">
                  <c:v>1.8088214482788203</c:v>
                </c:pt>
                <c:pt idx="1">
                  <c:v>0.7350969402697558</c:v>
                </c:pt>
                <c:pt idx="2">
                  <c:v>0.21287191639325087</c:v>
                </c:pt>
                <c:pt idx="3">
                  <c:v>0.11781259685936618</c:v>
                </c:pt>
                <c:pt idx="4">
                  <c:v>2.3973727147576938</c:v>
                </c:pt>
                <c:pt idx="5">
                  <c:v>0.031000281926701234</c:v>
                </c:pt>
                <c:pt idx="6">
                  <c:v>1.066576307397984</c:v>
                </c:pt>
                <c:pt idx="7">
                  <c:v>1.1458031510781765</c:v>
                </c:pt>
                <c:pt idx="8">
                  <c:v>1.837772836982964</c:v>
                </c:pt>
                <c:pt idx="9">
                  <c:v>1.225006761107558</c:v>
                </c:pt>
                <c:pt idx="10">
                  <c:v>12.873743186180349</c:v>
                </c:pt>
                <c:pt idx="11">
                  <c:v>16.42700465949843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77</c:v>
                </c:pt>
                <c:pt idx="1">
                  <c:v>Av Price/Unit 57.40</c:v>
                </c:pt>
                <c:pt idx="2">
                  <c:v>Av Price/Unit 37.39</c:v>
                </c:pt>
                <c:pt idx="3">
                  <c:v>Av Price/Unit 80.62</c:v>
                </c:pt>
                <c:pt idx="4">
                  <c:v>Av Price/Unit 94.00</c:v>
                </c:pt>
                <c:pt idx="5">
                  <c:v>Av Price/Unit 25.04</c:v>
                </c:pt>
                <c:pt idx="6">
                  <c:v>Av Price/Unit 37.79</c:v>
                </c:pt>
                <c:pt idx="7">
                  <c:v>Av Price/Unit 36.30</c:v>
                </c:pt>
                <c:pt idx="8">
                  <c:v>Av Price/Unit 47.57</c:v>
                </c:pt>
                <c:pt idx="9">
                  <c:v>Av Price/Unit 51.41</c:v>
                </c:pt>
                <c:pt idx="10">
                  <c:v>Av Price/Unit 221.42</c:v>
                </c:pt>
                <c:pt idx="11">
                  <c:v>Av Price/Unit 565.24</c:v>
                </c:pt>
              </c:strCache>
            </c:strRef>
          </c:cat>
          <c:val>
            <c:numRef>
              <c:f>Sheet1!$E$2:$E$13</c:f>
              <c:numCache>
                <c:formatCode>General</c:formatCode>
                <c:ptCount val="12"/>
                <c:pt idx="0">
                  <c:v>14.795704401714824</c:v>
                </c:pt>
                <c:pt idx="1">
                  <c:v>9.566666666666663</c:v>
                </c:pt>
                <c:pt idx="2">
                  <c:v>6.231938874711379</c:v>
                </c:pt>
                <c:pt idx="3">
                  <c:v>13.43605568127272</c:v>
                </c:pt>
                <c:pt idx="4">
                  <c:v>15.666299559471382</c:v>
                </c:pt>
                <c:pt idx="5">
                  <c:v>4.172860056385342</c:v>
                </c:pt>
                <c:pt idx="6">
                  <c:v>6.298389668367342</c:v>
                </c:pt>
                <c:pt idx="7">
                  <c:v>6.050303758595365</c:v>
                </c:pt>
                <c:pt idx="8">
                  <c:v>7.9282725060827275</c:v>
                </c:pt>
                <c:pt idx="9">
                  <c:v>8.5690598840953</c:v>
                </c:pt>
                <c:pt idx="10">
                  <c:v>36.903071017274414</c:v>
                </c:pt>
                <c:pt idx="11">
                  <c:v>94.2060931899640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7.98</c:v>
                </c:pt>
                <c:pt idx="1">
                  <c:v>Av Price/Unit 56.95</c:v>
                </c:pt>
                <c:pt idx="2">
                  <c:v>Av Price/Unit 37.02</c:v>
                </c:pt>
                <c:pt idx="3">
                  <c:v>Av Price/Unit 92.75</c:v>
                </c:pt>
                <c:pt idx="4">
                  <c:v>Av Price/Unit 79.65</c:v>
                </c:pt>
                <c:pt idx="5">
                  <c:v>Av Price/Unit 24.83</c:v>
                </c:pt>
                <c:pt idx="6">
                  <c:v>Av Price/Unit 37.57</c:v>
                </c:pt>
                <c:pt idx="7">
                  <c:v>Av Price/Unit 36.07</c:v>
                </c:pt>
                <c:pt idx="8">
                  <c:v>Av Price/Unit 50.96</c:v>
                </c:pt>
                <c:pt idx="9">
                  <c:v>Av Price/Unit 47.16</c:v>
                </c:pt>
                <c:pt idx="10">
                  <c:v>Av Price/Unit 217.71</c:v>
                </c:pt>
                <c:pt idx="11">
                  <c:v>Av Price/Unit 33.06</c:v>
                </c:pt>
              </c:strCache>
            </c:strRef>
          </c:cat>
          <c:val>
            <c:numRef>
              <c:f>Sheet1!$B$2:$B$13</c:f>
              <c:numCache>
                <c:formatCode>General</c:formatCode>
                <c:ptCount val="12"/>
                <c:pt idx="0">
                  <c:v>29.38717911899313</c:v>
                </c:pt>
                <c:pt idx="1">
                  <c:v>19.762937824675326</c:v>
                </c:pt>
                <c:pt idx="2">
                  <c:v>12.50696776740847</c:v>
                </c:pt>
                <c:pt idx="3">
                  <c:v>31.39328728246318</c:v>
                </c:pt>
                <c:pt idx="4">
                  <c:v>26.55341407942238</c:v>
                </c:pt>
                <c:pt idx="5">
                  <c:v>5.343593413173653</c:v>
                </c:pt>
                <c:pt idx="6">
                  <c:v>13.397855555555557</c:v>
                </c:pt>
                <c:pt idx="7">
                  <c:v>12.547463022813686</c:v>
                </c:pt>
                <c:pt idx="8">
                  <c:v>18.668776470588234</c:v>
                </c:pt>
                <c:pt idx="9">
                  <c:v>16.610921212121212</c:v>
                </c:pt>
                <c:pt idx="10">
                  <c:v>70.54898571428572</c:v>
                </c:pt>
                <c:pt idx="11">
                  <c:v>11.5113225099601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7.98</c:v>
                </c:pt>
                <c:pt idx="1">
                  <c:v>Av Price/Unit 56.95</c:v>
                </c:pt>
                <c:pt idx="2">
                  <c:v>Av Price/Unit 37.02</c:v>
                </c:pt>
                <c:pt idx="3">
                  <c:v>Av Price/Unit 92.75</c:v>
                </c:pt>
                <c:pt idx="4">
                  <c:v>Av Price/Unit 79.65</c:v>
                </c:pt>
                <c:pt idx="5">
                  <c:v>Av Price/Unit 24.83</c:v>
                </c:pt>
                <c:pt idx="6">
                  <c:v>Av Price/Unit 37.57</c:v>
                </c:pt>
                <c:pt idx="7">
                  <c:v>Av Price/Unit 36.07</c:v>
                </c:pt>
                <c:pt idx="8">
                  <c:v>Av Price/Unit 50.96</c:v>
                </c:pt>
                <c:pt idx="9">
                  <c:v>Av Price/Unit 47.16</c:v>
                </c:pt>
                <c:pt idx="10">
                  <c:v>Av Price/Unit 217.71</c:v>
                </c:pt>
                <c:pt idx="11">
                  <c:v>Av Price/Unit 33.06</c:v>
                </c:pt>
              </c:strCache>
            </c:strRef>
          </c:cat>
          <c:val>
            <c:numRef>
              <c:f>Sheet1!$C$2:$C$13</c:f>
              <c:numCache>
                <c:formatCode>General</c:formatCode>
                <c:ptCount val="12"/>
                <c:pt idx="0">
                  <c:v>42.784600572082375</c:v>
                </c:pt>
                <c:pt idx="1">
                  <c:v>27.349137608225103</c:v>
                </c:pt>
                <c:pt idx="2">
                  <c:v>18.444073438621682</c:v>
                </c:pt>
                <c:pt idx="3">
                  <c:v>44.58158929049533</c:v>
                </c:pt>
                <c:pt idx="4">
                  <c:v>40.73602238267148</c:v>
                </c:pt>
                <c:pt idx="5">
                  <c:v>15.489706586826347</c:v>
                </c:pt>
                <c:pt idx="6">
                  <c:v>17.044431111111113</c:v>
                </c:pt>
                <c:pt idx="7">
                  <c:v>16.56825199619772</c:v>
                </c:pt>
                <c:pt idx="8">
                  <c:v>22.954623529411766</c:v>
                </c:pt>
                <c:pt idx="9">
                  <c:v>21.21485411255411</c:v>
                </c:pt>
                <c:pt idx="10">
                  <c:v>101.00531428571426</c:v>
                </c:pt>
                <c:pt idx="11">
                  <c:v>14.91006513944223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7.98</c:v>
                </c:pt>
                <c:pt idx="1">
                  <c:v>Av Price/Unit 56.95</c:v>
                </c:pt>
                <c:pt idx="2">
                  <c:v>Av Price/Unit 37.02</c:v>
                </c:pt>
                <c:pt idx="3">
                  <c:v>Av Price/Unit 92.75</c:v>
                </c:pt>
                <c:pt idx="4">
                  <c:v>Av Price/Unit 79.65</c:v>
                </c:pt>
                <c:pt idx="5">
                  <c:v>Av Price/Unit 24.83</c:v>
                </c:pt>
                <c:pt idx="6">
                  <c:v>Av Price/Unit 37.57</c:v>
                </c:pt>
                <c:pt idx="7">
                  <c:v>Av Price/Unit 36.07</c:v>
                </c:pt>
                <c:pt idx="8">
                  <c:v>Av Price/Unit 50.96</c:v>
                </c:pt>
                <c:pt idx="9">
                  <c:v>Av Price/Unit 47.16</c:v>
                </c:pt>
                <c:pt idx="10">
                  <c:v>Av Price/Unit 217.71</c:v>
                </c:pt>
                <c:pt idx="11">
                  <c:v>Av Price/Unit 33.06</c:v>
                </c:pt>
              </c:strCache>
            </c:strRef>
          </c:cat>
          <c:val>
            <c:numRef>
              <c:f>Sheet1!$D$2:$D$13</c:f>
              <c:numCache>
                <c:formatCode>General</c:formatCode>
                <c:ptCount val="12"/>
                <c:pt idx="0">
                  <c:v>1.1448679061785043</c:v>
                </c:pt>
                <c:pt idx="1">
                  <c:v>0.349594841269834</c:v>
                </c:pt>
                <c:pt idx="2">
                  <c:v>-0.09916276621201092</c:v>
                </c:pt>
                <c:pt idx="3">
                  <c:v>1.3132370370370268</c:v>
                </c:pt>
                <c:pt idx="4">
                  <c:v>-0.9135396710790076</c:v>
                </c:pt>
                <c:pt idx="5">
                  <c:v>-0.14405349301397052</c:v>
                </c:pt>
                <c:pt idx="6">
                  <c:v>0.862157777777778</c:v>
                </c:pt>
                <c:pt idx="7">
                  <c:v>0.940527059569078</c:v>
                </c:pt>
                <c:pt idx="8">
                  <c:v>0.8404188608776977</c:v>
                </c:pt>
                <c:pt idx="9">
                  <c:v>1.4743689754689768</c:v>
                </c:pt>
                <c:pt idx="10">
                  <c:v>9.874271428571433</c:v>
                </c:pt>
                <c:pt idx="11">
                  <c:v>1.130132735723780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7.98</c:v>
                </c:pt>
                <c:pt idx="1">
                  <c:v>Av Price/Unit 56.95</c:v>
                </c:pt>
                <c:pt idx="2">
                  <c:v>Av Price/Unit 37.02</c:v>
                </c:pt>
                <c:pt idx="3">
                  <c:v>Av Price/Unit 92.75</c:v>
                </c:pt>
                <c:pt idx="4">
                  <c:v>Av Price/Unit 79.65</c:v>
                </c:pt>
                <c:pt idx="5">
                  <c:v>Av Price/Unit 24.83</c:v>
                </c:pt>
                <c:pt idx="6">
                  <c:v>Av Price/Unit 37.57</c:v>
                </c:pt>
                <c:pt idx="7">
                  <c:v>Av Price/Unit 36.07</c:v>
                </c:pt>
                <c:pt idx="8">
                  <c:v>Av Price/Unit 50.96</c:v>
                </c:pt>
                <c:pt idx="9">
                  <c:v>Av Price/Unit 47.16</c:v>
                </c:pt>
                <c:pt idx="10">
                  <c:v>Av Price/Unit 217.71</c:v>
                </c:pt>
                <c:pt idx="11">
                  <c:v>Av Price/Unit 33.06</c:v>
                </c:pt>
              </c:strCache>
            </c:strRef>
          </c:cat>
          <c:val>
            <c:numRef>
              <c:f>Sheet1!$E$2:$E$13</c:f>
              <c:numCache>
                <c:formatCode>General</c:formatCode>
                <c:ptCount val="12"/>
                <c:pt idx="0">
                  <c:v>14.663329519450784</c:v>
                </c:pt>
                <c:pt idx="1">
                  <c:v>9.492334054834052</c:v>
                </c:pt>
                <c:pt idx="2">
                  <c:v>6.170375687963624</c:v>
                </c:pt>
                <c:pt idx="3">
                  <c:v>15.457608210620261</c:v>
                </c:pt>
                <c:pt idx="4">
                  <c:v>13.27517047733654</c:v>
                </c:pt>
                <c:pt idx="5">
                  <c:v>4.137849301397204</c:v>
                </c:pt>
                <c:pt idx="6">
                  <c:v>6.260888888888889</c:v>
                </c:pt>
                <c:pt idx="7">
                  <c:v>6.0112484157160955</c:v>
                </c:pt>
                <c:pt idx="8">
                  <c:v>8.49276377217553</c:v>
                </c:pt>
                <c:pt idx="9">
                  <c:v>7.86002886002886</c:v>
                </c:pt>
                <c:pt idx="10">
                  <c:v>36.285714285714285</c:v>
                </c:pt>
                <c:pt idx="11">
                  <c:v>5.51029216467463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10A28D6-C13C-489A-8954-1720890AF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416F2A7-7403-428C-BEF7-8520BFB04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EC7FC48-15AA-4AC1-98AA-B3B28868D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9F05E0F-CC87-4D03-8BDE-BD9E0C3CA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D0441E0-27B2-4B8F-BCF1-840F7EF10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1B810FD-05C4-45F2-8FFE-7797D5776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F45AB07-5E90-4033-B56E-6E02536B0F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AB74B3E-3C7F-4E4D-A704-ED065C784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1.3308</c:v>
                </c:pt>
                <c:pt idx="1">
                  <c:v>10.9342</c:v>
                </c:pt>
                <c:pt idx="2">
                  <c:v>12.5726</c:v>
                </c:pt>
                <c:pt idx="3">
                  <c:v>10.9592</c:v>
                </c:pt>
                <c:pt idx="4">
                  <c:v>10.8073</c:v>
                </c:pt>
              </c:numCache>
            </c:numRef>
          </c:xVal>
          <c:yVal>
            <c:numRef>
              <c:f>Sheet1!$B$2:$B$6</c:f>
              <c:numCache>
                <c:formatCode>General</c:formatCode>
                <c:ptCount val="5"/>
                <c:pt idx="0">
                  <c:v>0.5221</c:v>
                </c:pt>
                <c:pt idx="1">
                  <c:v>0.517</c:v>
                </c:pt>
                <c:pt idx="2">
                  <c:v>0.4138</c:v>
                </c:pt>
                <c:pt idx="3">
                  <c:v>0.4951</c:v>
                </c:pt>
                <c:pt idx="4">
                  <c:v>0.5006</c:v>
                </c:pt>
              </c:numCache>
            </c:numRef>
          </c:yVal>
          <c:bubbleSize>
            <c:numRef>
              <c:f>Sheet1!$C$2:$C$6</c:f>
              <c:numCache>
                <c:formatCode>General</c:formatCode>
                <c:ptCount val="5"/>
                <c:pt idx="0">
                  <c:v>2177503.0832000007</c:v>
                </c:pt>
                <c:pt idx="1">
                  <c:v>276426.57589999994</c:v>
                </c:pt>
                <c:pt idx="2">
                  <c:v>162437.62350000002</c:v>
                </c:pt>
                <c:pt idx="3">
                  <c:v>225946.38630000013</c:v>
                </c:pt>
                <c:pt idx="4">
                  <c:v>101783.1632000000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087119999999999"/>
          <c:min val="8.6458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128303794143301"/>
        <c:crossBetween val="midCat"/>
      </c:valAx>
      <c:valAx>
        <c:axId val="1011451359"/>
        <c:scaling>
          <c:orientation val="minMax"/>
          <c:max val="0.9865200000000001"/>
          <c:min val="0.09104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31546052416091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03</c:v>
                </c:pt>
                <c:pt idx="1">
                  <c:v>Av Price/Unit 58.04</c:v>
                </c:pt>
                <c:pt idx="2">
                  <c:v>Av Price/Unit 94.87</c:v>
                </c:pt>
                <c:pt idx="3">
                  <c:v>Av Price/Unit 37.27</c:v>
                </c:pt>
                <c:pt idx="4">
                  <c:v>Av Price/Unit 82.23</c:v>
                </c:pt>
                <c:pt idx="5">
                  <c:v>Av Price/Unit 25.23</c:v>
                </c:pt>
                <c:pt idx="6">
                  <c:v>Av Price/Unit 38.50</c:v>
                </c:pt>
                <c:pt idx="7">
                  <c:v>Av Price/Unit 224.74</c:v>
                </c:pt>
                <c:pt idx="8">
                  <c:v>Av Price/Unit 52.77</c:v>
                </c:pt>
                <c:pt idx="9">
                  <c:v>Av Price/Unit 37.44</c:v>
                </c:pt>
                <c:pt idx="10">
                  <c:v>Av Price/Unit 57.63</c:v>
                </c:pt>
                <c:pt idx="11">
                  <c:v>Av Price/Unit 48.95</c:v>
                </c:pt>
              </c:strCache>
            </c:strRef>
          </c:cat>
          <c:val>
            <c:numRef>
              <c:f>Sheet1!$B$2:$B$13</c:f>
              <c:numCache>
                <c:formatCode>General</c:formatCode>
                <c:ptCount val="12"/>
                <c:pt idx="0">
                  <c:v>29.27942224719101</c:v>
                </c:pt>
                <c:pt idx="1">
                  <c:v>19.86165478723404</c:v>
                </c:pt>
                <c:pt idx="2">
                  <c:v>31.27373333333333</c:v>
                </c:pt>
                <c:pt idx="3">
                  <c:v>12.505648603351956</c:v>
                </c:pt>
                <c:pt idx="4">
                  <c:v>26.69890533333333</c:v>
                </c:pt>
                <c:pt idx="5">
                  <c:v>5.366390566037736</c:v>
                </c:pt>
                <c:pt idx="6">
                  <c:v>13.487936694677872</c:v>
                </c:pt>
                <c:pt idx="7">
                  <c:v>71.632668</c:v>
                </c:pt>
                <c:pt idx="8">
                  <c:v>18.666691946308724</c:v>
                </c:pt>
                <c:pt idx="9">
                  <c:v>12.546676303317533</c:v>
                </c:pt>
                <c:pt idx="10">
                  <c:v>18.82441382113821</c:v>
                </c:pt>
                <c:pt idx="11">
                  <c:v>16.6773185185185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03</c:v>
                </c:pt>
                <c:pt idx="1">
                  <c:v>Av Price/Unit 58.04</c:v>
                </c:pt>
                <c:pt idx="2">
                  <c:v>Av Price/Unit 94.87</c:v>
                </c:pt>
                <c:pt idx="3">
                  <c:v>Av Price/Unit 37.27</c:v>
                </c:pt>
                <c:pt idx="4">
                  <c:v>Av Price/Unit 82.23</c:v>
                </c:pt>
                <c:pt idx="5">
                  <c:v>Av Price/Unit 25.23</c:v>
                </c:pt>
                <c:pt idx="6">
                  <c:v>Av Price/Unit 38.50</c:v>
                </c:pt>
                <c:pt idx="7">
                  <c:v>Av Price/Unit 224.74</c:v>
                </c:pt>
                <c:pt idx="8">
                  <c:v>Av Price/Unit 52.77</c:v>
                </c:pt>
                <c:pt idx="9">
                  <c:v>Av Price/Unit 37.44</c:v>
                </c:pt>
                <c:pt idx="10">
                  <c:v>Av Price/Unit 57.63</c:v>
                </c:pt>
                <c:pt idx="11">
                  <c:v>Av Price/Unit 48.95</c:v>
                </c:pt>
              </c:strCache>
            </c:strRef>
          </c:cat>
          <c:val>
            <c:numRef>
              <c:f>Sheet1!$C$2:$C$13</c:f>
              <c:numCache>
                <c:formatCode>General</c:formatCode>
                <c:ptCount val="12"/>
                <c:pt idx="0">
                  <c:v>42.84716561797753</c:v>
                </c:pt>
                <c:pt idx="1">
                  <c:v>27.32526826241134</c:v>
                </c:pt>
                <c:pt idx="2">
                  <c:v>44.65853333333333</c:v>
                </c:pt>
                <c:pt idx="3">
                  <c:v>18.44020502793296</c:v>
                </c:pt>
                <c:pt idx="4">
                  <c:v>40.734104</c:v>
                </c:pt>
                <c:pt idx="5">
                  <c:v>15.466909433962263</c:v>
                </c:pt>
                <c:pt idx="6">
                  <c:v>17.073229691876747</c:v>
                </c:pt>
                <c:pt idx="7">
                  <c:v>100.21454</c:v>
                </c:pt>
                <c:pt idx="8">
                  <c:v>22.937606040268456</c:v>
                </c:pt>
                <c:pt idx="9">
                  <c:v>16.56736066350711</c:v>
                </c:pt>
                <c:pt idx="10">
                  <c:v>26.762951219512196</c:v>
                </c:pt>
                <c:pt idx="11">
                  <c:v>21.19133703703703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03</c:v>
                </c:pt>
                <c:pt idx="1">
                  <c:v>Av Price/Unit 58.04</c:v>
                </c:pt>
                <c:pt idx="2">
                  <c:v>Av Price/Unit 94.87</c:v>
                </c:pt>
                <c:pt idx="3">
                  <c:v>Av Price/Unit 37.27</c:v>
                </c:pt>
                <c:pt idx="4">
                  <c:v>Av Price/Unit 82.23</c:v>
                </c:pt>
                <c:pt idx="5">
                  <c:v>Av Price/Unit 25.23</c:v>
                </c:pt>
                <c:pt idx="6">
                  <c:v>Av Price/Unit 38.50</c:v>
                </c:pt>
                <c:pt idx="7">
                  <c:v>Av Price/Unit 224.74</c:v>
                </c:pt>
                <c:pt idx="8">
                  <c:v>Av Price/Unit 52.77</c:v>
                </c:pt>
                <c:pt idx="9">
                  <c:v>Av Price/Unit 37.44</c:v>
                </c:pt>
                <c:pt idx="10">
                  <c:v>Av Price/Unit 57.63</c:v>
                </c:pt>
                <c:pt idx="11">
                  <c:v>Av Price/Unit 48.95</c:v>
                </c:pt>
              </c:strCache>
            </c:strRef>
          </c:cat>
          <c:val>
            <c:numRef>
              <c:f>Sheet1!$D$2:$D$13</c:f>
              <c:numCache>
                <c:formatCode>General</c:formatCode>
                <c:ptCount val="12"/>
                <c:pt idx="0">
                  <c:v>2.0625507116105126</c:v>
                </c:pt>
                <c:pt idx="1">
                  <c:v>1.1818712765957358</c:v>
                </c:pt>
                <c:pt idx="2">
                  <c:v>3.1233555555555483</c:v>
                </c:pt>
                <c:pt idx="3">
                  <c:v>0.11210726256982895</c:v>
                </c:pt>
                <c:pt idx="4">
                  <c:v>1.092959259259274</c:v>
                </c:pt>
                <c:pt idx="5">
                  <c:v>0.19342955974842724</c:v>
                </c:pt>
                <c:pt idx="6">
                  <c:v>1.520999813258637</c:v>
                </c:pt>
                <c:pt idx="7">
                  <c:v>15.436125333333365</c:v>
                </c:pt>
                <c:pt idx="8">
                  <c:v>2.3666192393736054</c:v>
                </c:pt>
                <c:pt idx="9">
                  <c:v>2.0826454976303346</c:v>
                </c:pt>
                <c:pt idx="10">
                  <c:v>2.441090243902451</c:v>
                </c:pt>
                <c:pt idx="11">
                  <c:v>2.921467901234571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03</c:v>
                </c:pt>
                <c:pt idx="1">
                  <c:v>Av Price/Unit 58.04</c:v>
                </c:pt>
                <c:pt idx="2">
                  <c:v>Av Price/Unit 94.87</c:v>
                </c:pt>
                <c:pt idx="3">
                  <c:v>Av Price/Unit 37.27</c:v>
                </c:pt>
                <c:pt idx="4">
                  <c:v>Av Price/Unit 82.23</c:v>
                </c:pt>
                <c:pt idx="5">
                  <c:v>Av Price/Unit 25.23</c:v>
                </c:pt>
                <c:pt idx="6">
                  <c:v>Av Price/Unit 38.50</c:v>
                </c:pt>
                <c:pt idx="7">
                  <c:v>Av Price/Unit 224.74</c:v>
                </c:pt>
                <c:pt idx="8">
                  <c:v>Av Price/Unit 52.77</c:v>
                </c:pt>
                <c:pt idx="9">
                  <c:v>Av Price/Unit 37.44</c:v>
                </c:pt>
                <c:pt idx="10">
                  <c:v>Av Price/Unit 57.63</c:v>
                </c:pt>
                <c:pt idx="11">
                  <c:v>Av Price/Unit 48.95</c:v>
                </c:pt>
              </c:strCache>
            </c:strRef>
          </c:cat>
          <c:val>
            <c:numRef>
              <c:f>Sheet1!$E$2:$E$13</c:f>
              <c:numCache>
                <c:formatCode>General</c:formatCode>
                <c:ptCount val="12"/>
                <c:pt idx="0">
                  <c:v>14.837827715355795</c:v>
                </c:pt>
                <c:pt idx="1">
                  <c:v>9.673758865248226</c:v>
                </c:pt>
                <c:pt idx="2">
                  <c:v>15.811111111111115</c:v>
                </c:pt>
                <c:pt idx="3">
                  <c:v>6.21159217877095</c:v>
                </c:pt>
                <c:pt idx="4">
                  <c:v>13.705185185185174</c:v>
                </c:pt>
                <c:pt idx="5">
                  <c:v>4.205345911949683</c:v>
                </c:pt>
                <c:pt idx="6">
                  <c:v>6.41643323996265</c:v>
                </c:pt>
                <c:pt idx="7">
                  <c:v>37.45666666666664</c:v>
                </c:pt>
                <c:pt idx="8">
                  <c:v>8.794183445190155</c:v>
                </c:pt>
                <c:pt idx="9">
                  <c:v>6.239336492890995</c:v>
                </c:pt>
                <c:pt idx="10">
                  <c:v>9.605691056910562</c:v>
                </c:pt>
                <c:pt idx="11">
                  <c:v>8.15802469135802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36</c:v>
                </c:pt>
                <c:pt idx="1">
                  <c:v>Av Price/Unit 57.06</c:v>
                </c:pt>
                <c:pt idx="2">
                  <c:v>Av Price/Unit 37.29</c:v>
                </c:pt>
                <c:pt idx="3">
                  <c:v>Av Price/Unit 79.79</c:v>
                </c:pt>
                <c:pt idx="4">
                  <c:v>Av Price/Unit 92.86</c:v>
                </c:pt>
                <c:pt idx="5">
                  <c:v>Av Price/Unit 25.02</c:v>
                </c:pt>
                <c:pt idx="6">
                  <c:v>Av Price/Unit 37.46</c:v>
                </c:pt>
                <c:pt idx="7">
                  <c:v>Av Price/Unit 36.01</c:v>
                </c:pt>
                <c:pt idx="8">
                  <c:v>Av Price/Unit 46.96</c:v>
                </c:pt>
                <c:pt idx="9">
                  <c:v>Av Price/Unit 50.99</c:v>
                </c:pt>
                <c:pt idx="10">
                  <c:v>Av Price/Unit 561.09</c:v>
                </c:pt>
                <c:pt idx="11">
                  <c:v>Av Price/Unit 615.21</c:v>
                </c:pt>
              </c:strCache>
            </c:strRef>
          </c:cat>
          <c:val>
            <c:numRef>
              <c:f>Sheet1!$B$2:$B$13</c:f>
              <c:numCache>
                <c:formatCode>General</c:formatCode>
                <c:ptCount val="12"/>
                <c:pt idx="0">
                  <c:v>29.31591924302042</c:v>
                </c:pt>
                <c:pt idx="1">
                  <c:v>19.71560707594513</c:v>
                </c:pt>
                <c:pt idx="2">
                  <c:v>12.504364041231664</c:v>
                </c:pt>
                <c:pt idx="3">
                  <c:v>26.12166888331242</c:v>
                </c:pt>
                <c:pt idx="4">
                  <c:v>31.24893331960461</c:v>
                </c:pt>
                <c:pt idx="5">
                  <c:v>5.332121458983821</c:v>
                </c:pt>
                <c:pt idx="6">
                  <c:v>13.368803594322346</c:v>
                </c:pt>
                <c:pt idx="7">
                  <c:v>12.540327814569537</c:v>
                </c:pt>
                <c:pt idx="8">
                  <c:v>16.539379101972305</c:v>
                </c:pt>
                <c:pt idx="9">
                  <c:v>18.669381576354677</c:v>
                </c:pt>
                <c:pt idx="10">
                  <c:v>165.18215714285714</c:v>
                </c:pt>
                <c:pt idx="11">
                  <c:v>205.85490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36</c:v>
                </c:pt>
                <c:pt idx="1">
                  <c:v>Av Price/Unit 57.06</c:v>
                </c:pt>
                <c:pt idx="2">
                  <c:v>Av Price/Unit 37.29</c:v>
                </c:pt>
                <c:pt idx="3">
                  <c:v>Av Price/Unit 79.79</c:v>
                </c:pt>
                <c:pt idx="4">
                  <c:v>Av Price/Unit 92.86</c:v>
                </c:pt>
                <c:pt idx="5">
                  <c:v>Av Price/Unit 25.02</c:v>
                </c:pt>
                <c:pt idx="6">
                  <c:v>Av Price/Unit 37.46</c:v>
                </c:pt>
                <c:pt idx="7">
                  <c:v>Av Price/Unit 36.01</c:v>
                </c:pt>
                <c:pt idx="8">
                  <c:v>Av Price/Unit 46.96</c:v>
                </c:pt>
                <c:pt idx="9">
                  <c:v>Av Price/Unit 50.99</c:v>
                </c:pt>
                <c:pt idx="10">
                  <c:v>Av Price/Unit 561.09</c:v>
                </c:pt>
                <c:pt idx="11">
                  <c:v>Av Price/Unit 615.21</c:v>
                </c:pt>
              </c:strCache>
            </c:strRef>
          </c:cat>
          <c:val>
            <c:numRef>
              <c:f>Sheet1!$C$2:$C$13</c:f>
              <c:numCache>
                <c:formatCode>General</c:formatCode>
                <c:ptCount val="12"/>
                <c:pt idx="0">
                  <c:v>42.82597498594717</c:v>
                </c:pt>
                <c:pt idx="1">
                  <c:v>27.360581983941113</c:v>
                </c:pt>
                <c:pt idx="2">
                  <c:v>18.43643808642791</c:v>
                </c:pt>
                <c:pt idx="3">
                  <c:v>40.74171518193225</c:v>
                </c:pt>
                <c:pt idx="4">
                  <c:v>44.67449443986821</c:v>
                </c:pt>
                <c:pt idx="5">
                  <c:v>15.50117854101618</c:v>
                </c:pt>
                <c:pt idx="6">
                  <c:v>17.035143315018313</c:v>
                </c:pt>
                <c:pt idx="7">
                  <c:v>16.56016799116998</c:v>
                </c:pt>
                <c:pt idx="8">
                  <c:v>21.24019341166597</c:v>
                </c:pt>
                <c:pt idx="9">
                  <c:v>22.95956344827586</c:v>
                </c:pt>
                <c:pt idx="10">
                  <c:v>293.1511428571429</c:v>
                </c:pt>
                <c:pt idx="11">
                  <c:v>309.871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36</c:v>
                </c:pt>
                <c:pt idx="1">
                  <c:v>Av Price/Unit 57.06</c:v>
                </c:pt>
                <c:pt idx="2">
                  <c:v>Av Price/Unit 37.29</c:v>
                </c:pt>
                <c:pt idx="3">
                  <c:v>Av Price/Unit 79.79</c:v>
                </c:pt>
                <c:pt idx="4">
                  <c:v>Av Price/Unit 92.86</c:v>
                </c:pt>
                <c:pt idx="5">
                  <c:v>Av Price/Unit 25.02</c:v>
                </c:pt>
                <c:pt idx="6">
                  <c:v>Av Price/Unit 37.46</c:v>
                </c:pt>
                <c:pt idx="7">
                  <c:v>Av Price/Unit 36.01</c:v>
                </c:pt>
                <c:pt idx="8">
                  <c:v>Av Price/Unit 46.96</c:v>
                </c:pt>
                <c:pt idx="9">
                  <c:v>Av Price/Unit 50.99</c:v>
                </c:pt>
                <c:pt idx="10">
                  <c:v>Av Price/Unit 561.09</c:v>
                </c:pt>
                <c:pt idx="11">
                  <c:v>Av Price/Unit 615.21</c:v>
                </c:pt>
              </c:strCache>
            </c:strRef>
          </c:cat>
          <c:val>
            <c:numRef>
              <c:f>Sheet1!$D$2:$D$13</c:f>
              <c:numCache>
                <c:formatCode>General</c:formatCode>
                <c:ptCount val="12"/>
                <c:pt idx="0">
                  <c:v>1.4945119917556866</c:v>
                </c:pt>
                <c:pt idx="1">
                  <c:v>0.4706493476078961</c:v>
                </c:pt>
                <c:pt idx="2">
                  <c:v>0.13271886260516297</c:v>
                </c:pt>
                <c:pt idx="3">
                  <c:v>-0.3738949393559068</c:v>
                </c:pt>
                <c:pt idx="4">
                  <c:v>1.463032523338839</c:v>
                </c:pt>
                <c:pt idx="5">
                  <c:v>0.017064272873501096</c:v>
                </c:pt>
                <c:pt idx="6">
                  <c:v>0.8164819673382269</c:v>
                </c:pt>
                <c:pt idx="7">
                  <c:v>0.9070924944812333</c:v>
                </c:pt>
                <c:pt idx="8">
                  <c:v>1.356670317526934</c:v>
                </c:pt>
                <c:pt idx="9">
                  <c:v>0.8657183579638712</c:v>
                </c:pt>
                <c:pt idx="10">
                  <c:v>9.244339751552843</c:v>
                </c:pt>
                <c:pt idx="11">
                  <c:v>-3.05358595238101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36</c:v>
                </c:pt>
                <c:pt idx="1">
                  <c:v>Av Price/Unit 57.06</c:v>
                </c:pt>
                <c:pt idx="2">
                  <c:v>Av Price/Unit 37.29</c:v>
                </c:pt>
                <c:pt idx="3">
                  <c:v>Av Price/Unit 79.79</c:v>
                </c:pt>
                <c:pt idx="4">
                  <c:v>Av Price/Unit 92.86</c:v>
                </c:pt>
                <c:pt idx="5">
                  <c:v>Av Price/Unit 25.02</c:v>
                </c:pt>
                <c:pt idx="6">
                  <c:v>Av Price/Unit 37.46</c:v>
                </c:pt>
                <c:pt idx="7">
                  <c:v>Av Price/Unit 36.01</c:v>
                </c:pt>
                <c:pt idx="8">
                  <c:v>Av Price/Unit 46.96</c:v>
                </c:pt>
                <c:pt idx="9">
                  <c:v>Av Price/Unit 50.99</c:v>
                </c:pt>
                <c:pt idx="10">
                  <c:v>Av Price/Unit 561.09</c:v>
                </c:pt>
                <c:pt idx="11">
                  <c:v>Av Price/Unit 615.21</c:v>
                </c:pt>
              </c:strCache>
            </c:strRef>
          </c:cat>
          <c:val>
            <c:numRef>
              <c:f>Sheet1!$E$2:$E$13</c:f>
              <c:numCache>
                <c:formatCode>General</c:formatCode>
                <c:ptCount val="12"/>
                <c:pt idx="0">
                  <c:v>14.72728124414464</c:v>
                </c:pt>
                <c:pt idx="1">
                  <c:v>9.50936768149882</c:v>
                </c:pt>
                <c:pt idx="2">
                  <c:v>6.214704198052952</c:v>
                </c:pt>
                <c:pt idx="3">
                  <c:v>13.297887913007099</c:v>
                </c:pt>
                <c:pt idx="4">
                  <c:v>15.477278967600212</c:v>
                </c:pt>
                <c:pt idx="5">
                  <c:v>4.170072854574697</c:v>
                </c:pt>
                <c:pt idx="6">
                  <c:v>6.2440857753357735</c:v>
                </c:pt>
                <c:pt idx="7">
                  <c:v>6.00151766004415</c:v>
                </c:pt>
                <c:pt idx="8">
                  <c:v>7.827248566233031</c:v>
                </c:pt>
                <c:pt idx="9">
                  <c:v>8.498932676518882</c:v>
                </c:pt>
                <c:pt idx="10">
                  <c:v>93.51552795031047</c:v>
                </c:pt>
                <c:pt idx="11">
                  <c:v>102.5345238095237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29</c:v>
                </c:pt>
                <c:pt idx="1">
                  <c:v>Av Price/Unit 81.11</c:v>
                </c:pt>
                <c:pt idx="2">
                  <c:v>Av Price/Unit 57.90</c:v>
                </c:pt>
                <c:pt idx="3">
                  <c:v>Av Price/Unit 37.22</c:v>
                </c:pt>
                <c:pt idx="4">
                  <c:v>Av Price/Unit 95.14</c:v>
                </c:pt>
                <c:pt idx="5">
                  <c:v>Av Price/Unit 25.07</c:v>
                </c:pt>
                <c:pt idx="6">
                  <c:v>Av Price/Unit 37.95</c:v>
                </c:pt>
                <c:pt idx="7">
                  <c:v>Av Price/Unit 50.93</c:v>
                </c:pt>
                <c:pt idx="8">
                  <c:v>Av Price/Unit 222.72</c:v>
                </c:pt>
                <c:pt idx="9">
                  <c:v>Av Price/Unit 48.06</c:v>
                </c:pt>
                <c:pt idx="10">
                  <c:v>Av Price/Unit 36.98</c:v>
                </c:pt>
                <c:pt idx="11">
                  <c:v>Av Price/Unit 82.78</c:v>
                </c:pt>
              </c:strCache>
            </c:strRef>
          </c:cat>
          <c:val>
            <c:numRef>
              <c:f>Sheet1!$B$2:$B$13</c:f>
              <c:numCache>
                <c:formatCode>General</c:formatCode>
                <c:ptCount val="12"/>
                <c:pt idx="0">
                  <c:v>29.481266824196595</c:v>
                </c:pt>
                <c:pt idx="1">
                  <c:v>26.485150129198967</c:v>
                </c:pt>
                <c:pt idx="2">
                  <c:v>19.780717381228268</c:v>
                </c:pt>
                <c:pt idx="3">
                  <c:v>12.508559948320412</c:v>
                </c:pt>
                <c:pt idx="4">
                  <c:v>31.351013577586205</c:v>
                </c:pt>
                <c:pt idx="5">
                  <c:v>5.3686472563472565</c:v>
                </c:pt>
                <c:pt idx="6">
                  <c:v>13.417440710823909</c:v>
                </c:pt>
                <c:pt idx="7">
                  <c:v>18.665062116991646</c:v>
                </c:pt>
                <c:pt idx="8">
                  <c:v>71.709292</c:v>
                </c:pt>
                <c:pt idx="9">
                  <c:v>16.664477902621723</c:v>
                </c:pt>
                <c:pt idx="10">
                  <c:v>12.546864350453172</c:v>
                </c:pt>
                <c:pt idx="11">
                  <c:v>27.05970078740157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29</c:v>
                </c:pt>
                <c:pt idx="1">
                  <c:v>Av Price/Unit 81.11</c:v>
                </c:pt>
                <c:pt idx="2">
                  <c:v>Av Price/Unit 57.90</c:v>
                </c:pt>
                <c:pt idx="3">
                  <c:v>Av Price/Unit 37.22</c:v>
                </c:pt>
                <c:pt idx="4">
                  <c:v>Av Price/Unit 95.14</c:v>
                </c:pt>
                <c:pt idx="5">
                  <c:v>Av Price/Unit 25.07</c:v>
                </c:pt>
                <c:pt idx="6">
                  <c:v>Av Price/Unit 37.95</c:v>
                </c:pt>
                <c:pt idx="7">
                  <c:v>Av Price/Unit 50.93</c:v>
                </c:pt>
                <c:pt idx="8">
                  <c:v>Av Price/Unit 222.72</c:v>
                </c:pt>
                <c:pt idx="9">
                  <c:v>Av Price/Unit 48.06</c:v>
                </c:pt>
                <c:pt idx="10">
                  <c:v>Av Price/Unit 36.98</c:v>
                </c:pt>
                <c:pt idx="11">
                  <c:v>Av Price/Unit 82.78</c:v>
                </c:pt>
              </c:strCache>
            </c:strRef>
          </c:cat>
          <c:val>
            <c:numRef>
              <c:f>Sheet1!$C$2:$C$13</c:f>
              <c:numCache>
                <c:formatCode>General</c:formatCode>
                <c:ptCount val="12"/>
                <c:pt idx="0">
                  <c:v>42.72997202268431</c:v>
                </c:pt>
                <c:pt idx="1">
                  <c:v>40.73692248062016</c:v>
                </c:pt>
                <c:pt idx="2">
                  <c:v>27.34483858632677</c:v>
                </c:pt>
                <c:pt idx="3">
                  <c:v>18.44874246339363</c:v>
                </c:pt>
                <c:pt idx="4">
                  <c:v>44.6087963362069</c:v>
                </c:pt>
                <c:pt idx="5">
                  <c:v>15.464652743652744</c:v>
                </c:pt>
                <c:pt idx="6">
                  <c:v>17.05069240710824</c:v>
                </c:pt>
                <c:pt idx="7">
                  <c:v>22.924300557103066</c:v>
                </c:pt>
                <c:pt idx="8">
                  <c:v>100.15862666666666</c:v>
                </c:pt>
                <c:pt idx="9">
                  <c:v>21.19588501872659</c:v>
                </c:pt>
                <c:pt idx="10">
                  <c:v>16.567573716012085</c:v>
                </c:pt>
                <c:pt idx="11">
                  <c:v>38.43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29</c:v>
                </c:pt>
                <c:pt idx="1">
                  <c:v>Av Price/Unit 81.11</c:v>
                </c:pt>
                <c:pt idx="2">
                  <c:v>Av Price/Unit 57.90</c:v>
                </c:pt>
                <c:pt idx="3">
                  <c:v>Av Price/Unit 37.22</c:v>
                </c:pt>
                <c:pt idx="4">
                  <c:v>Av Price/Unit 95.14</c:v>
                </c:pt>
                <c:pt idx="5">
                  <c:v>Av Price/Unit 25.07</c:v>
                </c:pt>
                <c:pt idx="6">
                  <c:v>Av Price/Unit 37.95</c:v>
                </c:pt>
                <c:pt idx="7">
                  <c:v>Av Price/Unit 50.93</c:v>
                </c:pt>
                <c:pt idx="8">
                  <c:v>Av Price/Unit 222.72</c:v>
                </c:pt>
                <c:pt idx="9">
                  <c:v>Av Price/Unit 48.06</c:v>
                </c:pt>
                <c:pt idx="10">
                  <c:v>Av Price/Unit 36.98</c:v>
                </c:pt>
                <c:pt idx="11">
                  <c:v>Av Price/Unit 82.78</c:v>
                </c:pt>
              </c:strCache>
            </c:strRef>
          </c:cat>
          <c:val>
            <c:numRef>
              <c:f>Sheet1!$D$2:$D$13</c:f>
              <c:numCache>
                <c:formatCode>General</c:formatCode>
                <c:ptCount val="12"/>
                <c:pt idx="0">
                  <c:v>2.200386862003782</c:v>
                </c:pt>
                <c:pt idx="1">
                  <c:v>0.37164186046511816</c:v>
                </c:pt>
                <c:pt idx="2">
                  <c:v>1.124733719582835</c:v>
                </c:pt>
                <c:pt idx="3">
                  <c:v>0.06121610680448342</c:v>
                </c:pt>
                <c:pt idx="4">
                  <c:v>3.320073778735619</c:v>
                </c:pt>
                <c:pt idx="5">
                  <c:v>0.060775894075895565</c:v>
                </c:pt>
                <c:pt idx="6">
                  <c:v>1.1541070543887955</c:v>
                </c:pt>
                <c:pt idx="7">
                  <c:v>0.8549270194986107</c:v>
                </c:pt>
                <c:pt idx="8">
                  <c:v>13.732081333333383</c:v>
                </c:pt>
                <c:pt idx="9">
                  <c:v>2.1864535580524347</c:v>
                </c:pt>
                <c:pt idx="10">
                  <c:v>1.698754279959715</c:v>
                </c:pt>
                <c:pt idx="11">
                  <c:v>3.48423884514436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29</c:v>
                </c:pt>
                <c:pt idx="1">
                  <c:v>Av Price/Unit 81.11</c:v>
                </c:pt>
                <c:pt idx="2">
                  <c:v>Av Price/Unit 57.90</c:v>
                </c:pt>
                <c:pt idx="3">
                  <c:v>Av Price/Unit 37.22</c:v>
                </c:pt>
                <c:pt idx="4">
                  <c:v>Av Price/Unit 95.14</c:v>
                </c:pt>
                <c:pt idx="5">
                  <c:v>Av Price/Unit 25.07</c:v>
                </c:pt>
                <c:pt idx="6">
                  <c:v>Av Price/Unit 37.95</c:v>
                </c:pt>
                <c:pt idx="7">
                  <c:v>Av Price/Unit 50.93</c:v>
                </c:pt>
                <c:pt idx="8">
                  <c:v>Av Price/Unit 222.72</c:v>
                </c:pt>
                <c:pt idx="9">
                  <c:v>Av Price/Unit 48.06</c:v>
                </c:pt>
                <c:pt idx="10">
                  <c:v>Av Price/Unit 36.98</c:v>
                </c:pt>
                <c:pt idx="11">
                  <c:v>Av Price/Unit 82.78</c:v>
                </c:pt>
              </c:strCache>
            </c:strRef>
          </c:cat>
          <c:val>
            <c:numRef>
              <c:f>Sheet1!$E$2:$E$13</c:f>
              <c:numCache>
                <c:formatCode>General</c:formatCode>
                <c:ptCount val="12"/>
                <c:pt idx="0">
                  <c:v>14.882325141776938</c:v>
                </c:pt>
                <c:pt idx="1">
                  <c:v>13.518733850129198</c:v>
                </c:pt>
                <c:pt idx="2">
                  <c:v>9.650057937427587</c:v>
                </c:pt>
                <c:pt idx="3">
                  <c:v>6.203703703703703</c:v>
                </c:pt>
                <c:pt idx="4">
                  <c:v>15.855962643678172</c:v>
                </c:pt>
                <c:pt idx="5">
                  <c:v>4.178815178815175</c:v>
                </c:pt>
                <c:pt idx="6">
                  <c:v>6.324448034464194</c:v>
                </c:pt>
                <c:pt idx="7">
                  <c:v>8.488857938718663</c:v>
                </c:pt>
                <c:pt idx="8">
                  <c:v>37.119999999999955</c:v>
                </c:pt>
                <c:pt idx="9">
                  <c:v>8.00936329588015</c:v>
                </c:pt>
                <c:pt idx="10">
                  <c:v>6.162638469284997</c:v>
                </c:pt>
                <c:pt idx="11">
                  <c:v>13.79658792650918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51</c:v>
                </c:pt>
                <c:pt idx="1">
                  <c:v>Av Price/Unit 57.99</c:v>
                </c:pt>
                <c:pt idx="2">
                  <c:v>Av Price/Unit 93.95</c:v>
                </c:pt>
                <c:pt idx="3">
                  <c:v>Av Price/Unit 81.42</c:v>
                </c:pt>
                <c:pt idx="4">
                  <c:v>Av Price/Unit 37.59</c:v>
                </c:pt>
                <c:pt idx="5">
                  <c:v>Av Price/Unit 25.17</c:v>
                </c:pt>
                <c:pt idx="6">
                  <c:v>Av Price/Unit 38.34</c:v>
                </c:pt>
                <c:pt idx="7">
                  <c:v>Av Price/Unit 49.04</c:v>
                </c:pt>
                <c:pt idx="8">
                  <c:v>Av Price/Unit 220.47</c:v>
                </c:pt>
                <c:pt idx="9">
                  <c:v>Av Price/Unit 51.88</c:v>
                </c:pt>
                <c:pt idx="10">
                  <c:v>Av Price/Unit 37.16</c:v>
                </c:pt>
                <c:pt idx="11">
                  <c:v>Av Price/Unit 57.48</c:v>
                </c:pt>
              </c:strCache>
            </c:strRef>
          </c:cat>
          <c:val>
            <c:numRef>
              <c:f>Sheet1!$B$2:$B$13</c:f>
              <c:numCache>
                <c:formatCode>General</c:formatCode>
                <c:ptCount val="12"/>
                <c:pt idx="0">
                  <c:v>29.424747150259062</c:v>
                </c:pt>
                <c:pt idx="1">
                  <c:v>19.801856084656084</c:v>
                </c:pt>
                <c:pt idx="2">
                  <c:v>31.29714394463668</c:v>
                </c:pt>
                <c:pt idx="3">
                  <c:v>26.89058452830189</c:v>
                </c:pt>
                <c:pt idx="4">
                  <c:v>12.511587452471485</c:v>
                </c:pt>
                <c:pt idx="5">
                  <c:v>5.361568328445747</c:v>
                </c:pt>
                <c:pt idx="6">
                  <c:v>13.458397940503433</c:v>
                </c:pt>
                <c:pt idx="7">
                  <c:v>16.534844692737433</c:v>
                </c:pt>
                <c:pt idx="8">
                  <c:v>70.44096315789474</c:v>
                </c:pt>
                <c:pt idx="9">
                  <c:v>18.666770512820513</c:v>
                </c:pt>
                <c:pt idx="10">
                  <c:v>12.550090186915886</c:v>
                </c:pt>
                <c:pt idx="11">
                  <c:v>19.0584271929824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51</c:v>
                </c:pt>
                <c:pt idx="1">
                  <c:v>Av Price/Unit 57.99</c:v>
                </c:pt>
                <c:pt idx="2">
                  <c:v>Av Price/Unit 93.95</c:v>
                </c:pt>
                <c:pt idx="3">
                  <c:v>Av Price/Unit 81.42</c:v>
                </c:pt>
                <c:pt idx="4">
                  <c:v>Av Price/Unit 37.59</c:v>
                </c:pt>
                <c:pt idx="5">
                  <c:v>Av Price/Unit 25.17</c:v>
                </c:pt>
                <c:pt idx="6">
                  <c:v>Av Price/Unit 38.34</c:v>
                </c:pt>
                <c:pt idx="7">
                  <c:v>Av Price/Unit 49.04</c:v>
                </c:pt>
                <c:pt idx="8">
                  <c:v>Av Price/Unit 220.47</c:v>
                </c:pt>
                <c:pt idx="9">
                  <c:v>Av Price/Unit 51.88</c:v>
                </c:pt>
                <c:pt idx="10">
                  <c:v>Av Price/Unit 37.16</c:v>
                </c:pt>
                <c:pt idx="11">
                  <c:v>Av Price/Unit 57.48</c:v>
                </c:pt>
              </c:strCache>
            </c:strRef>
          </c:cat>
          <c:val>
            <c:numRef>
              <c:f>Sheet1!$C$2:$C$13</c:f>
              <c:numCache>
                <c:formatCode>General</c:formatCode>
                <c:ptCount val="12"/>
                <c:pt idx="0">
                  <c:v>42.76278808290156</c:v>
                </c:pt>
                <c:pt idx="1">
                  <c:v>27.339727336860673</c:v>
                </c:pt>
                <c:pt idx="2">
                  <c:v>44.643466435986156</c:v>
                </c:pt>
                <c:pt idx="3">
                  <c:v>40.731576603773576</c:v>
                </c:pt>
                <c:pt idx="4">
                  <c:v>18.457620532319392</c:v>
                </c:pt>
                <c:pt idx="5">
                  <c:v>15.471731671554252</c:v>
                </c:pt>
                <c:pt idx="6">
                  <c:v>17.06378627002288</c:v>
                </c:pt>
                <c:pt idx="7">
                  <c:v>21.241799441340778</c:v>
                </c:pt>
                <c:pt idx="8">
                  <c:v>101.0841394736842</c:v>
                </c:pt>
                <c:pt idx="9">
                  <c:v>22.938247435897434</c:v>
                </c:pt>
                <c:pt idx="10">
                  <c:v>16.571228504672895</c:v>
                </c:pt>
                <c:pt idx="11">
                  <c:v>26.79680263157895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51</c:v>
                </c:pt>
                <c:pt idx="1">
                  <c:v>Av Price/Unit 57.99</c:v>
                </c:pt>
                <c:pt idx="2">
                  <c:v>Av Price/Unit 93.95</c:v>
                </c:pt>
                <c:pt idx="3">
                  <c:v>Av Price/Unit 81.42</c:v>
                </c:pt>
                <c:pt idx="4">
                  <c:v>Av Price/Unit 37.59</c:v>
                </c:pt>
                <c:pt idx="5">
                  <c:v>Av Price/Unit 25.17</c:v>
                </c:pt>
                <c:pt idx="6">
                  <c:v>Av Price/Unit 38.34</c:v>
                </c:pt>
                <c:pt idx="7">
                  <c:v>Av Price/Unit 49.04</c:v>
                </c:pt>
                <c:pt idx="8">
                  <c:v>Av Price/Unit 220.47</c:v>
                </c:pt>
                <c:pt idx="9">
                  <c:v>Av Price/Unit 51.88</c:v>
                </c:pt>
                <c:pt idx="10">
                  <c:v>Av Price/Unit 37.16</c:v>
                </c:pt>
                <c:pt idx="11">
                  <c:v>Av Price/Unit 57.48</c:v>
                </c:pt>
              </c:strCache>
            </c:strRef>
          </c:cat>
          <c:val>
            <c:numRef>
              <c:f>Sheet1!$D$2:$D$13</c:f>
              <c:numCache>
                <c:formatCode>General</c:formatCode>
                <c:ptCount val="12"/>
                <c:pt idx="0">
                  <c:v>1.5667825561312725</c:v>
                </c:pt>
                <c:pt idx="1">
                  <c:v>1.1844012933568422</c:v>
                </c:pt>
                <c:pt idx="2">
                  <c:v>2.349538177623998</c:v>
                </c:pt>
                <c:pt idx="3">
                  <c:v>0.22379119496855537</c:v>
                </c:pt>
                <c:pt idx="4">
                  <c:v>0.3552533586818747</c:v>
                </c:pt>
                <c:pt idx="5">
                  <c:v>0.1429952101661769</c:v>
                </c:pt>
                <c:pt idx="6">
                  <c:v>1.428616704805492</c:v>
                </c:pt>
                <c:pt idx="7">
                  <c:v>3.093933147113596</c:v>
                </c:pt>
                <c:pt idx="8">
                  <c:v>12.202967543859643</c:v>
                </c:pt>
                <c:pt idx="9">
                  <c:v>1.6268196581196577</c:v>
                </c:pt>
                <c:pt idx="10">
                  <c:v>1.8483074766355152</c:v>
                </c:pt>
                <c:pt idx="11">
                  <c:v>2.0468169590643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51</c:v>
                </c:pt>
                <c:pt idx="1">
                  <c:v>Av Price/Unit 57.99</c:v>
                </c:pt>
                <c:pt idx="2">
                  <c:v>Av Price/Unit 93.95</c:v>
                </c:pt>
                <c:pt idx="3">
                  <c:v>Av Price/Unit 81.42</c:v>
                </c:pt>
                <c:pt idx="4">
                  <c:v>Av Price/Unit 37.59</c:v>
                </c:pt>
                <c:pt idx="5">
                  <c:v>Av Price/Unit 25.17</c:v>
                </c:pt>
                <c:pt idx="6">
                  <c:v>Av Price/Unit 38.34</c:v>
                </c:pt>
                <c:pt idx="7">
                  <c:v>Av Price/Unit 49.04</c:v>
                </c:pt>
                <c:pt idx="8">
                  <c:v>Av Price/Unit 220.47</c:v>
                </c:pt>
                <c:pt idx="9">
                  <c:v>Av Price/Unit 51.88</c:v>
                </c:pt>
                <c:pt idx="10">
                  <c:v>Av Price/Unit 37.16</c:v>
                </c:pt>
                <c:pt idx="11">
                  <c:v>Av Price/Unit 57.48</c:v>
                </c:pt>
              </c:strCache>
            </c:strRef>
          </c:cat>
          <c:val>
            <c:numRef>
              <c:f>Sheet1!$E$2:$E$13</c:f>
              <c:numCache>
                <c:formatCode>General</c:formatCode>
                <c:ptCount val="12"/>
                <c:pt idx="0">
                  <c:v>14.750863557858374</c:v>
                </c:pt>
                <c:pt idx="1">
                  <c:v>9.665196942974722</c:v>
                </c:pt>
                <c:pt idx="2">
                  <c:v>15.658016147635529</c:v>
                </c:pt>
                <c:pt idx="3">
                  <c:v>13.569182389937103</c:v>
                </c:pt>
                <c:pt idx="4">
                  <c:v>6.264892268694548</c:v>
                </c:pt>
                <c:pt idx="5">
                  <c:v>4.195259042033232</c:v>
                </c:pt>
                <c:pt idx="6">
                  <c:v>6.390160183066362</c:v>
                </c:pt>
                <c:pt idx="7">
                  <c:v>8.174115456238363</c:v>
                </c:pt>
                <c:pt idx="8">
                  <c:v>36.74561403508771</c:v>
                </c:pt>
                <c:pt idx="9">
                  <c:v>8.646367521367514</c:v>
                </c:pt>
                <c:pt idx="10">
                  <c:v>6.19392523364486</c:v>
                </c:pt>
                <c:pt idx="11">
                  <c:v>9.58040935672514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08</c:v>
                </c:pt>
                <c:pt idx="1">
                  <c:v>Av Price/Unit 57.65</c:v>
                </c:pt>
                <c:pt idx="2">
                  <c:v>Av Price/Unit 38.16</c:v>
                </c:pt>
                <c:pt idx="3">
                  <c:v>Av Price/Unit 83.29</c:v>
                </c:pt>
                <c:pt idx="4">
                  <c:v>Av Price/Unit 25.15</c:v>
                </c:pt>
                <c:pt idx="5">
                  <c:v>Av Price/Unit 97.21</c:v>
                </c:pt>
                <c:pt idx="6">
                  <c:v>Av Price/Unit 37.11</c:v>
                </c:pt>
                <c:pt idx="7">
                  <c:v>Av Price/Unit 49.68</c:v>
                </c:pt>
                <c:pt idx="8">
                  <c:v>Av Price/Unit 52.43</c:v>
                </c:pt>
                <c:pt idx="9">
                  <c:v>Av Price/Unit 38.62</c:v>
                </c:pt>
                <c:pt idx="10">
                  <c:v>Av Price/Unit 58.89</c:v>
                </c:pt>
                <c:pt idx="11">
                  <c:v>Av Price/Unit 35.28</c:v>
                </c:pt>
              </c:strCache>
            </c:strRef>
          </c:cat>
          <c:val>
            <c:numRef>
              <c:f>Sheet1!$B$2:$B$13</c:f>
              <c:numCache>
                <c:formatCode>General</c:formatCode>
                <c:ptCount val="12"/>
                <c:pt idx="0">
                  <c:v>29.429165986394562</c:v>
                </c:pt>
                <c:pt idx="1">
                  <c:v>19.798704285714283</c:v>
                </c:pt>
                <c:pt idx="2">
                  <c:v>12.50752077922078</c:v>
                </c:pt>
                <c:pt idx="3">
                  <c:v>26.812969565217394</c:v>
                </c:pt>
                <c:pt idx="4">
                  <c:v>5.35227091722595</c:v>
                </c:pt>
                <c:pt idx="5">
                  <c:v>31.563690476190477</c:v>
                </c:pt>
                <c:pt idx="6">
                  <c:v>12.551699999999997</c:v>
                </c:pt>
                <c:pt idx="7">
                  <c:v>16.741278873239438</c:v>
                </c:pt>
                <c:pt idx="8">
                  <c:v>18.665302479338845</c:v>
                </c:pt>
                <c:pt idx="9">
                  <c:v>13.422485256410258</c:v>
                </c:pt>
                <c:pt idx="10">
                  <c:v>19.12177777777778</c:v>
                </c:pt>
                <c:pt idx="11">
                  <c:v>11.51067887323943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08</c:v>
                </c:pt>
                <c:pt idx="1">
                  <c:v>Av Price/Unit 57.65</c:v>
                </c:pt>
                <c:pt idx="2">
                  <c:v>Av Price/Unit 38.16</c:v>
                </c:pt>
                <c:pt idx="3">
                  <c:v>Av Price/Unit 83.29</c:v>
                </c:pt>
                <c:pt idx="4">
                  <c:v>Av Price/Unit 25.15</c:v>
                </c:pt>
                <c:pt idx="5">
                  <c:v>Av Price/Unit 97.21</c:v>
                </c:pt>
                <c:pt idx="6">
                  <c:v>Av Price/Unit 37.11</c:v>
                </c:pt>
                <c:pt idx="7">
                  <c:v>Av Price/Unit 49.68</c:v>
                </c:pt>
                <c:pt idx="8">
                  <c:v>Av Price/Unit 52.43</c:v>
                </c:pt>
                <c:pt idx="9">
                  <c:v>Av Price/Unit 38.62</c:v>
                </c:pt>
                <c:pt idx="10">
                  <c:v>Av Price/Unit 58.89</c:v>
                </c:pt>
                <c:pt idx="11">
                  <c:v>Av Price/Unit 35.28</c:v>
                </c:pt>
              </c:strCache>
            </c:strRef>
          </c:cat>
          <c:val>
            <c:numRef>
              <c:f>Sheet1!$C$2:$C$13</c:f>
              <c:numCache>
                <c:formatCode>General</c:formatCode>
                <c:ptCount val="12"/>
                <c:pt idx="0">
                  <c:v>42.76022244897959</c:v>
                </c:pt>
                <c:pt idx="1">
                  <c:v>27.340489428571427</c:v>
                </c:pt>
                <c:pt idx="2">
                  <c:v>18.44569512987013</c:v>
                </c:pt>
                <c:pt idx="3">
                  <c:v>40.7326</c:v>
                </c:pt>
                <c:pt idx="4">
                  <c:v>15.48102908277405</c:v>
                </c:pt>
                <c:pt idx="5">
                  <c:v>44.471919047619046</c:v>
                </c:pt>
                <c:pt idx="6">
                  <c:v>16.57305238095238</c:v>
                </c:pt>
                <c:pt idx="7">
                  <c:v>21.16868309859155</c:v>
                </c:pt>
                <c:pt idx="8">
                  <c:v>22.92626280991736</c:v>
                </c:pt>
                <c:pt idx="9">
                  <c:v>17.052305128205127</c:v>
                </c:pt>
                <c:pt idx="10">
                  <c:v>26.80596666666667</c:v>
                </c:pt>
                <c:pt idx="11">
                  <c:v>14.90271971830985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08</c:v>
                </c:pt>
                <c:pt idx="1">
                  <c:v>Av Price/Unit 57.65</c:v>
                </c:pt>
                <c:pt idx="2">
                  <c:v>Av Price/Unit 38.16</c:v>
                </c:pt>
                <c:pt idx="3">
                  <c:v>Av Price/Unit 83.29</c:v>
                </c:pt>
                <c:pt idx="4">
                  <c:v>Av Price/Unit 25.15</c:v>
                </c:pt>
                <c:pt idx="5">
                  <c:v>Av Price/Unit 97.21</c:v>
                </c:pt>
                <c:pt idx="6">
                  <c:v>Av Price/Unit 37.11</c:v>
                </c:pt>
                <c:pt idx="7">
                  <c:v>Av Price/Unit 49.68</c:v>
                </c:pt>
                <c:pt idx="8">
                  <c:v>Av Price/Unit 52.43</c:v>
                </c:pt>
                <c:pt idx="9">
                  <c:v>Av Price/Unit 38.62</c:v>
                </c:pt>
                <c:pt idx="10">
                  <c:v>Av Price/Unit 58.89</c:v>
                </c:pt>
                <c:pt idx="11">
                  <c:v>Av Price/Unit 35.28</c:v>
                </c:pt>
              </c:strCache>
            </c:strRef>
          </c:cat>
          <c:val>
            <c:numRef>
              <c:f>Sheet1!$D$2:$D$13</c:f>
              <c:numCache>
                <c:formatCode>General</c:formatCode>
                <c:ptCount val="12"/>
                <c:pt idx="0">
                  <c:v>2.0481399092970634</c:v>
                </c:pt>
                <c:pt idx="1">
                  <c:v>0.8989015238095277</c:v>
                </c:pt>
                <c:pt idx="2">
                  <c:v>0.846026515151518</c:v>
                </c:pt>
                <c:pt idx="3">
                  <c:v>1.8626842995169</c:v>
                </c:pt>
                <c:pt idx="4">
                  <c:v>0.1268043997017152</c:v>
                </c:pt>
                <c:pt idx="5">
                  <c:v>4.976376190476216</c:v>
                </c:pt>
                <c:pt idx="6">
                  <c:v>1.8011735449735475</c:v>
                </c:pt>
                <c:pt idx="7">
                  <c:v>3.486751643192491</c:v>
                </c:pt>
                <c:pt idx="8">
                  <c:v>2.0998947658402187</c:v>
                </c:pt>
                <c:pt idx="9">
                  <c:v>1.7100386752136814</c:v>
                </c:pt>
                <c:pt idx="10">
                  <c:v>3.1463296296296264</c:v>
                </c:pt>
                <c:pt idx="11">
                  <c:v>2.98807605633803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9.08</c:v>
                </c:pt>
                <c:pt idx="1">
                  <c:v>Av Price/Unit 57.65</c:v>
                </c:pt>
                <c:pt idx="2">
                  <c:v>Av Price/Unit 38.16</c:v>
                </c:pt>
                <c:pt idx="3">
                  <c:v>Av Price/Unit 83.29</c:v>
                </c:pt>
                <c:pt idx="4">
                  <c:v>Av Price/Unit 25.15</c:v>
                </c:pt>
                <c:pt idx="5">
                  <c:v>Av Price/Unit 97.21</c:v>
                </c:pt>
                <c:pt idx="6">
                  <c:v>Av Price/Unit 37.11</c:v>
                </c:pt>
                <c:pt idx="7">
                  <c:v>Av Price/Unit 49.68</c:v>
                </c:pt>
                <c:pt idx="8">
                  <c:v>Av Price/Unit 52.43</c:v>
                </c:pt>
                <c:pt idx="9">
                  <c:v>Av Price/Unit 38.62</c:v>
                </c:pt>
                <c:pt idx="10">
                  <c:v>Av Price/Unit 58.89</c:v>
                </c:pt>
                <c:pt idx="11">
                  <c:v>Av Price/Unit 35.28</c:v>
                </c:pt>
              </c:strCache>
            </c:strRef>
          </c:cat>
          <c:val>
            <c:numRef>
              <c:f>Sheet1!$E$2:$E$13</c:f>
              <c:numCache>
                <c:formatCode>General</c:formatCode>
                <c:ptCount val="12"/>
                <c:pt idx="0">
                  <c:v>14.847505668934232</c:v>
                </c:pt>
                <c:pt idx="1">
                  <c:v>9.607619047619051</c:v>
                </c:pt>
                <c:pt idx="2">
                  <c:v>6.359848484848481</c:v>
                </c:pt>
                <c:pt idx="3">
                  <c:v>13.881642512077303</c:v>
                </c:pt>
                <c:pt idx="4">
                  <c:v>4.1920208799403404</c:v>
                </c:pt>
                <c:pt idx="5">
                  <c:v>16.202380952380942</c:v>
                </c:pt>
                <c:pt idx="6">
                  <c:v>6.185185185185185</c:v>
                </c:pt>
                <c:pt idx="7">
                  <c:v>8.27934272300469</c:v>
                </c:pt>
                <c:pt idx="8">
                  <c:v>8.738292011019288</c:v>
                </c:pt>
                <c:pt idx="9">
                  <c:v>6.436965811965808</c:v>
                </c:pt>
                <c:pt idx="10">
                  <c:v>9.814814814814811</c:v>
                </c:pt>
                <c:pt idx="11">
                  <c:v>5.88028169014084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7</c:v>
                </c:pt>
                <c:pt idx="1">
                  <c:v>Av Price/Unit 56.98</c:v>
                </c:pt>
                <c:pt idx="2">
                  <c:v>Av Price/Unit 80.18</c:v>
                </c:pt>
                <c:pt idx="3">
                  <c:v>Av Price/Unit 37.15</c:v>
                </c:pt>
                <c:pt idx="4">
                  <c:v>Av Price/Unit 93.68</c:v>
                </c:pt>
                <c:pt idx="5">
                  <c:v>Av Price/Unit 555.95</c:v>
                </c:pt>
                <c:pt idx="6">
                  <c:v>Av Price/Unit 615.21</c:v>
                </c:pt>
                <c:pt idx="7">
                  <c:v>Av Price/Unit 37.59</c:v>
                </c:pt>
                <c:pt idx="8">
                  <c:v>Av Price/Unit 24.90</c:v>
                </c:pt>
                <c:pt idx="9">
                  <c:v>Av Price/Unit 47.15</c:v>
                </c:pt>
                <c:pt idx="10">
                  <c:v>Av Price/Unit 50.75</c:v>
                </c:pt>
                <c:pt idx="11">
                  <c:v>Av Price/Unit 36.00</c:v>
                </c:pt>
              </c:strCache>
            </c:strRef>
          </c:cat>
          <c:val>
            <c:numRef>
              <c:f>Sheet1!$B$2:$B$13</c:f>
              <c:numCache>
                <c:formatCode>General</c:formatCode>
                <c:ptCount val="12"/>
                <c:pt idx="0">
                  <c:v>29.416068934646372</c:v>
                </c:pt>
                <c:pt idx="1">
                  <c:v>19.751723491145647</c:v>
                </c:pt>
                <c:pt idx="2">
                  <c:v>26.34439709270433</c:v>
                </c:pt>
                <c:pt idx="3">
                  <c:v>12.50605094816688</c:v>
                </c:pt>
                <c:pt idx="4">
                  <c:v>31.23063269069572</c:v>
                </c:pt>
                <c:pt idx="5">
                  <c:v>160.6930931034483</c:v>
                </c:pt>
                <c:pt idx="6">
                  <c:v>205.854905</c:v>
                </c:pt>
                <c:pt idx="7">
                  <c:v>13.418468310911809</c:v>
                </c:pt>
                <c:pt idx="8">
                  <c:v>5.345732174505794</c:v>
                </c:pt>
                <c:pt idx="9">
                  <c:v>16.570942719382835</c:v>
                </c:pt>
                <c:pt idx="10">
                  <c:v>18.667272855591747</c:v>
                </c:pt>
                <c:pt idx="11">
                  <c:v>12.54061288295365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7</c:v>
                </c:pt>
                <c:pt idx="1">
                  <c:v>Av Price/Unit 56.98</c:v>
                </c:pt>
                <c:pt idx="2">
                  <c:v>Av Price/Unit 80.18</c:v>
                </c:pt>
                <c:pt idx="3">
                  <c:v>Av Price/Unit 37.15</c:v>
                </c:pt>
                <c:pt idx="4">
                  <c:v>Av Price/Unit 93.68</c:v>
                </c:pt>
                <c:pt idx="5">
                  <c:v>Av Price/Unit 555.95</c:v>
                </c:pt>
                <c:pt idx="6">
                  <c:v>Av Price/Unit 615.21</c:v>
                </c:pt>
                <c:pt idx="7">
                  <c:v>Av Price/Unit 37.59</c:v>
                </c:pt>
                <c:pt idx="8">
                  <c:v>Av Price/Unit 24.90</c:v>
                </c:pt>
                <c:pt idx="9">
                  <c:v>Av Price/Unit 47.15</c:v>
                </c:pt>
                <c:pt idx="10">
                  <c:v>Av Price/Unit 50.75</c:v>
                </c:pt>
                <c:pt idx="11">
                  <c:v>Av Price/Unit 36.00</c:v>
                </c:pt>
              </c:strCache>
            </c:strRef>
          </c:cat>
          <c:val>
            <c:numRef>
              <c:f>Sheet1!$C$2:$C$13</c:f>
              <c:numCache>
                <c:formatCode>General</c:formatCode>
                <c:ptCount val="12"/>
                <c:pt idx="0">
                  <c:v>42.76782676812892</c:v>
                </c:pt>
                <c:pt idx="1">
                  <c:v>27.351849186844966</c:v>
                </c:pt>
                <c:pt idx="2">
                  <c:v>40.738778387273726</c:v>
                </c:pt>
                <c:pt idx="3">
                  <c:v>18.441384892541087</c:v>
                </c:pt>
                <c:pt idx="4">
                  <c:v>44.68627259010898</c:v>
                </c:pt>
                <c:pt idx="5">
                  <c:v>292.79106896551724</c:v>
                </c:pt>
                <c:pt idx="6">
                  <c:v>309.8713</c:v>
                </c:pt>
                <c:pt idx="7">
                  <c:v>17.05102092675635</c:v>
                </c:pt>
                <c:pt idx="8">
                  <c:v>15.487567825494208</c:v>
                </c:pt>
                <c:pt idx="9">
                  <c:v>21.22901398264224</c:v>
                </c:pt>
                <c:pt idx="10">
                  <c:v>22.942348425624324</c:v>
                </c:pt>
                <c:pt idx="11">
                  <c:v>16.56049096622152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7</c:v>
                </c:pt>
                <c:pt idx="1">
                  <c:v>Av Price/Unit 56.98</c:v>
                </c:pt>
                <c:pt idx="2">
                  <c:v>Av Price/Unit 80.18</c:v>
                </c:pt>
                <c:pt idx="3">
                  <c:v>Av Price/Unit 37.15</c:v>
                </c:pt>
                <c:pt idx="4">
                  <c:v>Av Price/Unit 93.68</c:v>
                </c:pt>
                <c:pt idx="5">
                  <c:v>Av Price/Unit 555.95</c:v>
                </c:pt>
                <c:pt idx="6">
                  <c:v>Av Price/Unit 615.21</c:v>
                </c:pt>
                <c:pt idx="7">
                  <c:v>Av Price/Unit 37.59</c:v>
                </c:pt>
                <c:pt idx="8">
                  <c:v>Av Price/Unit 24.90</c:v>
                </c:pt>
                <c:pt idx="9">
                  <c:v>Av Price/Unit 47.15</c:v>
                </c:pt>
                <c:pt idx="10">
                  <c:v>Av Price/Unit 50.75</c:v>
                </c:pt>
                <c:pt idx="11">
                  <c:v>Av Price/Unit 36.00</c:v>
                </c:pt>
              </c:strCache>
            </c:strRef>
          </c:cat>
          <c:val>
            <c:numRef>
              <c:f>Sheet1!$D$2:$D$13</c:f>
              <c:numCache>
                <c:formatCode>General</c:formatCode>
                <c:ptCount val="12"/>
                <c:pt idx="0">
                  <c:v>1.7108372127723186</c:v>
                </c:pt>
                <c:pt idx="1">
                  <c:v>0.3759478617034091</c:v>
                </c:pt>
                <c:pt idx="2">
                  <c:v>-0.26378317791187555</c:v>
                </c:pt>
                <c:pt idx="3">
                  <c:v>0.00784228824272759</c:v>
                </c:pt>
                <c:pt idx="4">
                  <c:v>2.1517538418552533</c:v>
                </c:pt>
                <c:pt idx="5">
                  <c:v>9.810857088122589</c:v>
                </c:pt>
                <c:pt idx="6">
                  <c:v>-3.053585952381013</c:v>
                </c:pt>
                <c:pt idx="7">
                  <c:v>0.852135077229697</c:v>
                </c:pt>
                <c:pt idx="8">
                  <c:v>-0.08006209952283783</c:v>
                </c:pt>
                <c:pt idx="9">
                  <c:v>1.4944823850851847</c:v>
                </c:pt>
                <c:pt idx="10">
                  <c:v>0.6822715888526929</c:v>
                </c:pt>
                <c:pt idx="11">
                  <c:v>0.898896150824825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7</c:v>
                </c:pt>
                <c:pt idx="1">
                  <c:v>Av Price/Unit 56.98</c:v>
                </c:pt>
                <c:pt idx="2">
                  <c:v>Av Price/Unit 80.18</c:v>
                </c:pt>
                <c:pt idx="3">
                  <c:v>Av Price/Unit 37.15</c:v>
                </c:pt>
                <c:pt idx="4">
                  <c:v>Av Price/Unit 93.68</c:v>
                </c:pt>
                <c:pt idx="5">
                  <c:v>Av Price/Unit 555.95</c:v>
                </c:pt>
                <c:pt idx="6">
                  <c:v>Av Price/Unit 615.21</c:v>
                </c:pt>
                <c:pt idx="7">
                  <c:v>Av Price/Unit 37.59</c:v>
                </c:pt>
                <c:pt idx="8">
                  <c:v>Av Price/Unit 24.90</c:v>
                </c:pt>
                <c:pt idx="9">
                  <c:v>Av Price/Unit 47.15</c:v>
                </c:pt>
                <c:pt idx="10">
                  <c:v>Av Price/Unit 50.75</c:v>
                </c:pt>
                <c:pt idx="11">
                  <c:v>Av Price/Unit 36.00</c:v>
                </c:pt>
              </c:strCache>
            </c:strRef>
          </c:cat>
          <c:val>
            <c:numRef>
              <c:f>Sheet1!$E$2:$E$13</c:f>
              <c:numCache>
                <c:formatCode>General</c:formatCode>
                <c:ptCount val="12"/>
                <c:pt idx="0">
                  <c:v>14.778946583109516</c:v>
                </c:pt>
                <c:pt idx="1">
                  <c:v>9.49590410793881</c:v>
                </c:pt>
                <c:pt idx="2">
                  <c:v>13.363869080270621</c:v>
                </c:pt>
                <c:pt idx="3">
                  <c:v>6.191055625790139</c:v>
                </c:pt>
                <c:pt idx="4">
                  <c:v>15.6137189158983</c:v>
                </c:pt>
                <c:pt idx="5">
                  <c:v>92.65900383141756</c:v>
                </c:pt>
                <c:pt idx="6">
                  <c:v>102.53452380952378</c:v>
                </c:pt>
                <c:pt idx="7">
                  <c:v>6.264324862979572</c:v>
                </c:pt>
                <c:pt idx="8">
                  <c:v>4.150647580095433</c:v>
                </c:pt>
                <c:pt idx="9">
                  <c:v>7.8588878174220484</c:v>
                </c:pt>
                <c:pt idx="10">
                  <c:v>8.45837857401375</c:v>
                </c:pt>
                <c:pt idx="11">
                  <c:v>6.0</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6</c:v>
                </c:pt>
                <c:pt idx="1">
                  <c:v>Av Price/Unit 57.44</c:v>
                </c:pt>
                <c:pt idx="2">
                  <c:v>Av Price/Unit 37.48</c:v>
                </c:pt>
                <c:pt idx="3">
                  <c:v>Av Price/Unit 80.58</c:v>
                </c:pt>
                <c:pt idx="4">
                  <c:v>Av Price/Unit 93.78</c:v>
                </c:pt>
                <c:pt idx="5">
                  <c:v>Av Price/Unit 25.08</c:v>
                </c:pt>
                <c:pt idx="6">
                  <c:v>Av Price/Unit 37.54</c:v>
                </c:pt>
                <c:pt idx="7">
                  <c:v>Av Price/Unit 36.27</c:v>
                </c:pt>
                <c:pt idx="8">
                  <c:v>Av Price/Unit 47.40</c:v>
                </c:pt>
                <c:pt idx="9">
                  <c:v>Av Price/Unit 51.53</c:v>
                </c:pt>
                <c:pt idx="10">
                  <c:v>Av Price/Unit 227.17</c:v>
                </c:pt>
                <c:pt idx="11">
                  <c:v>Av Price/Unit 33.36</c:v>
                </c:pt>
              </c:strCache>
            </c:strRef>
          </c:cat>
          <c:val>
            <c:numRef>
              <c:f>Sheet1!$B$2:$B$13</c:f>
              <c:numCache>
                <c:formatCode>General</c:formatCode>
                <c:ptCount val="12"/>
                <c:pt idx="0">
                  <c:v>29.411210594795538</c:v>
                </c:pt>
                <c:pt idx="1">
                  <c:v>19.7195347421809</c:v>
                </c:pt>
                <c:pt idx="2">
                  <c:v>12.505901485148517</c:v>
                </c:pt>
                <c:pt idx="3">
                  <c:v>26.276729649595687</c:v>
                </c:pt>
                <c:pt idx="4">
                  <c:v>31.240583073496655</c:v>
                </c:pt>
                <c:pt idx="5">
                  <c:v>5.338142173350582</c:v>
                </c:pt>
                <c:pt idx="6">
                  <c:v>13.347904799107143</c:v>
                </c:pt>
                <c:pt idx="7">
                  <c:v>12.54341918528252</c:v>
                </c:pt>
                <c:pt idx="8">
                  <c:v>16.571471875</c:v>
                </c:pt>
                <c:pt idx="9">
                  <c:v>18.668670320855618</c:v>
                </c:pt>
                <c:pt idx="10">
                  <c:v>71.2312014084507</c:v>
                </c:pt>
                <c:pt idx="11">
                  <c:v>11.51221639722863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6</c:v>
                </c:pt>
                <c:pt idx="1">
                  <c:v>Av Price/Unit 57.44</c:v>
                </c:pt>
                <c:pt idx="2">
                  <c:v>Av Price/Unit 37.48</c:v>
                </c:pt>
                <c:pt idx="3">
                  <c:v>Av Price/Unit 80.58</c:v>
                </c:pt>
                <c:pt idx="4">
                  <c:v>Av Price/Unit 93.78</c:v>
                </c:pt>
                <c:pt idx="5">
                  <c:v>Av Price/Unit 25.08</c:v>
                </c:pt>
                <c:pt idx="6">
                  <c:v>Av Price/Unit 37.54</c:v>
                </c:pt>
                <c:pt idx="7">
                  <c:v>Av Price/Unit 36.27</c:v>
                </c:pt>
                <c:pt idx="8">
                  <c:v>Av Price/Unit 47.40</c:v>
                </c:pt>
                <c:pt idx="9">
                  <c:v>Av Price/Unit 51.53</c:v>
                </c:pt>
                <c:pt idx="10">
                  <c:v>Av Price/Unit 227.17</c:v>
                </c:pt>
                <c:pt idx="11">
                  <c:v>Av Price/Unit 33.36</c:v>
                </c:pt>
              </c:strCache>
            </c:strRef>
          </c:cat>
          <c:val>
            <c:numRef>
              <c:f>Sheet1!$C$2:$C$13</c:f>
              <c:numCache>
                <c:formatCode>General</c:formatCode>
                <c:ptCount val="12"/>
                <c:pt idx="0">
                  <c:v>42.770647583643125</c:v>
                </c:pt>
                <c:pt idx="1">
                  <c:v>27.359632290786134</c:v>
                </c:pt>
                <c:pt idx="2">
                  <c:v>18.440946596534655</c:v>
                </c:pt>
                <c:pt idx="3">
                  <c:v>40.73967061994609</c:v>
                </c:pt>
                <c:pt idx="4">
                  <c:v>44.67986859688197</c:v>
                </c:pt>
                <c:pt idx="5">
                  <c:v>15.495157826649415</c:v>
                </c:pt>
                <c:pt idx="6">
                  <c:v>17.028462053571428</c:v>
                </c:pt>
                <c:pt idx="7">
                  <c:v>16.56367043363995</c:v>
                </c:pt>
                <c:pt idx="8">
                  <c:v>21.228826562499997</c:v>
                </c:pt>
                <c:pt idx="9">
                  <c:v>22.953756951871657</c:v>
                </c:pt>
                <c:pt idx="10">
                  <c:v>100.50749436619718</c:v>
                </c:pt>
                <c:pt idx="11">
                  <c:v>14.92026651270207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6</c:v>
                </c:pt>
                <c:pt idx="1">
                  <c:v>Av Price/Unit 57.44</c:v>
                </c:pt>
                <c:pt idx="2">
                  <c:v>Av Price/Unit 37.48</c:v>
                </c:pt>
                <c:pt idx="3">
                  <c:v>Av Price/Unit 80.58</c:v>
                </c:pt>
                <c:pt idx="4">
                  <c:v>Av Price/Unit 93.78</c:v>
                </c:pt>
                <c:pt idx="5">
                  <c:v>Av Price/Unit 25.08</c:v>
                </c:pt>
                <c:pt idx="6">
                  <c:v>Av Price/Unit 37.54</c:v>
                </c:pt>
                <c:pt idx="7">
                  <c:v>Av Price/Unit 36.27</c:v>
                </c:pt>
                <c:pt idx="8">
                  <c:v>Av Price/Unit 47.40</c:v>
                </c:pt>
                <c:pt idx="9">
                  <c:v>Av Price/Unit 51.53</c:v>
                </c:pt>
                <c:pt idx="10">
                  <c:v>Av Price/Unit 227.17</c:v>
                </c:pt>
                <c:pt idx="11">
                  <c:v>Av Price/Unit 33.36</c:v>
                </c:pt>
              </c:strCache>
            </c:strRef>
          </c:cat>
          <c:val>
            <c:numRef>
              <c:f>Sheet1!$D$2:$D$13</c:f>
              <c:numCache>
                <c:formatCode>General</c:formatCode>
                <c:ptCount val="12"/>
                <c:pt idx="0">
                  <c:v>1.7044491325898434</c:v>
                </c:pt>
                <c:pt idx="1">
                  <c:v>0.7843156382079357</c:v>
                </c:pt>
                <c:pt idx="2">
                  <c:v>0.28613459158416177</c:v>
                </c:pt>
                <c:pt idx="3">
                  <c:v>0.12987385444743893</c:v>
                </c:pt>
                <c:pt idx="4">
                  <c:v>2.231061024498885</c:v>
                </c:pt>
                <c:pt idx="5">
                  <c:v>0.06417736093143844</c:v>
                </c:pt>
                <c:pt idx="6">
                  <c:v>0.9080453497023804</c:v>
                </c:pt>
                <c:pt idx="7">
                  <c:v>1.1195858081471854</c:v>
                </c:pt>
                <c:pt idx="8">
                  <c:v>1.7032822916666746</c:v>
                </c:pt>
                <c:pt idx="9">
                  <c:v>1.3209773618538492</c:v>
                </c:pt>
                <c:pt idx="10">
                  <c:v>17.568815962441278</c:v>
                </c:pt>
                <c:pt idx="11">
                  <c:v>1.37164749807544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66</c:v>
                </c:pt>
                <c:pt idx="1">
                  <c:v>Av Price/Unit 57.44</c:v>
                </c:pt>
                <c:pt idx="2">
                  <c:v>Av Price/Unit 37.48</c:v>
                </c:pt>
                <c:pt idx="3">
                  <c:v>Av Price/Unit 80.58</c:v>
                </c:pt>
                <c:pt idx="4">
                  <c:v>Av Price/Unit 93.78</c:v>
                </c:pt>
                <c:pt idx="5">
                  <c:v>Av Price/Unit 25.08</c:v>
                </c:pt>
                <c:pt idx="6">
                  <c:v>Av Price/Unit 37.54</c:v>
                </c:pt>
                <c:pt idx="7">
                  <c:v>Av Price/Unit 36.27</c:v>
                </c:pt>
                <c:pt idx="8">
                  <c:v>Av Price/Unit 47.40</c:v>
                </c:pt>
                <c:pt idx="9">
                  <c:v>Av Price/Unit 51.53</c:v>
                </c:pt>
                <c:pt idx="10">
                  <c:v>Av Price/Unit 227.17</c:v>
                </c:pt>
                <c:pt idx="11">
                  <c:v>Av Price/Unit 33.36</c:v>
                </c:pt>
              </c:strCache>
            </c:strRef>
          </c:cat>
          <c:val>
            <c:numRef>
              <c:f>Sheet1!$E$2:$E$13</c:f>
              <c:numCache>
                <c:formatCode>General</c:formatCode>
                <c:ptCount val="12"/>
                <c:pt idx="0">
                  <c:v>14.777261462205695</c:v>
                </c:pt>
                <c:pt idx="1">
                  <c:v>9.572696534235002</c:v>
                </c:pt>
                <c:pt idx="2">
                  <c:v>6.246596534653466</c:v>
                </c:pt>
                <c:pt idx="3">
                  <c:v>13.429245283018869</c:v>
                </c:pt>
                <c:pt idx="4">
                  <c:v>15.630289532293986</c:v>
                </c:pt>
                <c:pt idx="5">
                  <c:v>4.179495472186285</c:v>
                </c:pt>
                <c:pt idx="6">
                  <c:v>6.256882440476188</c:v>
                </c:pt>
                <c:pt idx="7">
                  <c:v>6.0453350854139245</c:v>
                </c:pt>
                <c:pt idx="8">
                  <c:v>7.900716145833329</c:v>
                </c:pt>
                <c:pt idx="9">
                  <c:v>8.588680926916215</c:v>
                </c:pt>
                <c:pt idx="10">
                  <c:v>37.86150234741783</c:v>
                </c:pt>
                <c:pt idx="11">
                  <c:v>5.56081601231716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15</c:v>
                </c:pt>
                <c:pt idx="1">
                  <c:v>Av Price/Unit 57.29</c:v>
                </c:pt>
                <c:pt idx="2">
                  <c:v>Av Price/Unit 37.32</c:v>
                </c:pt>
                <c:pt idx="3">
                  <c:v>Av Price/Unit 80.11</c:v>
                </c:pt>
                <c:pt idx="4">
                  <c:v>Av Price/Unit 93.37</c:v>
                </c:pt>
                <c:pt idx="5">
                  <c:v>Av Price/Unit 25.04</c:v>
                </c:pt>
                <c:pt idx="6">
                  <c:v>Av Price/Unit 37.61</c:v>
                </c:pt>
                <c:pt idx="7">
                  <c:v>Av Price/Unit 36.13</c:v>
                </c:pt>
                <c:pt idx="8">
                  <c:v>Av Price/Unit 47.22</c:v>
                </c:pt>
                <c:pt idx="9">
                  <c:v>Av Price/Unit 51.10</c:v>
                </c:pt>
                <c:pt idx="10">
                  <c:v>Av Price/Unit 218.00</c:v>
                </c:pt>
                <c:pt idx="11">
                  <c:v>Av Price/Unit 55.66</c:v>
                </c:pt>
              </c:strCache>
            </c:strRef>
          </c:cat>
          <c:val>
            <c:numRef>
              <c:f>Sheet1!$B$2:$B$13</c:f>
              <c:numCache>
                <c:formatCode>General</c:formatCode>
                <c:ptCount val="12"/>
                <c:pt idx="0">
                  <c:v>29.305249735449735</c:v>
                </c:pt>
                <c:pt idx="1">
                  <c:v>19.724350354609932</c:v>
                </c:pt>
                <c:pt idx="2">
                  <c:v>12.504121727019498</c:v>
                </c:pt>
                <c:pt idx="3">
                  <c:v>26.418330088495576</c:v>
                </c:pt>
                <c:pt idx="4">
                  <c:v>31.343355811138014</c:v>
                </c:pt>
                <c:pt idx="5">
                  <c:v>5.335092240300376</c:v>
                </c:pt>
                <c:pt idx="6">
                  <c:v>13.357402760084925</c:v>
                </c:pt>
                <c:pt idx="7">
                  <c:v>12.542531555944054</c:v>
                </c:pt>
                <c:pt idx="8">
                  <c:v>16.564324804177545</c:v>
                </c:pt>
                <c:pt idx="9">
                  <c:v>18.66989685157421</c:v>
                </c:pt>
                <c:pt idx="10">
                  <c:v>70.87466033057851</c:v>
                </c:pt>
                <c:pt idx="11">
                  <c:v>18.56956049382715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15</c:v>
                </c:pt>
                <c:pt idx="1">
                  <c:v>Av Price/Unit 57.29</c:v>
                </c:pt>
                <c:pt idx="2">
                  <c:v>Av Price/Unit 37.32</c:v>
                </c:pt>
                <c:pt idx="3">
                  <c:v>Av Price/Unit 80.11</c:v>
                </c:pt>
                <c:pt idx="4">
                  <c:v>Av Price/Unit 93.37</c:v>
                </c:pt>
                <c:pt idx="5">
                  <c:v>Av Price/Unit 25.04</c:v>
                </c:pt>
                <c:pt idx="6">
                  <c:v>Av Price/Unit 37.61</c:v>
                </c:pt>
                <c:pt idx="7">
                  <c:v>Av Price/Unit 36.13</c:v>
                </c:pt>
                <c:pt idx="8">
                  <c:v>Av Price/Unit 47.22</c:v>
                </c:pt>
                <c:pt idx="9">
                  <c:v>Av Price/Unit 51.10</c:v>
                </c:pt>
                <c:pt idx="10">
                  <c:v>Av Price/Unit 218.00</c:v>
                </c:pt>
                <c:pt idx="11">
                  <c:v>Av Price/Unit 55.66</c:v>
                </c:pt>
              </c:strCache>
            </c:strRef>
          </c:cat>
          <c:val>
            <c:numRef>
              <c:f>Sheet1!$C$2:$C$13</c:f>
              <c:numCache>
                <c:formatCode>General</c:formatCode>
                <c:ptCount val="12"/>
                <c:pt idx="0">
                  <c:v>42.832169841269845</c:v>
                </c:pt>
                <c:pt idx="1">
                  <c:v>27.358467895981093</c:v>
                </c:pt>
                <c:pt idx="2">
                  <c:v>18.435727506963786</c:v>
                </c:pt>
                <c:pt idx="3">
                  <c:v>40.737803539823005</c:v>
                </c:pt>
                <c:pt idx="4">
                  <c:v>44.613724818401934</c:v>
                </c:pt>
                <c:pt idx="5">
                  <c:v>15.498207759699623</c:v>
                </c:pt>
                <c:pt idx="6">
                  <c:v>17.031498513800425</c:v>
                </c:pt>
                <c:pt idx="7">
                  <c:v>16.562664772727274</c:v>
                </c:pt>
                <c:pt idx="8">
                  <c:v>21.231357963446474</c:v>
                </c:pt>
                <c:pt idx="9">
                  <c:v>22.963770014992505</c:v>
                </c:pt>
                <c:pt idx="10">
                  <c:v>100.7676661157025</c:v>
                </c:pt>
                <c:pt idx="11">
                  <c:v>26.72608518518518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15</c:v>
                </c:pt>
                <c:pt idx="1">
                  <c:v>Av Price/Unit 57.29</c:v>
                </c:pt>
                <c:pt idx="2">
                  <c:v>Av Price/Unit 37.32</c:v>
                </c:pt>
                <c:pt idx="3">
                  <c:v>Av Price/Unit 80.11</c:v>
                </c:pt>
                <c:pt idx="4">
                  <c:v>Av Price/Unit 93.37</c:v>
                </c:pt>
                <c:pt idx="5">
                  <c:v>Av Price/Unit 25.04</c:v>
                </c:pt>
                <c:pt idx="6">
                  <c:v>Av Price/Unit 37.61</c:v>
                </c:pt>
                <c:pt idx="7">
                  <c:v>Av Price/Unit 36.13</c:v>
                </c:pt>
                <c:pt idx="8">
                  <c:v>Av Price/Unit 47.22</c:v>
                </c:pt>
                <c:pt idx="9">
                  <c:v>Av Price/Unit 51.10</c:v>
                </c:pt>
                <c:pt idx="10">
                  <c:v>Av Price/Unit 218.00</c:v>
                </c:pt>
                <c:pt idx="11">
                  <c:v>Av Price/Unit 55.66</c:v>
                </c:pt>
              </c:strCache>
            </c:strRef>
          </c:cat>
          <c:val>
            <c:numRef>
              <c:f>Sheet1!$D$2:$D$13</c:f>
              <c:numCache>
                <c:formatCode>General</c:formatCode>
                <c:ptCount val="12"/>
                <c:pt idx="0">
                  <c:v>1.319370546737204</c:v>
                </c:pt>
                <c:pt idx="1">
                  <c:v>0.6618626004728085</c:v>
                </c:pt>
                <c:pt idx="2">
                  <c:v>0.16188010677808862</c:v>
                </c:pt>
                <c:pt idx="3">
                  <c:v>-0.39846715830874757</c:v>
                </c:pt>
                <c:pt idx="4">
                  <c:v>1.8486795399515898</c:v>
                </c:pt>
                <c:pt idx="5">
                  <c:v>0.03271307189542583</c:v>
                </c:pt>
                <c:pt idx="6">
                  <c:v>0.9539861995753824</c:v>
                </c:pt>
                <c:pt idx="7">
                  <c:v>1.006254720279724</c:v>
                </c:pt>
                <c:pt idx="8">
                  <c:v>1.5581031331592712</c:v>
                </c:pt>
                <c:pt idx="9">
                  <c:v>0.952540029985002</c:v>
                </c:pt>
                <c:pt idx="10">
                  <c:v>10.024340220385739</c:v>
                </c:pt>
                <c:pt idx="11">
                  <c:v>1.089127983539093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88.15</c:v>
                </c:pt>
                <c:pt idx="1">
                  <c:v>Av Price/Unit 57.29</c:v>
                </c:pt>
                <c:pt idx="2">
                  <c:v>Av Price/Unit 37.32</c:v>
                </c:pt>
                <c:pt idx="3">
                  <c:v>Av Price/Unit 80.11</c:v>
                </c:pt>
                <c:pt idx="4">
                  <c:v>Av Price/Unit 93.37</c:v>
                </c:pt>
                <c:pt idx="5">
                  <c:v>Av Price/Unit 25.04</c:v>
                </c:pt>
                <c:pt idx="6">
                  <c:v>Av Price/Unit 37.61</c:v>
                </c:pt>
                <c:pt idx="7">
                  <c:v>Av Price/Unit 36.13</c:v>
                </c:pt>
                <c:pt idx="8">
                  <c:v>Av Price/Unit 47.22</c:v>
                </c:pt>
                <c:pt idx="9">
                  <c:v>Av Price/Unit 51.10</c:v>
                </c:pt>
                <c:pt idx="10">
                  <c:v>Av Price/Unit 218.00</c:v>
                </c:pt>
                <c:pt idx="11">
                  <c:v>Av Price/Unit 55.66</c:v>
                </c:pt>
              </c:strCache>
            </c:strRef>
          </c:cat>
          <c:val>
            <c:numRef>
              <c:f>Sheet1!$E$2:$E$13</c:f>
              <c:numCache>
                <c:formatCode>General</c:formatCode>
                <c:ptCount val="12"/>
                <c:pt idx="0">
                  <c:v>14.691358024691358</c:v>
                </c:pt>
                <c:pt idx="1">
                  <c:v>9.548936170212766</c:v>
                </c:pt>
                <c:pt idx="2">
                  <c:v>6.220345868152273</c:v>
                </c:pt>
                <c:pt idx="3">
                  <c:v>13.351524090462144</c:v>
                </c:pt>
                <c:pt idx="4">
                  <c:v>15.561138014527836</c:v>
                </c:pt>
                <c:pt idx="5">
                  <c:v>4.173202614379084</c:v>
                </c:pt>
                <c:pt idx="6">
                  <c:v>6.268577494692139</c:v>
                </c:pt>
                <c:pt idx="7">
                  <c:v>6.02229020979021</c:v>
                </c:pt>
                <c:pt idx="8">
                  <c:v>7.870757180156653</c:v>
                </c:pt>
                <c:pt idx="9">
                  <c:v>8.517241379310345</c:v>
                </c:pt>
                <c:pt idx="10">
                  <c:v>36.33333333333332</c:v>
                </c:pt>
                <c:pt idx="11">
                  <c:v>9.2769547325102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180C27B-2525-465E-BB23-268BAC646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62533DE-A95E-4857-988A-7ED01C1C0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23E2F57-E33C-44A5-B896-D84CD0478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761E46A-4337-47FC-820D-12BD8B9C9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044C282-295B-4D5E-8B7C-22886CAE1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4D5FA4F-B291-462B-A1DB-950B52B76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035D521-506A-4CC2-850F-793693030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CC87E56-CECE-4767-8855-695EEECBD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47.7259</c:v>
                </c:pt>
                <c:pt idx="1">
                  <c:v>49.9324</c:v>
                </c:pt>
                <c:pt idx="2">
                  <c:v>44.4029</c:v>
                </c:pt>
                <c:pt idx="3">
                  <c:v>48.1125</c:v>
                </c:pt>
                <c:pt idx="4">
                  <c:v>44.1377</c:v>
                </c:pt>
              </c:numCache>
            </c:numRef>
          </c:xVal>
          <c:yVal>
            <c:numRef>
              <c:f>Sheet1!$B$2:$B$6</c:f>
              <c:numCache>
                <c:formatCode>General</c:formatCode>
                <c:ptCount val="5"/>
                <c:pt idx="0">
                  <c:v>0.3998</c:v>
                </c:pt>
                <c:pt idx="1">
                  <c:v>0.3948</c:v>
                </c:pt>
                <c:pt idx="2">
                  <c:v>0.3888</c:v>
                </c:pt>
                <c:pt idx="3">
                  <c:v>0.402</c:v>
                </c:pt>
                <c:pt idx="4">
                  <c:v>0.3966</c:v>
                </c:pt>
              </c:numCache>
            </c:numRef>
          </c:yVal>
          <c:bubbleSize>
            <c:numRef>
              <c:f>Sheet1!$C$2:$C$6</c:f>
              <c:numCache>
                <c:formatCode>General</c:formatCode>
                <c:ptCount val="5"/>
                <c:pt idx="0">
                  <c:v>36010739.48130003</c:v>
                </c:pt>
                <c:pt idx="1">
                  <c:v>5134800.602500001</c:v>
                </c:pt>
                <c:pt idx="2">
                  <c:v>1301359.3504000034</c:v>
                </c:pt>
                <c:pt idx="3">
                  <c:v>2839503.392300003</c:v>
                </c:pt>
                <c:pt idx="4">
                  <c:v>1499753.3893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9.91888"/>
          <c:min val="35.3101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989762251407859"/>
        <c:crossBetween val="midCat"/>
      </c:valAx>
      <c:valAx>
        <c:axId val="1011451359"/>
        <c:scaling>
          <c:orientation val="minMax"/>
          <c:max val="0.8423999999999999"/>
          <c:min val="0.07103999999999999"/>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7840765532328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90</c:v>
                </c:pt>
                <c:pt idx="1">
                  <c:v>Av Price/Unit 12.65</c:v>
                </c:pt>
              </c:strCache>
            </c:strRef>
          </c:cat>
          <c:val>
            <c:numRef>
              <c:f>Sheet1!$B$2:$B$3</c:f>
              <c:numCache>
                <c:formatCode>General</c:formatCode>
                <c:ptCount val="2"/>
                <c:pt idx="0">
                  <c:v>5.11908377504848</c:v>
                </c:pt>
                <c:pt idx="1">
                  <c:v>5.2318854489164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90</c:v>
                </c:pt>
                <c:pt idx="1">
                  <c:v>Av Price/Unit 12.65</c:v>
                </c:pt>
              </c:strCache>
            </c:strRef>
          </c:cat>
          <c:val>
            <c:numRef>
              <c:f>Sheet1!$C$2:$C$3</c:f>
              <c:numCache>
                <c:formatCode>General</c:formatCode>
                <c:ptCount val="2"/>
                <c:pt idx="0">
                  <c:v>4.971040788623141</c:v>
                </c:pt>
                <c:pt idx="1">
                  <c:v>4.81965541795665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90</c:v>
                </c:pt>
                <c:pt idx="1">
                  <c:v>Av Price/Unit 12.65</c:v>
                </c:pt>
              </c:strCache>
            </c:strRef>
          </c:cat>
          <c:val>
            <c:numRef>
              <c:f>Sheet1!$D$2:$D$3</c:f>
              <c:numCache>
                <c:formatCode>General</c:formatCode>
                <c:ptCount val="2"/>
                <c:pt idx="0">
                  <c:v>0.6602081017022208</c:v>
                </c:pt>
                <c:pt idx="1">
                  <c:v>0.490254798761613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90</c:v>
                </c:pt>
                <c:pt idx="1">
                  <c:v>Av Price/Unit 12.65</c:v>
                </c:pt>
              </c:strCache>
            </c:strRef>
          </c:cat>
          <c:val>
            <c:numRef>
              <c:f>Sheet1!$E$2:$E$3</c:f>
              <c:numCache>
                <c:formatCode>General</c:formatCode>
                <c:ptCount val="2"/>
                <c:pt idx="0">
                  <c:v>2.1500754147812957</c:v>
                </c:pt>
                <c:pt idx="1">
                  <c:v>2.108359133126933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2.81</c:v>
                </c:pt>
                <c:pt idx="1">
                  <c:v>Av Price/Unit 12.55</c:v>
                </c:pt>
                <c:pt idx="2">
                  <c:v>Av Price/Unit 12.12</c:v>
                </c:pt>
                <c:pt idx="3">
                  <c:v>Av Price/Unit 14.25</c:v>
                </c:pt>
                <c:pt idx="4">
                  <c:v>Av Price/Unit 20.14</c:v>
                </c:pt>
              </c:strCache>
            </c:strRef>
          </c:cat>
          <c:val>
            <c:numRef>
              <c:f>Sheet1!$B$2:$B$6</c:f>
              <c:numCache>
                <c:formatCode>General</c:formatCode>
                <c:ptCount val="5"/>
                <c:pt idx="0">
                  <c:v>5.1212597684515195</c:v>
                </c:pt>
                <c:pt idx="1">
                  <c:v>5.217416315049227</c:v>
                </c:pt>
                <c:pt idx="2">
                  <c:v>4.026334210526315</c:v>
                </c:pt>
                <c:pt idx="3">
                  <c:v>4.379732919254659</c:v>
                </c:pt>
                <c:pt idx="4">
                  <c:v>6.1800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2.81</c:v>
                </c:pt>
                <c:pt idx="1">
                  <c:v>Av Price/Unit 12.55</c:v>
                </c:pt>
                <c:pt idx="2">
                  <c:v>Av Price/Unit 12.12</c:v>
                </c:pt>
                <c:pt idx="3">
                  <c:v>Av Price/Unit 14.25</c:v>
                </c:pt>
                <c:pt idx="4">
                  <c:v>Av Price/Unit 20.14</c:v>
                </c:pt>
              </c:strCache>
            </c:strRef>
          </c:cat>
          <c:val>
            <c:numRef>
              <c:f>Sheet1!$C$2:$C$6</c:f>
              <c:numCache>
                <c:formatCode>General</c:formatCode>
                <c:ptCount val="5"/>
                <c:pt idx="0">
                  <c:v>4.974106657018813</c:v>
                </c:pt>
                <c:pt idx="1">
                  <c:v>4.809517158931084</c:v>
                </c:pt>
                <c:pt idx="2">
                  <c:v>6.0394736842105265</c:v>
                </c:pt>
                <c:pt idx="3">
                  <c:v>7.009685093167703</c:v>
                </c:pt>
                <c:pt idx="4">
                  <c:v>10.0699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2.81</c:v>
                </c:pt>
                <c:pt idx="1">
                  <c:v>Av Price/Unit 12.55</c:v>
                </c:pt>
                <c:pt idx="2">
                  <c:v>Av Price/Unit 12.12</c:v>
                </c:pt>
                <c:pt idx="3">
                  <c:v>Av Price/Unit 14.25</c:v>
                </c:pt>
                <c:pt idx="4">
                  <c:v>Av Price/Unit 20.14</c:v>
                </c:pt>
              </c:strCache>
            </c:strRef>
          </c:cat>
          <c:val>
            <c:numRef>
              <c:f>Sheet1!$D$2:$D$6</c:f>
              <c:numCache>
                <c:formatCode>General</c:formatCode>
                <c:ptCount val="5"/>
                <c:pt idx="0">
                  <c:v>0.5759584177520516</c:v>
                </c:pt>
                <c:pt idx="1">
                  <c:v>0.4305598843569314</c:v>
                </c:pt>
                <c:pt idx="2">
                  <c:v>0.038358771929821955</c:v>
                </c:pt>
                <c:pt idx="3">
                  <c:v>0.4842879917184284</c:v>
                </c:pt>
                <c:pt idx="4">
                  <c:v>0.551801801801801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2.81</c:v>
                </c:pt>
                <c:pt idx="1">
                  <c:v>Av Price/Unit 12.55</c:v>
                </c:pt>
                <c:pt idx="2">
                  <c:v>Av Price/Unit 12.12</c:v>
                </c:pt>
                <c:pt idx="3">
                  <c:v>Av Price/Unit 14.25</c:v>
                </c:pt>
                <c:pt idx="4">
                  <c:v>Av Price/Unit 20.14</c:v>
                </c:pt>
              </c:strCache>
            </c:strRef>
          </c:cat>
          <c:val>
            <c:numRef>
              <c:f>Sheet1!$E$2:$E$6</c:f>
              <c:numCache>
                <c:formatCode>General</c:formatCode>
                <c:ptCount val="5"/>
                <c:pt idx="0">
                  <c:v>2.134273999035214</c:v>
                </c:pt>
                <c:pt idx="1">
                  <c:v>2.091498671667447</c:v>
                </c:pt>
                <c:pt idx="2">
                  <c:v>2.0208333333333335</c:v>
                </c:pt>
                <c:pt idx="3">
                  <c:v>2.3747412008281557</c:v>
                </c:pt>
                <c:pt idx="4">
                  <c:v>3.360360360360361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1</c:v>
                </c:pt>
                <c:pt idx="1">
                  <c:v>Av Price/Unit 12.58</c:v>
                </c:pt>
              </c:strCache>
            </c:strRef>
          </c:cat>
          <c:val>
            <c:numRef>
              <c:f>Sheet1!$B$2:$B$3</c:f>
              <c:numCache>
                <c:formatCode>General</c:formatCode>
                <c:ptCount val="2"/>
                <c:pt idx="0">
                  <c:v>5.116732165812089</c:v>
                </c:pt>
                <c:pt idx="1">
                  <c:v>5.2288499305233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1</c:v>
                </c:pt>
                <c:pt idx="1">
                  <c:v>Av Price/Unit 12.58</c:v>
                </c:pt>
              </c:strCache>
            </c:strRef>
          </c:cat>
          <c:val>
            <c:numRef>
              <c:f>Sheet1!$C$2:$C$3</c:f>
              <c:numCache>
                <c:formatCode>General</c:formatCode>
                <c:ptCount val="2"/>
                <c:pt idx="0">
                  <c:v>4.967727486098072</c:v>
                </c:pt>
                <c:pt idx="1">
                  <c:v>4.81752848540991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1</c:v>
                </c:pt>
                <c:pt idx="1">
                  <c:v>Av Price/Unit 12.58</c:v>
                </c:pt>
              </c:strCache>
            </c:strRef>
          </c:cat>
          <c:val>
            <c:numRef>
              <c:f>Sheet1!$D$2:$D$3</c:f>
              <c:numCache>
                <c:formatCode>General</c:formatCode>
                <c:ptCount val="2"/>
                <c:pt idx="0">
                  <c:v>0.5876038179148306</c:v>
                </c:pt>
                <c:pt idx="1">
                  <c:v>0.438220935618341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1</c:v>
                </c:pt>
                <c:pt idx="1">
                  <c:v>Av Price/Unit 12.58</c:v>
                </c:pt>
              </c:strCache>
            </c:strRef>
          </c:cat>
          <c:val>
            <c:numRef>
              <c:f>Sheet1!$E$2:$E$3</c:f>
              <c:numCache>
                <c:formatCode>General</c:formatCode>
                <c:ptCount val="2"/>
                <c:pt idx="0">
                  <c:v>2.1344214149876013</c:v>
                </c:pt>
                <c:pt idx="1">
                  <c:v>2.09691987031032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3.07</c:v>
                </c:pt>
                <c:pt idx="1">
                  <c:v>Av Price/Unit 12.90</c:v>
                </c:pt>
              </c:strCache>
            </c:strRef>
          </c:cat>
          <c:val>
            <c:numRef>
              <c:f>Sheet1!$B$2:$B$3</c:f>
              <c:numCache>
                <c:formatCode>General</c:formatCode>
                <c:ptCount val="2"/>
                <c:pt idx="0">
                  <c:v>5.1243916218779635</c:v>
                </c:pt>
                <c:pt idx="1">
                  <c:v>5.23584995808885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3.07</c:v>
                </c:pt>
                <c:pt idx="1">
                  <c:v>Av Price/Unit 12.90</c:v>
                </c:pt>
              </c:strCache>
            </c:strRef>
          </c:cat>
          <c:val>
            <c:numRef>
              <c:f>Sheet1!$C$2:$C$3</c:f>
              <c:numCache>
                <c:formatCode>General</c:formatCode>
                <c:ptCount val="2"/>
                <c:pt idx="0">
                  <c:v>4.978519285488461</c:v>
                </c:pt>
                <c:pt idx="1">
                  <c:v>4.8224332774518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3.07</c:v>
                </c:pt>
                <c:pt idx="1">
                  <c:v>Av Price/Unit 12.90</c:v>
                </c:pt>
              </c:strCache>
            </c:strRef>
          </c:cat>
          <c:val>
            <c:numRef>
              <c:f>Sheet1!$D$2:$D$3</c:f>
              <c:numCache>
                <c:formatCode>General</c:formatCode>
                <c:ptCount val="2"/>
                <c:pt idx="0">
                  <c:v>0.7859668879755528</c:v>
                </c:pt>
                <c:pt idx="1">
                  <c:v>0.69332335848002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3.07</c:v>
                </c:pt>
                <c:pt idx="1">
                  <c:v>Av Price/Unit 12.90</c:v>
                </c:pt>
              </c:strCache>
            </c:strRef>
          </c:cat>
          <c:val>
            <c:numRef>
              <c:f>Sheet1!$E$2:$E$3</c:f>
              <c:numCache>
                <c:formatCode>General</c:formatCode>
                <c:ptCount val="2"/>
                <c:pt idx="0">
                  <c:v>2.1777848034566323</c:v>
                </c:pt>
                <c:pt idx="1">
                  <c:v>2.15032131880413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7</c:v>
                </c:pt>
                <c:pt idx="1">
                  <c:v>Av Price/Unit 12.74</c:v>
                </c:pt>
              </c:strCache>
            </c:strRef>
          </c:cat>
          <c:val>
            <c:numRef>
              <c:f>Sheet1!$B$2:$B$3</c:f>
              <c:numCache>
                <c:formatCode>General</c:formatCode>
                <c:ptCount val="2"/>
                <c:pt idx="0">
                  <c:v>5.102353673664122</c:v>
                </c:pt>
                <c:pt idx="1">
                  <c:v>5.21388386433710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7</c:v>
                </c:pt>
                <c:pt idx="1">
                  <c:v>Av Price/Unit 12.74</c:v>
                </c:pt>
              </c:strCache>
            </c:strRef>
          </c:cat>
          <c:val>
            <c:numRef>
              <c:f>Sheet1!$C$2:$C$3</c:f>
              <c:numCache>
                <c:formatCode>General</c:formatCode>
                <c:ptCount val="2"/>
                <c:pt idx="0">
                  <c:v>4.947468893129771</c:v>
                </c:pt>
                <c:pt idx="1">
                  <c:v>4.80704203494347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7</c:v>
                </c:pt>
                <c:pt idx="1">
                  <c:v>Av Price/Unit 12.74</c:v>
                </c:pt>
              </c:strCache>
            </c:strRef>
          </c:cat>
          <c:val>
            <c:numRef>
              <c:f>Sheet1!$D$2:$D$3</c:f>
              <c:numCache>
                <c:formatCode>General</c:formatCode>
                <c:ptCount val="2"/>
                <c:pt idx="0">
                  <c:v>0.6741368320610697</c:v>
                </c:pt>
                <c:pt idx="1">
                  <c:v>0.599149468996232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7</c:v>
                </c:pt>
                <c:pt idx="1">
                  <c:v>Av Price/Unit 12.74</c:v>
                </c:pt>
              </c:strCache>
            </c:strRef>
          </c:cat>
          <c:val>
            <c:numRef>
              <c:f>Sheet1!$E$2:$E$3</c:f>
              <c:numCache>
                <c:formatCode>General</c:formatCode>
                <c:ptCount val="2"/>
                <c:pt idx="0">
                  <c:v>2.1447996183206106</c:v>
                </c:pt>
                <c:pt idx="1">
                  <c:v>2.12401507365536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4</c:v>
                </c:pt>
                <c:pt idx="1">
                  <c:v>Av Price/Unit 12.58</c:v>
                </c:pt>
              </c:strCache>
            </c:strRef>
          </c:cat>
          <c:val>
            <c:numRef>
              <c:f>Sheet1!$B$2:$B$3</c:f>
              <c:numCache>
                <c:formatCode>General</c:formatCode>
                <c:ptCount val="2"/>
                <c:pt idx="0">
                  <c:v>5.119386517280668</c:v>
                </c:pt>
                <c:pt idx="1">
                  <c:v>5.22616579834508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4</c:v>
                </c:pt>
                <c:pt idx="1">
                  <c:v>Av Price/Unit 12.58</c:v>
                </c:pt>
              </c:strCache>
            </c:strRef>
          </c:cat>
          <c:val>
            <c:numRef>
              <c:f>Sheet1!$C$2:$C$3</c:f>
              <c:numCache>
                <c:formatCode>General</c:formatCode>
                <c:ptCount val="2"/>
                <c:pt idx="0">
                  <c:v>4.971467337637677</c:v>
                </c:pt>
                <c:pt idx="1">
                  <c:v>4.81564776279497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4</c:v>
                </c:pt>
                <c:pt idx="1">
                  <c:v>Av Price/Unit 12.58</c:v>
                </c:pt>
              </c:strCache>
            </c:strRef>
          </c:cat>
          <c:val>
            <c:numRef>
              <c:f>Sheet1!$D$2:$D$3</c:f>
              <c:numCache>
                <c:formatCode>General</c:formatCode>
                <c:ptCount val="2"/>
                <c:pt idx="0">
                  <c:v>0.608161640714016</c:v>
                </c:pt>
                <c:pt idx="1">
                  <c:v>0.439338752681582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4</c:v>
                </c:pt>
                <c:pt idx="1">
                  <c:v>Av Price/Unit 12.58</c:v>
                </c:pt>
              </c:strCache>
            </c:strRef>
          </c:cat>
          <c:val>
            <c:numRef>
              <c:f>Sheet1!$E$2:$E$3</c:f>
              <c:numCache>
                <c:formatCode>General</c:formatCode>
                <c:ptCount val="2"/>
                <c:pt idx="0">
                  <c:v>2.1398120015191795</c:v>
                </c:pt>
                <c:pt idx="1">
                  <c:v>2.09623046276432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72</c:v>
                </c:pt>
                <c:pt idx="1">
                  <c:v>Av Price/Unit 12.22</c:v>
                </c:pt>
              </c:strCache>
            </c:strRef>
          </c:cat>
          <c:val>
            <c:numRef>
              <c:f>Sheet1!$B$2:$B$3</c:f>
              <c:numCache>
                <c:formatCode>General</c:formatCode>
                <c:ptCount val="2"/>
                <c:pt idx="0">
                  <c:v>5.0957501417769375</c:v>
                </c:pt>
                <c:pt idx="1">
                  <c:v>5.1615304659498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72</c:v>
                </c:pt>
                <c:pt idx="1">
                  <c:v>Av Price/Unit 12.22</c:v>
                </c:pt>
              </c:strCache>
            </c:strRef>
          </c:cat>
          <c:val>
            <c:numRef>
              <c:f>Sheet1!$C$2:$C$3</c:f>
              <c:numCache>
                <c:formatCode>General</c:formatCode>
                <c:ptCount val="2"/>
                <c:pt idx="0">
                  <c:v>4.938164839319471</c:v>
                </c:pt>
                <c:pt idx="1">
                  <c:v>4.77035896057347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72</c:v>
                </c:pt>
                <c:pt idx="1">
                  <c:v>Av Price/Unit 12.22</c:v>
                </c:pt>
              </c:strCache>
            </c:strRef>
          </c:cat>
          <c:val>
            <c:numRef>
              <c:f>Sheet1!$D$2:$D$3</c:f>
              <c:numCache>
                <c:formatCode>General</c:formatCode>
                <c:ptCount val="2"/>
                <c:pt idx="0">
                  <c:v>0.5650561436672952</c:v>
                </c:pt>
                <c:pt idx="1">
                  <c:v>0.2503089008363197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72</c:v>
                </c:pt>
                <c:pt idx="1">
                  <c:v>Av Price/Unit 12.22</c:v>
                </c:pt>
              </c:strCache>
            </c:strRef>
          </c:cat>
          <c:val>
            <c:numRef>
              <c:f>Sheet1!$E$2:$E$3</c:f>
              <c:numCache>
                <c:formatCode>General</c:formatCode>
                <c:ptCount val="2"/>
                <c:pt idx="0">
                  <c:v>2.1198015122873346</c:v>
                </c:pt>
                <c:pt idx="1">
                  <c:v>2.03643966547192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532B957-7D32-4112-AA09-05953A7AA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05113EC-8943-4878-8768-8FD01A120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CB150F4-3E96-4205-BE31-C3EC32669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CA37F22-665A-4DE1-AABA-BA335F011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43C9B9C-461C-45B9-BCB3-425F66E66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40BD996-2725-49B9-9123-860633AE8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F9BEC33-A330-45C8-A78F-23E4FF92F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77CE2EA-B87D-4C21-8387-94D1E773C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45.3296</c:v>
                </c:pt>
                <c:pt idx="1">
                  <c:v>178.2736</c:v>
                </c:pt>
                <c:pt idx="2">
                  <c:v>107.0124</c:v>
                </c:pt>
                <c:pt idx="3">
                  <c:v>146.2797</c:v>
                </c:pt>
                <c:pt idx="4">
                  <c:v>144.8124</c:v>
                </c:pt>
              </c:numCache>
            </c:numRef>
          </c:xVal>
          <c:yVal>
            <c:numRef>
              <c:f>Sheet1!$B$2:$B$6</c:f>
              <c:numCache>
                <c:formatCode>General</c:formatCode>
                <c:ptCount val="5"/>
                <c:pt idx="0">
                  <c:v>0.3792</c:v>
                </c:pt>
                <c:pt idx="1">
                  <c:v>0.3713</c:v>
                </c:pt>
                <c:pt idx="2">
                  <c:v>0.3878</c:v>
                </c:pt>
                <c:pt idx="3">
                  <c:v>0.3705</c:v>
                </c:pt>
                <c:pt idx="4">
                  <c:v>0.3729</c:v>
                </c:pt>
              </c:numCache>
            </c:numRef>
          </c:yVal>
          <c:bubbleSize>
            <c:numRef>
              <c:f>Sheet1!$C$2:$C$6</c:f>
              <c:numCache>
                <c:formatCode>General</c:formatCode>
                <c:ptCount val="5"/>
                <c:pt idx="0">
                  <c:v>1378741.798600002</c:v>
                </c:pt>
                <c:pt idx="1">
                  <c:v>263844.9471</c:v>
                </c:pt>
                <c:pt idx="2">
                  <c:v>49760.777699999955</c:v>
                </c:pt>
                <c:pt idx="3">
                  <c:v>116877.50119999997</c:v>
                </c:pt>
                <c:pt idx="4">
                  <c:v>45905.5174999999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3.92831999999999"/>
          <c:min val="85.6099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776030927488227"/>
        <c:crossBetween val="midCat"/>
      </c:valAx>
      <c:valAx>
        <c:axId val="1011451359"/>
        <c:scaling>
          <c:orientation val="minMax"/>
          <c:max val="0.82536"/>
          <c:min val="0.05640000000000000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9.0343081540877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67</c:v>
                </c:pt>
                <c:pt idx="1">
                  <c:v>Av Price/Unit 12.64</c:v>
                </c:pt>
              </c:strCache>
            </c:strRef>
          </c:cat>
          <c:val>
            <c:numRef>
              <c:f>Sheet1!$B$2:$B$3</c:f>
              <c:numCache>
                <c:formatCode>General</c:formatCode>
                <c:ptCount val="2"/>
                <c:pt idx="0">
                  <c:v>5.088856100981767</c:v>
                </c:pt>
                <c:pt idx="1">
                  <c:v>5.2172082429501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67</c:v>
                </c:pt>
                <c:pt idx="1">
                  <c:v>Av Price/Unit 12.64</c:v>
                </c:pt>
              </c:strCache>
            </c:strRef>
          </c:cat>
          <c:val>
            <c:numRef>
              <c:f>Sheet1!$C$2:$C$3</c:f>
              <c:numCache>
                <c:formatCode>General</c:formatCode>
                <c:ptCount val="2"/>
                <c:pt idx="0">
                  <c:v>4.928451472650771</c:v>
                </c:pt>
                <c:pt idx="1">
                  <c:v>4.8093713665943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67</c:v>
                </c:pt>
                <c:pt idx="1">
                  <c:v>Av Price/Unit 12.64</c:v>
                </c:pt>
              </c:strCache>
            </c:strRef>
          </c:cat>
          <c:val>
            <c:numRef>
              <c:f>Sheet1!$D$2:$D$3</c:f>
              <c:numCache>
                <c:formatCode>General</c:formatCode>
                <c:ptCount val="2"/>
                <c:pt idx="0">
                  <c:v>0.5401618513324014</c:v>
                </c:pt>
                <c:pt idx="1">
                  <c:v>0.506681417208966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67</c:v>
                </c:pt>
                <c:pt idx="1">
                  <c:v>Av Price/Unit 12.64</c:v>
                </c:pt>
              </c:strCache>
            </c:strRef>
          </c:cat>
          <c:val>
            <c:numRef>
              <c:f>Sheet1!$E$2:$E$3</c:f>
              <c:numCache>
                <c:formatCode>General</c:formatCode>
                <c:ptCount val="2"/>
                <c:pt idx="0">
                  <c:v>2.111500701262271</c:v>
                </c:pt>
                <c:pt idx="1">
                  <c:v>2.106652205350685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76</c:v>
                </c:pt>
                <c:pt idx="1">
                  <c:v>Av Price/Unit 12.49</c:v>
                </c:pt>
              </c:strCache>
            </c:strRef>
          </c:cat>
          <c:val>
            <c:numRef>
              <c:f>Sheet1!$B$2:$B$3</c:f>
              <c:numCache>
                <c:formatCode>General</c:formatCode>
                <c:ptCount val="2"/>
                <c:pt idx="0">
                  <c:v>5.1216126317374275</c:v>
                </c:pt>
                <c:pt idx="1">
                  <c:v>5.23107139545665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76</c:v>
                </c:pt>
                <c:pt idx="1">
                  <c:v>Av Price/Unit 12.49</c:v>
                </c:pt>
              </c:strCache>
            </c:strRef>
          </c:cat>
          <c:val>
            <c:numRef>
              <c:f>Sheet1!$C$2:$C$3</c:f>
              <c:numCache>
                <c:formatCode>General</c:formatCode>
                <c:ptCount val="2"/>
                <c:pt idx="0">
                  <c:v>4.974603824149352</c:v>
                </c:pt>
                <c:pt idx="1">
                  <c:v>4.81908502549837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76</c:v>
                </c:pt>
                <c:pt idx="1">
                  <c:v>Av Price/Unit 12.49</c:v>
                </c:pt>
              </c:strCache>
            </c:strRef>
          </c:cat>
          <c:val>
            <c:numRef>
              <c:f>Sheet1!$D$2:$D$3</c:f>
              <c:numCache>
                <c:formatCode>General</c:formatCode>
                <c:ptCount val="2"/>
                <c:pt idx="0">
                  <c:v>0.5400927832982045</c:v>
                </c:pt>
                <c:pt idx="1">
                  <c:v>0.356658599907277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76</c:v>
                </c:pt>
                <c:pt idx="1">
                  <c:v>Av Price/Unit 12.49</c:v>
                </c:pt>
              </c:strCache>
            </c:strRef>
          </c:cat>
          <c:val>
            <c:numRef>
              <c:f>Sheet1!$E$2:$E$3</c:f>
              <c:numCache>
                <c:formatCode>General</c:formatCode>
                <c:ptCount val="2"/>
                <c:pt idx="0">
                  <c:v>2.1272709023386525</c:v>
                </c:pt>
                <c:pt idx="1">
                  <c:v>2.081363004172461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2.83</c:v>
                </c:pt>
                <c:pt idx="1">
                  <c:v>Av Price/Unit 12.50</c:v>
                </c:pt>
                <c:pt idx="2">
                  <c:v>Av Price/Unit 12.08</c:v>
                </c:pt>
                <c:pt idx="3">
                  <c:v>Av Price/Unit 22.16</c:v>
                </c:pt>
                <c:pt idx="4">
                  <c:v>Av Price/Unit 18.55</c:v>
                </c:pt>
                <c:pt idx="5">
                  <c:v>Av Price/Unit 14.25</c:v>
                </c:pt>
                <c:pt idx="6">
                  <c:v>Av Price/Unit 20.07</c:v>
                </c:pt>
              </c:strCache>
            </c:strRef>
          </c:cat>
          <c:val>
            <c:numRef>
              <c:f>Sheet1!$B$2:$B$8</c:f>
              <c:numCache>
                <c:formatCode>General</c:formatCode>
                <c:ptCount val="7"/>
                <c:pt idx="0">
                  <c:v>5.112365545224006</c:v>
                </c:pt>
                <c:pt idx="1">
                  <c:v>5.215860215053763</c:v>
                </c:pt>
                <c:pt idx="2">
                  <c:v>4.022146723646723</c:v>
                </c:pt>
                <c:pt idx="3">
                  <c:v>7.166699999999999</c:v>
                </c:pt>
                <c:pt idx="4">
                  <c:v>5.436700000000001</c:v>
                </c:pt>
                <c:pt idx="5">
                  <c:v>4.379732919254659</c:v>
                </c:pt>
                <c:pt idx="6">
                  <c:v>6.1800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2.83</c:v>
                </c:pt>
                <c:pt idx="1">
                  <c:v>Av Price/Unit 12.50</c:v>
                </c:pt>
                <c:pt idx="2">
                  <c:v>Av Price/Unit 12.08</c:v>
                </c:pt>
                <c:pt idx="3">
                  <c:v>Av Price/Unit 22.16</c:v>
                </c:pt>
                <c:pt idx="4">
                  <c:v>Av Price/Unit 18.55</c:v>
                </c:pt>
                <c:pt idx="5">
                  <c:v>Av Price/Unit 14.25</c:v>
                </c:pt>
                <c:pt idx="6">
                  <c:v>Av Price/Unit 20.07</c:v>
                </c:pt>
              </c:strCache>
            </c:strRef>
          </c:cat>
          <c:val>
            <c:numRef>
              <c:f>Sheet1!$C$2:$C$8</c:f>
              <c:numCache>
                <c:formatCode>General</c:formatCode>
                <c:ptCount val="7"/>
                <c:pt idx="0">
                  <c:v>4.9615751310228235</c:v>
                </c:pt>
                <c:pt idx="1">
                  <c:v>4.808426827956989</c:v>
                </c:pt>
                <c:pt idx="2">
                  <c:v>6.033190883190883</c:v>
                </c:pt>
                <c:pt idx="3">
                  <c:v>10.75</c:v>
                </c:pt>
                <c:pt idx="4">
                  <c:v>9.229999999999999</c:v>
                </c:pt>
                <c:pt idx="5">
                  <c:v>7.009685093167703</c:v>
                </c:pt>
                <c:pt idx="6">
                  <c:v>10.0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2.83</c:v>
                </c:pt>
                <c:pt idx="1">
                  <c:v>Av Price/Unit 12.50</c:v>
                </c:pt>
                <c:pt idx="2">
                  <c:v>Av Price/Unit 12.08</c:v>
                </c:pt>
                <c:pt idx="3">
                  <c:v>Av Price/Unit 22.16</c:v>
                </c:pt>
                <c:pt idx="4">
                  <c:v>Av Price/Unit 18.55</c:v>
                </c:pt>
                <c:pt idx="5">
                  <c:v>Av Price/Unit 14.25</c:v>
                </c:pt>
                <c:pt idx="6">
                  <c:v>Av Price/Unit 20.07</c:v>
                </c:pt>
              </c:strCache>
            </c:strRef>
          </c:cat>
          <c:val>
            <c:numRef>
              <c:f>Sheet1!$D$2:$D$8</c:f>
              <c:numCache>
                <c:formatCode>General</c:formatCode>
                <c:ptCount val="7"/>
                <c:pt idx="0">
                  <c:v>0.6170569399830956</c:v>
                </c:pt>
                <c:pt idx="1">
                  <c:v>0.3946197670250893</c:v>
                </c:pt>
                <c:pt idx="2">
                  <c:v>0.014304685026907293</c:v>
                </c:pt>
                <c:pt idx="3">
                  <c:v>0.5493033167495867</c:v>
                </c:pt>
                <c:pt idx="4">
                  <c:v>0.794158585858586</c:v>
                </c:pt>
                <c:pt idx="5">
                  <c:v>0.4842879917184284</c:v>
                </c:pt>
                <c:pt idx="6">
                  <c:v>0.4263565891472893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2.83</c:v>
                </c:pt>
                <c:pt idx="1">
                  <c:v>Av Price/Unit 12.50</c:v>
                </c:pt>
                <c:pt idx="2">
                  <c:v>Av Price/Unit 12.08</c:v>
                </c:pt>
                <c:pt idx="3">
                  <c:v>Av Price/Unit 22.16</c:v>
                </c:pt>
                <c:pt idx="4">
                  <c:v>Av Price/Unit 18.55</c:v>
                </c:pt>
                <c:pt idx="5">
                  <c:v>Av Price/Unit 14.25</c:v>
                </c:pt>
                <c:pt idx="6">
                  <c:v>Av Price/Unit 20.07</c:v>
                </c:pt>
              </c:strCache>
            </c:strRef>
          </c:cat>
          <c:val>
            <c:numRef>
              <c:f>Sheet1!$E$2:$E$8</c:f>
              <c:numCache>
                <c:formatCode>General</c:formatCode>
                <c:ptCount val="7"/>
                <c:pt idx="0">
                  <c:v>2.1382079459002523</c:v>
                </c:pt>
                <c:pt idx="1">
                  <c:v>2.083781362007168</c:v>
                </c:pt>
                <c:pt idx="2">
                  <c:v>2.0139284583729022</c:v>
                </c:pt>
                <c:pt idx="3">
                  <c:v>3.6932006633499155</c:v>
                </c:pt>
                <c:pt idx="4">
                  <c:v>3.0921717171717176</c:v>
                </c:pt>
                <c:pt idx="5">
                  <c:v>2.3747412008281557</c:v>
                </c:pt>
                <c:pt idx="6">
                  <c:v>3.335271317829456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0</c:v>
                </c:pt>
                <c:pt idx="1">
                  <c:v>Av Price/Unit 12.69</c:v>
                </c:pt>
              </c:strCache>
            </c:strRef>
          </c:cat>
          <c:val>
            <c:numRef>
              <c:f>Sheet1!$B$2:$B$3</c:f>
              <c:numCache>
                <c:formatCode>General</c:formatCode>
                <c:ptCount val="2"/>
                <c:pt idx="0">
                  <c:v>5.113636578859619</c:v>
                </c:pt>
                <c:pt idx="1">
                  <c:v>5.208112692763938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0</c:v>
                </c:pt>
                <c:pt idx="1">
                  <c:v>Av Price/Unit 12.69</c:v>
                </c:pt>
              </c:strCache>
            </c:strRef>
          </c:cat>
          <c:val>
            <c:numRef>
              <c:f>Sheet1!$C$2:$C$3</c:f>
              <c:numCache>
                <c:formatCode>General</c:formatCode>
                <c:ptCount val="2"/>
                <c:pt idx="0">
                  <c:v>4.96336595531844</c:v>
                </c:pt>
                <c:pt idx="1">
                  <c:v>4.80299827995255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0</c:v>
                </c:pt>
                <c:pt idx="1">
                  <c:v>Av Price/Unit 12.69</c:v>
                </c:pt>
              </c:strCache>
            </c:strRef>
          </c:cat>
          <c:val>
            <c:numRef>
              <c:f>Sheet1!$D$2:$D$3</c:f>
              <c:numCache>
                <c:formatCode>General</c:formatCode>
                <c:ptCount val="2"/>
                <c:pt idx="0">
                  <c:v>0.5929004557074595</c:v>
                </c:pt>
                <c:pt idx="1">
                  <c:v>0.563226710162123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12.80</c:v>
                </c:pt>
                <c:pt idx="1">
                  <c:v>Av Price/Unit 12.69</c:v>
                </c:pt>
              </c:strCache>
            </c:strRef>
          </c:cat>
          <c:val>
            <c:numRef>
              <c:f>Sheet1!$E$2:$E$3</c:f>
              <c:numCache>
                <c:formatCode>General</c:formatCode>
                <c:ptCount val="2"/>
                <c:pt idx="0">
                  <c:v>2.1339891074802697</c:v>
                </c:pt>
                <c:pt idx="1">
                  <c:v>2.1148675365757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1</c:v>
                </c:pt>
                <c:pt idx="1">
                  <c:v>Av Price/Unit 11.76</c:v>
                </c:pt>
                <c:pt idx="2">
                  <c:v>Av Price/Unit 9.11</c:v>
                </c:pt>
                <c:pt idx="3">
                  <c:v>Av Price/Unit 9.86</c:v>
                </c:pt>
                <c:pt idx="4">
                  <c:v>Av Price/Unit 9.89</c:v>
                </c:pt>
                <c:pt idx="5">
                  <c:v>Av Price/Unit 18.79</c:v>
                </c:pt>
              </c:strCache>
            </c:strRef>
          </c:cat>
          <c:val>
            <c:numRef>
              <c:f>Sheet1!$B$2:$B$7</c:f>
              <c:numCache>
                <c:formatCode>General</c:formatCode>
                <c:ptCount val="6"/>
                <c:pt idx="0">
                  <c:v>3.3558954429843153</c:v>
                </c:pt>
                <c:pt idx="1">
                  <c:v>4.89998621711745</c:v>
                </c:pt>
                <c:pt idx="2">
                  <c:v>3.990921123899797</c:v>
                </c:pt>
                <c:pt idx="3">
                  <c:v>4.022803053435116</c:v>
                </c:pt>
                <c:pt idx="4">
                  <c:v>4.326499999999999</c:v>
                </c:pt>
                <c:pt idx="5">
                  <c:v>8.087089473684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1</c:v>
                </c:pt>
                <c:pt idx="1">
                  <c:v>Av Price/Unit 11.76</c:v>
                </c:pt>
                <c:pt idx="2">
                  <c:v>Av Price/Unit 9.11</c:v>
                </c:pt>
                <c:pt idx="3">
                  <c:v>Av Price/Unit 9.86</c:v>
                </c:pt>
                <c:pt idx="4">
                  <c:v>Av Price/Unit 9.89</c:v>
                </c:pt>
                <c:pt idx="5">
                  <c:v>Av Price/Unit 18.79</c:v>
                </c:pt>
              </c:strCache>
            </c:strRef>
          </c:cat>
          <c:val>
            <c:numRef>
              <c:f>Sheet1!$C$2:$C$7</c:f>
              <c:numCache>
                <c:formatCode>General</c:formatCode>
                <c:ptCount val="6"/>
                <c:pt idx="0">
                  <c:v>2.5789479440440863</c:v>
                </c:pt>
                <c:pt idx="1">
                  <c:v>4.5774558725453875</c:v>
                </c:pt>
                <c:pt idx="2">
                  <c:v>3.2043480027081923</c:v>
                </c:pt>
                <c:pt idx="3">
                  <c:v>3.8160160305343513</c:v>
                </c:pt>
                <c:pt idx="4">
                  <c:v>3.5724</c:v>
                </c:pt>
                <c:pt idx="5">
                  <c:v>6.85147368421052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1</c:v>
                </c:pt>
                <c:pt idx="1">
                  <c:v>Av Price/Unit 11.76</c:v>
                </c:pt>
                <c:pt idx="2">
                  <c:v>Av Price/Unit 9.11</c:v>
                </c:pt>
                <c:pt idx="3">
                  <c:v>Av Price/Unit 9.86</c:v>
                </c:pt>
                <c:pt idx="4">
                  <c:v>Av Price/Unit 9.89</c:v>
                </c:pt>
                <c:pt idx="5">
                  <c:v>Av Price/Unit 18.79</c:v>
                </c:pt>
              </c:strCache>
            </c:strRef>
          </c:cat>
          <c:val>
            <c:numRef>
              <c:f>Sheet1!$D$2:$D$7</c:f>
              <c:numCache>
                <c:formatCode>General</c:formatCode>
                <c:ptCount val="6"/>
                <c:pt idx="0">
                  <c:v>0.23849983750176662</c:v>
                </c:pt>
                <c:pt idx="1">
                  <c:v>0.32557674447326335</c:v>
                </c:pt>
                <c:pt idx="2">
                  <c:v>0.39293519145414724</c:v>
                </c:pt>
                <c:pt idx="3">
                  <c:v>0.38001043256997313</c:v>
                </c:pt>
                <c:pt idx="4">
                  <c:v>0.3201542483660136</c:v>
                </c:pt>
                <c:pt idx="5">
                  <c:v>0.719331578947366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1</c:v>
                </c:pt>
                <c:pt idx="1">
                  <c:v>Av Price/Unit 11.76</c:v>
                </c:pt>
                <c:pt idx="2">
                  <c:v>Av Price/Unit 9.11</c:v>
                </c:pt>
                <c:pt idx="3">
                  <c:v>Av Price/Unit 9.86</c:v>
                </c:pt>
                <c:pt idx="4">
                  <c:v>Av Price/Unit 9.89</c:v>
                </c:pt>
                <c:pt idx="5">
                  <c:v>Av Price/Unit 18.79</c:v>
                </c:pt>
              </c:strCache>
            </c:strRef>
          </c:cat>
          <c:val>
            <c:numRef>
              <c:f>Sheet1!$E$2:$E$7</c:f>
              <c:numCache>
                <c:formatCode>General</c:formatCode>
                <c:ptCount val="6"/>
                <c:pt idx="0">
                  <c:v>1.2346686449060331</c:v>
                </c:pt>
                <c:pt idx="1">
                  <c:v>1.9606026923551911</c:v>
                </c:pt>
                <c:pt idx="2">
                  <c:v>1.5176408636124288</c:v>
                </c:pt>
                <c:pt idx="3">
                  <c:v>1.6437659033078895</c:v>
                </c:pt>
                <c:pt idx="4">
                  <c:v>1.643790849673202</c:v>
                </c:pt>
                <c:pt idx="5">
                  <c:v>3.131578947368421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55</c:v>
                </c:pt>
                <c:pt idx="1">
                  <c:v>Av Price/Unit 11.80</c:v>
                </c:pt>
                <c:pt idx="2">
                  <c:v>Av Price/Unit 9.14</c:v>
                </c:pt>
                <c:pt idx="3">
                  <c:v>Av Price/Unit 9.91</c:v>
                </c:pt>
                <c:pt idx="4">
                  <c:v>Av Price/Unit 9.93</c:v>
                </c:pt>
                <c:pt idx="5">
                  <c:v>Av Price/Unit 19.24</c:v>
                </c:pt>
              </c:strCache>
            </c:strRef>
          </c:cat>
          <c:val>
            <c:numRef>
              <c:f>Sheet1!$B$2:$B$7</c:f>
              <c:numCache>
                <c:formatCode>General</c:formatCode>
                <c:ptCount val="6"/>
                <c:pt idx="0">
                  <c:v>3.3659155306298527</c:v>
                </c:pt>
                <c:pt idx="1">
                  <c:v>4.9014456140350875</c:v>
                </c:pt>
                <c:pt idx="2">
                  <c:v>4.035593922393643</c:v>
                </c:pt>
                <c:pt idx="3">
                  <c:v>4.029300628930818</c:v>
                </c:pt>
                <c:pt idx="4">
                  <c:v>4.3265</c:v>
                </c:pt>
                <c:pt idx="5">
                  <c:v>8.12709104477611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55</c:v>
                </c:pt>
                <c:pt idx="1">
                  <c:v>Av Price/Unit 11.80</c:v>
                </c:pt>
                <c:pt idx="2">
                  <c:v>Av Price/Unit 9.14</c:v>
                </c:pt>
                <c:pt idx="3">
                  <c:v>Av Price/Unit 9.91</c:v>
                </c:pt>
                <c:pt idx="4">
                  <c:v>Av Price/Unit 9.93</c:v>
                </c:pt>
                <c:pt idx="5">
                  <c:v>Av Price/Unit 19.24</c:v>
                </c:pt>
              </c:strCache>
            </c:strRef>
          </c:cat>
          <c:val>
            <c:numRef>
              <c:f>Sheet1!$C$2:$C$7</c:f>
              <c:numCache>
                <c:formatCode>General</c:formatCode>
                <c:ptCount val="6"/>
                <c:pt idx="0">
                  <c:v>2.5863366695427095</c:v>
                </c:pt>
                <c:pt idx="1">
                  <c:v>4.578643062200957</c:v>
                </c:pt>
                <c:pt idx="2">
                  <c:v>3.2408884057971012</c:v>
                </c:pt>
                <c:pt idx="3">
                  <c:v>3.8220450733752624</c:v>
                </c:pt>
                <c:pt idx="4">
                  <c:v>3.5723999999999996</c:v>
                </c:pt>
                <c:pt idx="5">
                  <c:v>6.89277611940298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55</c:v>
                </c:pt>
                <c:pt idx="1">
                  <c:v>Av Price/Unit 11.80</c:v>
                </c:pt>
                <c:pt idx="2">
                  <c:v>Av Price/Unit 9.14</c:v>
                </c:pt>
                <c:pt idx="3">
                  <c:v>Av Price/Unit 9.91</c:v>
                </c:pt>
                <c:pt idx="4">
                  <c:v>Av Price/Unit 9.93</c:v>
                </c:pt>
                <c:pt idx="5">
                  <c:v>Av Price/Unit 19.24</c:v>
                </c:pt>
              </c:strCache>
            </c:strRef>
          </c:cat>
          <c:val>
            <c:numRef>
              <c:f>Sheet1!$D$2:$D$7</c:f>
              <c:numCache>
                <c:formatCode>General</c:formatCode>
                <c:ptCount val="6"/>
                <c:pt idx="0">
                  <c:v>0.341427696289907</c:v>
                </c:pt>
                <c:pt idx="1">
                  <c:v>0.3534448165869222</c:v>
                </c:pt>
                <c:pt idx="2">
                  <c:v>0.3431218482156764</c:v>
                </c:pt>
                <c:pt idx="3">
                  <c:v>0.4103593990216634</c:v>
                </c:pt>
                <c:pt idx="4">
                  <c:v>0.35462465753424866</c:v>
                </c:pt>
                <c:pt idx="5">
                  <c:v>1.0124711442786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55</c:v>
                </c:pt>
                <c:pt idx="1">
                  <c:v>Av Price/Unit 11.80</c:v>
                </c:pt>
                <c:pt idx="2">
                  <c:v>Av Price/Unit 9.14</c:v>
                </c:pt>
                <c:pt idx="3">
                  <c:v>Av Price/Unit 9.91</c:v>
                </c:pt>
                <c:pt idx="4">
                  <c:v>Av Price/Unit 9.93</c:v>
                </c:pt>
                <c:pt idx="5">
                  <c:v>Av Price/Unit 19.24</c:v>
                </c:pt>
              </c:strCache>
            </c:strRef>
          </c:cat>
          <c:val>
            <c:numRef>
              <c:f>Sheet1!$E$2:$E$7</c:f>
              <c:numCache>
                <c:formatCode>General</c:formatCode>
                <c:ptCount val="6"/>
                <c:pt idx="0">
                  <c:v>1.258735979292492</c:v>
                </c:pt>
                <c:pt idx="1">
                  <c:v>1.96670653907496</c:v>
                </c:pt>
                <c:pt idx="2">
                  <c:v>1.5239208352812839</c:v>
                </c:pt>
                <c:pt idx="3">
                  <c:v>1.6523410202655473</c:v>
                </c:pt>
                <c:pt idx="4">
                  <c:v>1.6506849315068477</c:v>
                </c:pt>
                <c:pt idx="5">
                  <c:v>3.20646766169154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19</c:v>
                </c:pt>
                <c:pt idx="1">
                  <c:v>Av Price/Unit 11.79</c:v>
                </c:pt>
                <c:pt idx="2">
                  <c:v>Av Price/Unit 9.20</c:v>
                </c:pt>
                <c:pt idx="3">
                  <c:v>Av Price/Unit 9.95</c:v>
                </c:pt>
                <c:pt idx="4">
                  <c:v>Av Price/Unit 9.88</c:v>
                </c:pt>
                <c:pt idx="5">
                  <c:v>Av Price/Unit 18.80</c:v>
                </c:pt>
                <c:pt idx="6">
                  <c:v>Av Price/Unit 7.45</c:v>
                </c:pt>
              </c:strCache>
            </c:strRef>
          </c:cat>
          <c:val>
            <c:numRef>
              <c:f>Sheet1!$B$2:$B$8</c:f>
              <c:numCache>
                <c:formatCode>General</c:formatCode>
                <c:ptCount val="7"/>
                <c:pt idx="0">
                  <c:v>3.3443261036468326</c:v>
                </c:pt>
                <c:pt idx="1">
                  <c:v>4.891023331635253</c:v>
                </c:pt>
                <c:pt idx="2">
                  <c:v>4.104786001489202</c:v>
                </c:pt>
                <c:pt idx="3">
                  <c:v>4.015914163822526</c:v>
                </c:pt>
                <c:pt idx="4">
                  <c:v>4.326499999999999</c:v>
                </c:pt>
                <c:pt idx="5">
                  <c:v>8.108116</c:v>
                </c:pt>
                <c:pt idx="6">
                  <c:v>1.21056929460580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19</c:v>
                </c:pt>
                <c:pt idx="1">
                  <c:v>Av Price/Unit 11.79</c:v>
                </c:pt>
                <c:pt idx="2">
                  <c:v>Av Price/Unit 9.20</c:v>
                </c:pt>
                <c:pt idx="3">
                  <c:v>Av Price/Unit 9.95</c:v>
                </c:pt>
                <c:pt idx="4">
                  <c:v>Av Price/Unit 9.88</c:v>
                </c:pt>
                <c:pt idx="5">
                  <c:v>Av Price/Unit 18.80</c:v>
                </c:pt>
                <c:pt idx="6">
                  <c:v>Av Price/Unit 7.45</c:v>
                </c:pt>
              </c:strCache>
            </c:strRef>
          </c:cat>
          <c:val>
            <c:numRef>
              <c:f>Sheet1!$C$2:$C$8</c:f>
              <c:numCache>
                <c:formatCode>General</c:formatCode>
                <c:ptCount val="7"/>
                <c:pt idx="0">
                  <c:v>2.5704168138195778</c:v>
                </c:pt>
                <c:pt idx="1">
                  <c:v>4.570164747834947</c:v>
                </c:pt>
                <c:pt idx="2">
                  <c:v>3.2974845122859273</c:v>
                </c:pt>
                <c:pt idx="3">
                  <c:v>3.8096238907849824</c:v>
                </c:pt>
                <c:pt idx="4">
                  <c:v>3.572400000000001</c:v>
                </c:pt>
                <c:pt idx="5">
                  <c:v>6.873184</c:v>
                </c:pt>
                <c:pt idx="6">
                  <c:v>3.645634439834025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19</c:v>
                </c:pt>
                <c:pt idx="1">
                  <c:v>Av Price/Unit 11.79</c:v>
                </c:pt>
                <c:pt idx="2">
                  <c:v>Av Price/Unit 9.20</c:v>
                </c:pt>
                <c:pt idx="3">
                  <c:v>Av Price/Unit 9.95</c:v>
                </c:pt>
                <c:pt idx="4">
                  <c:v>Av Price/Unit 9.88</c:v>
                </c:pt>
                <c:pt idx="5">
                  <c:v>Av Price/Unit 18.80</c:v>
                </c:pt>
                <c:pt idx="6">
                  <c:v>Av Price/Unit 7.45</c:v>
                </c:pt>
              </c:strCache>
            </c:strRef>
          </c:cat>
          <c:val>
            <c:numRef>
              <c:f>Sheet1!$D$2:$D$8</c:f>
              <c:numCache>
                <c:formatCode>General</c:formatCode>
                <c:ptCount val="7"/>
                <c:pt idx="0">
                  <c:v>0.07502035828535014</c:v>
                </c:pt>
                <c:pt idx="1">
                  <c:v>0.3609713873323166</c:v>
                </c:pt>
                <c:pt idx="2">
                  <c:v>0.2677468602630917</c:v>
                </c:pt>
                <c:pt idx="3">
                  <c:v>0.46797730375426827</c:v>
                </c:pt>
                <c:pt idx="4">
                  <c:v>0.33336187433440134</c:v>
                </c:pt>
                <c:pt idx="5">
                  <c:v>0.6853666666666651</c:v>
                </c:pt>
                <c:pt idx="6">
                  <c:v>1.354060442600277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19</c:v>
                </c:pt>
                <c:pt idx="1">
                  <c:v>Av Price/Unit 11.79</c:v>
                </c:pt>
                <c:pt idx="2">
                  <c:v>Av Price/Unit 9.20</c:v>
                </c:pt>
                <c:pt idx="3">
                  <c:v>Av Price/Unit 9.95</c:v>
                </c:pt>
                <c:pt idx="4">
                  <c:v>Av Price/Unit 9.88</c:v>
                </c:pt>
                <c:pt idx="5">
                  <c:v>Av Price/Unit 18.80</c:v>
                </c:pt>
                <c:pt idx="6">
                  <c:v>Av Price/Unit 7.45</c:v>
                </c:pt>
              </c:strCache>
            </c:strRef>
          </c:cat>
          <c:val>
            <c:numRef>
              <c:f>Sheet1!$E$2:$E$8</c:f>
              <c:numCache>
                <c:formatCode>General</c:formatCode>
                <c:ptCount val="7"/>
                <c:pt idx="0">
                  <c:v>1.197952655150351</c:v>
                </c:pt>
                <c:pt idx="1">
                  <c:v>1.964425199524536</c:v>
                </c:pt>
                <c:pt idx="2">
                  <c:v>1.534003474807644</c:v>
                </c:pt>
                <c:pt idx="3">
                  <c:v>1.6587030716723534</c:v>
                </c:pt>
                <c:pt idx="4">
                  <c:v>1.6464323748668788</c:v>
                </c:pt>
                <c:pt idx="5">
                  <c:v>3.1333333333333337</c:v>
                </c:pt>
                <c:pt idx="6">
                  <c:v>1.242047026279390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47</c:v>
                </c:pt>
                <c:pt idx="1">
                  <c:v>Av Price/Unit 11.77</c:v>
                </c:pt>
                <c:pt idx="2">
                  <c:v>Av Price/Unit 9.09</c:v>
                </c:pt>
                <c:pt idx="3">
                  <c:v>Av Price/Unit 9.80</c:v>
                </c:pt>
                <c:pt idx="4">
                  <c:v>Av Price/Unit 9.86</c:v>
                </c:pt>
                <c:pt idx="5">
                  <c:v>Av Price/Unit 18.31</c:v>
                </c:pt>
                <c:pt idx="6">
                  <c:v>Av Price/Unit 15.40</c:v>
                </c:pt>
              </c:strCache>
            </c:strRef>
          </c:cat>
          <c:val>
            <c:numRef>
              <c:f>Sheet1!$B$2:$B$8</c:f>
              <c:numCache>
                <c:formatCode>General</c:formatCode>
                <c:ptCount val="7"/>
                <c:pt idx="0">
                  <c:v>3.361576254977424</c:v>
                </c:pt>
                <c:pt idx="1">
                  <c:v>4.901394004796163</c:v>
                </c:pt>
                <c:pt idx="2">
                  <c:v>3.9857341560631614</c:v>
                </c:pt>
                <c:pt idx="3">
                  <c:v>4.024758530223995</c:v>
                </c:pt>
                <c:pt idx="4">
                  <c:v>4.3265</c:v>
                </c:pt>
                <c:pt idx="5">
                  <c:v>8.126752449567723</c:v>
                </c:pt>
                <c:pt idx="6">
                  <c:v>5.228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47</c:v>
                </c:pt>
                <c:pt idx="1">
                  <c:v>Av Price/Unit 11.77</c:v>
                </c:pt>
                <c:pt idx="2">
                  <c:v>Av Price/Unit 9.09</c:v>
                </c:pt>
                <c:pt idx="3">
                  <c:v>Av Price/Unit 9.80</c:v>
                </c:pt>
                <c:pt idx="4">
                  <c:v>Av Price/Unit 9.86</c:v>
                </c:pt>
                <c:pt idx="5">
                  <c:v>Av Price/Unit 18.31</c:v>
                </c:pt>
                <c:pt idx="6">
                  <c:v>Av Price/Unit 15.40</c:v>
                </c:pt>
              </c:strCache>
            </c:strRef>
          </c:cat>
          <c:val>
            <c:numRef>
              <c:f>Sheet1!$C$2:$C$8</c:f>
              <c:numCache>
                <c:formatCode>General</c:formatCode>
                <c:ptCount val="7"/>
                <c:pt idx="0">
                  <c:v>2.58313692540944</c:v>
                </c:pt>
                <c:pt idx="1">
                  <c:v>4.57860107913669</c:v>
                </c:pt>
                <c:pt idx="2">
                  <c:v>3.200105288977465</c:v>
                </c:pt>
                <c:pt idx="3">
                  <c:v>3.8178305001534203</c:v>
                </c:pt>
                <c:pt idx="4">
                  <c:v>3.5723999999999996</c:v>
                </c:pt>
                <c:pt idx="5">
                  <c:v>6.8924265129683</c:v>
                </c:pt>
                <c:pt idx="6">
                  <c:v>7.22999999999999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47</c:v>
                </c:pt>
                <c:pt idx="1">
                  <c:v>Av Price/Unit 11.77</c:v>
                </c:pt>
                <c:pt idx="2">
                  <c:v>Av Price/Unit 9.09</c:v>
                </c:pt>
                <c:pt idx="3">
                  <c:v>Av Price/Unit 9.80</c:v>
                </c:pt>
                <c:pt idx="4">
                  <c:v>Av Price/Unit 9.86</c:v>
                </c:pt>
                <c:pt idx="5">
                  <c:v>Av Price/Unit 18.31</c:v>
                </c:pt>
                <c:pt idx="6">
                  <c:v>Av Price/Unit 15.40</c:v>
                </c:pt>
              </c:strCache>
            </c:strRef>
          </c:cat>
          <c:val>
            <c:numRef>
              <c:f>Sheet1!$D$2:$D$8</c:f>
              <c:numCache>
                <c:formatCode>General</c:formatCode>
                <c:ptCount val="7"/>
                <c:pt idx="0">
                  <c:v>0.27960830709251905</c:v>
                </c:pt>
                <c:pt idx="1">
                  <c:v>0.3270521301877416</c:v>
                </c:pt>
                <c:pt idx="2">
                  <c:v>0.38956680975011615</c:v>
                </c:pt>
                <c:pt idx="3">
                  <c:v>0.32095806996011245</c:v>
                </c:pt>
                <c:pt idx="4">
                  <c:v>0.30694740400869325</c:v>
                </c:pt>
                <c:pt idx="5">
                  <c:v>0.24258856868395817</c:v>
                </c:pt>
                <c:pt idx="6">
                  <c:v>0.300959259259263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47</c:v>
                </c:pt>
                <c:pt idx="1">
                  <c:v>Av Price/Unit 11.77</c:v>
                </c:pt>
                <c:pt idx="2">
                  <c:v>Av Price/Unit 9.09</c:v>
                </c:pt>
                <c:pt idx="3">
                  <c:v>Av Price/Unit 9.80</c:v>
                </c:pt>
                <c:pt idx="4">
                  <c:v>Av Price/Unit 9.86</c:v>
                </c:pt>
                <c:pt idx="5">
                  <c:v>Av Price/Unit 18.31</c:v>
                </c:pt>
                <c:pt idx="6">
                  <c:v>Av Price/Unit 15.40</c:v>
                </c:pt>
              </c:strCache>
            </c:strRef>
          </c:cat>
          <c:val>
            <c:numRef>
              <c:f>Sheet1!$E$2:$E$8</c:f>
              <c:numCache>
                <c:formatCode>General</c:formatCode>
                <c:ptCount val="7"/>
                <c:pt idx="0">
                  <c:v>1.2448642974958746</c:v>
                </c:pt>
                <c:pt idx="1">
                  <c:v>1.961409250977595</c:v>
                </c:pt>
                <c:pt idx="2">
                  <c:v>1.515081250958147</c:v>
                </c:pt>
                <c:pt idx="3">
                  <c:v>1.6327094200675043</c:v>
                </c:pt>
                <c:pt idx="4">
                  <c:v>1.6411494808017386</c:v>
                </c:pt>
                <c:pt idx="5">
                  <c:v>3.052353506243996</c:v>
                </c:pt>
                <c:pt idx="6">
                  <c:v>2.5518518518518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18</c:v>
                </c:pt>
                <c:pt idx="1">
                  <c:v>Av Price/Unit 11.83</c:v>
                </c:pt>
                <c:pt idx="2">
                  <c:v>Av Price/Unit 9.18</c:v>
                </c:pt>
                <c:pt idx="3">
                  <c:v>Av Price/Unit 9.94</c:v>
                </c:pt>
                <c:pt idx="4">
                  <c:v>Av Price/Unit 9.88</c:v>
                </c:pt>
                <c:pt idx="5">
                  <c:v>Av Price/Unit 7.19</c:v>
                </c:pt>
                <c:pt idx="6">
                  <c:v>Av Price/Unit 18.78</c:v>
                </c:pt>
              </c:strCache>
            </c:strRef>
          </c:cat>
          <c:val>
            <c:numRef>
              <c:f>Sheet1!$B$2:$B$8</c:f>
              <c:numCache>
                <c:formatCode>General</c:formatCode>
                <c:ptCount val="7"/>
                <c:pt idx="0">
                  <c:v>3.343736965998256</c:v>
                </c:pt>
                <c:pt idx="1">
                  <c:v>4.892794354561101</c:v>
                </c:pt>
                <c:pt idx="2">
                  <c:v>4.092603866290777</c:v>
                </c:pt>
                <c:pt idx="3">
                  <c:v>4.015375412293852</c:v>
                </c:pt>
                <c:pt idx="4">
                  <c:v>4.326499999999999</c:v>
                </c:pt>
                <c:pt idx="5">
                  <c:v>1.2084226613965745</c:v>
                </c:pt>
                <c:pt idx="6">
                  <c:v>8.1124044776119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18</c:v>
                </c:pt>
                <c:pt idx="1">
                  <c:v>Av Price/Unit 11.83</c:v>
                </c:pt>
                <c:pt idx="2">
                  <c:v>Av Price/Unit 9.18</c:v>
                </c:pt>
                <c:pt idx="3">
                  <c:v>Av Price/Unit 9.94</c:v>
                </c:pt>
                <c:pt idx="4">
                  <c:v>Av Price/Unit 9.88</c:v>
                </c:pt>
                <c:pt idx="5">
                  <c:v>Av Price/Unit 7.19</c:v>
                </c:pt>
                <c:pt idx="6">
                  <c:v>Av Price/Unit 18.78</c:v>
                </c:pt>
              </c:strCache>
            </c:strRef>
          </c:cat>
          <c:val>
            <c:numRef>
              <c:f>Sheet1!$C$2:$C$8</c:f>
              <c:numCache>
                <c:formatCode>General</c:formatCode>
                <c:ptCount val="7"/>
                <c:pt idx="0">
                  <c:v>2.5699823888404536</c:v>
                </c:pt>
                <c:pt idx="1">
                  <c:v>4.571605438898451</c:v>
                </c:pt>
                <c:pt idx="2">
                  <c:v>3.2875200563834066</c:v>
                </c:pt>
                <c:pt idx="3">
                  <c:v>3.8091239880059975</c:v>
                </c:pt>
                <c:pt idx="4">
                  <c:v>3.5724</c:v>
                </c:pt>
                <c:pt idx="5">
                  <c:v>3.6426180500658756</c:v>
                </c:pt>
                <c:pt idx="6">
                  <c:v>6.87761194029850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18</c:v>
                </c:pt>
                <c:pt idx="1">
                  <c:v>Av Price/Unit 11.83</c:v>
                </c:pt>
                <c:pt idx="2">
                  <c:v>Av Price/Unit 9.18</c:v>
                </c:pt>
                <c:pt idx="3">
                  <c:v>Av Price/Unit 9.94</c:v>
                </c:pt>
                <c:pt idx="4">
                  <c:v>Av Price/Unit 9.88</c:v>
                </c:pt>
                <c:pt idx="5">
                  <c:v>Av Price/Unit 7.19</c:v>
                </c:pt>
                <c:pt idx="6">
                  <c:v>Av Price/Unit 18.78</c:v>
                </c:pt>
              </c:strCache>
            </c:strRef>
          </c:cat>
          <c:val>
            <c:numRef>
              <c:f>Sheet1!$D$2:$D$8</c:f>
              <c:numCache>
                <c:formatCode>General</c:formatCode>
                <c:ptCount val="7"/>
                <c:pt idx="0">
                  <c:v>0.06782670735251273</c:v>
                </c:pt>
                <c:pt idx="1">
                  <c:v>0.39506587492828693</c:v>
                </c:pt>
                <c:pt idx="2">
                  <c:v>0.2678825211437772</c:v>
                </c:pt>
                <c:pt idx="3">
                  <c:v>0.45885892053973</c:v>
                </c:pt>
                <c:pt idx="4">
                  <c:v>0.31443960164030393</c:v>
                </c:pt>
                <c:pt idx="5">
                  <c:v>1.139307992973209</c:v>
                </c:pt>
                <c:pt idx="6">
                  <c:v>0.662968656716415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7.18</c:v>
                </c:pt>
                <c:pt idx="1">
                  <c:v>Av Price/Unit 11.83</c:v>
                </c:pt>
                <c:pt idx="2">
                  <c:v>Av Price/Unit 9.18</c:v>
                </c:pt>
                <c:pt idx="3">
                  <c:v>Av Price/Unit 9.94</c:v>
                </c:pt>
                <c:pt idx="4">
                  <c:v>Av Price/Unit 9.88</c:v>
                </c:pt>
                <c:pt idx="5">
                  <c:v>Av Price/Unit 7.19</c:v>
                </c:pt>
                <c:pt idx="6">
                  <c:v>Av Price/Unit 18.78</c:v>
                </c:pt>
              </c:strCache>
            </c:strRef>
          </c:cat>
          <c:val>
            <c:numRef>
              <c:f>Sheet1!$E$2:$E$8</c:f>
              <c:numCache>
                <c:formatCode>General</c:formatCode>
                <c:ptCount val="7"/>
                <c:pt idx="0">
                  <c:v>1.1963092124382446</c:v>
                </c:pt>
                <c:pt idx="1">
                  <c:v>1.9718875502008015</c:v>
                </c:pt>
                <c:pt idx="2">
                  <c:v>1.5296012887635924</c:v>
                </c:pt>
                <c:pt idx="3">
                  <c:v>1.656671664167916</c:v>
                </c:pt>
                <c:pt idx="4">
                  <c:v>1.6426479203280615</c:v>
                </c:pt>
                <c:pt idx="5">
                  <c:v>1.1980676328502424</c:v>
                </c:pt>
                <c:pt idx="6">
                  <c:v>3.130597014925373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7.24</c:v>
                </c:pt>
                <c:pt idx="1">
                  <c:v>Av Price/Unit 11.88</c:v>
                </c:pt>
                <c:pt idx="2">
                  <c:v>Av Price/Unit 9.17</c:v>
                </c:pt>
                <c:pt idx="3">
                  <c:v>Av Price/Unit 9.88</c:v>
                </c:pt>
                <c:pt idx="4">
                  <c:v>Av Price/Unit 9.86</c:v>
                </c:pt>
              </c:strCache>
            </c:strRef>
          </c:cat>
          <c:val>
            <c:numRef>
              <c:f>Sheet1!$B$2:$B$6</c:f>
              <c:numCache>
                <c:formatCode>General</c:formatCode>
                <c:ptCount val="5"/>
                <c:pt idx="0">
                  <c:v>3.348787553041018</c:v>
                </c:pt>
                <c:pt idx="1">
                  <c:v>4.896087305122494</c:v>
                </c:pt>
                <c:pt idx="2">
                  <c:v>4.0083442244224425</c:v>
                </c:pt>
                <c:pt idx="3">
                  <c:v>4.01940625</c:v>
                </c:pt>
                <c:pt idx="4">
                  <c:v>4.326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7.24</c:v>
                </c:pt>
                <c:pt idx="1">
                  <c:v>Av Price/Unit 11.88</c:v>
                </c:pt>
                <c:pt idx="2">
                  <c:v>Av Price/Unit 9.17</c:v>
                </c:pt>
                <c:pt idx="3">
                  <c:v>Av Price/Unit 9.88</c:v>
                </c:pt>
                <c:pt idx="4">
                  <c:v>Av Price/Unit 9.86</c:v>
                </c:pt>
              </c:strCache>
            </c:strRef>
          </c:cat>
          <c:val>
            <c:numRef>
              <c:f>Sheet1!$C$2:$C$6</c:f>
              <c:numCache>
                <c:formatCode>General</c:formatCode>
                <c:ptCount val="5"/>
                <c:pt idx="0">
                  <c:v>2.5737066478076374</c:v>
                </c:pt>
                <c:pt idx="1">
                  <c:v>4.574284187082405</c:v>
                </c:pt>
                <c:pt idx="2">
                  <c:v>3.218599339933993</c:v>
                </c:pt>
                <c:pt idx="3">
                  <c:v>3.812864166666667</c:v>
                </c:pt>
                <c:pt idx="4">
                  <c:v>3.572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7.24</c:v>
                </c:pt>
                <c:pt idx="1">
                  <c:v>Av Price/Unit 11.88</c:v>
                </c:pt>
                <c:pt idx="2">
                  <c:v>Av Price/Unit 9.17</c:v>
                </c:pt>
                <c:pt idx="3">
                  <c:v>Av Price/Unit 9.88</c:v>
                </c:pt>
                <c:pt idx="4">
                  <c:v>Av Price/Unit 9.86</c:v>
                </c:pt>
              </c:strCache>
            </c:strRef>
          </c:cat>
          <c:val>
            <c:numRef>
              <c:f>Sheet1!$D$2:$D$6</c:f>
              <c:numCache>
                <c:formatCode>General</c:formatCode>
                <c:ptCount val="5"/>
                <c:pt idx="0">
                  <c:v>0.10679622819424761</c:v>
                </c:pt>
                <c:pt idx="1">
                  <c:v>0.42663942093541074</c:v>
                </c:pt>
                <c:pt idx="2">
                  <c:v>0.4119453245324518</c:v>
                </c:pt>
                <c:pt idx="3">
                  <c:v>0.3968962500000002</c:v>
                </c:pt>
                <c:pt idx="4">
                  <c:v>0.316069281045752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7.24</c:v>
                </c:pt>
                <c:pt idx="1">
                  <c:v>Av Price/Unit 11.88</c:v>
                </c:pt>
                <c:pt idx="2">
                  <c:v>Av Price/Unit 9.17</c:v>
                </c:pt>
                <c:pt idx="3">
                  <c:v>Av Price/Unit 9.88</c:v>
                </c:pt>
                <c:pt idx="4">
                  <c:v>Av Price/Unit 9.86</c:v>
                </c:pt>
              </c:strCache>
            </c:strRef>
          </c:cat>
          <c:val>
            <c:numRef>
              <c:f>Sheet1!$E$2:$E$6</c:f>
              <c:numCache>
                <c:formatCode>General</c:formatCode>
                <c:ptCount val="5"/>
                <c:pt idx="0">
                  <c:v>1.20585808580858</c:v>
                </c:pt>
                <c:pt idx="1">
                  <c:v>1.9793986636971046</c:v>
                </c:pt>
                <c:pt idx="2">
                  <c:v>1.5277777777777788</c:v>
                </c:pt>
                <c:pt idx="3">
                  <c:v>1.6458333333333324</c:v>
                </c:pt>
                <c:pt idx="4">
                  <c:v>1.64297385620914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7.27</c:v>
                </c:pt>
                <c:pt idx="1">
                  <c:v>Av Price/Unit 9.03</c:v>
                </c:pt>
                <c:pt idx="2">
                  <c:v>Av Price/Unit 12.14</c:v>
                </c:pt>
                <c:pt idx="3">
                  <c:v>Av Price/Unit 10.01</c:v>
                </c:pt>
              </c:strCache>
            </c:strRef>
          </c:cat>
          <c:val>
            <c:numRef>
              <c:f>Sheet1!$B$2:$B$5</c:f>
              <c:numCache>
                <c:formatCode>General</c:formatCode>
                <c:ptCount val="4"/>
                <c:pt idx="0">
                  <c:v>3.3495121908127206</c:v>
                </c:pt>
                <c:pt idx="1">
                  <c:v>3.917382988505747</c:v>
                </c:pt>
                <c:pt idx="2">
                  <c:v>4.891965258215962</c:v>
                </c:pt>
                <c:pt idx="3">
                  <c:v>4.326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7.27</c:v>
                </c:pt>
                <c:pt idx="1">
                  <c:v>Av Price/Unit 9.03</c:v>
                </c:pt>
                <c:pt idx="2">
                  <c:v>Av Price/Unit 12.14</c:v>
                </c:pt>
                <c:pt idx="3">
                  <c:v>Av Price/Unit 10.01</c:v>
                </c:pt>
              </c:strCache>
            </c:strRef>
          </c:cat>
          <c:val>
            <c:numRef>
              <c:f>Sheet1!$C$2:$C$5</c:f>
              <c:numCache>
                <c:formatCode>General</c:formatCode>
                <c:ptCount val="4"/>
                <c:pt idx="0">
                  <c:v>2.5742409893992932</c:v>
                </c:pt>
                <c:pt idx="1">
                  <c:v>3.144197011494253</c:v>
                </c:pt>
                <c:pt idx="2">
                  <c:v>4.570930985915493</c:v>
                </c:pt>
                <c:pt idx="3">
                  <c:v>3.572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7.27</c:v>
                </c:pt>
                <c:pt idx="1">
                  <c:v>Av Price/Unit 9.03</c:v>
                </c:pt>
                <c:pt idx="2">
                  <c:v>Av Price/Unit 12.14</c:v>
                </c:pt>
                <c:pt idx="3">
                  <c:v>Av Price/Unit 10.01</c:v>
                </c:pt>
              </c:strCache>
            </c:strRef>
          </c:cat>
          <c:val>
            <c:numRef>
              <c:f>Sheet1!$D$2:$D$5</c:f>
              <c:numCache>
                <c:formatCode>General</c:formatCode>
                <c:ptCount val="4"/>
                <c:pt idx="0">
                  <c:v>0.13190053003533553</c:v>
                </c:pt>
                <c:pt idx="1">
                  <c:v>0.467155632183907</c:v>
                </c:pt>
                <c:pt idx="2">
                  <c:v>0.6505928012519568</c:v>
                </c:pt>
                <c:pt idx="3">
                  <c:v>0.389313695090440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7.27</c:v>
                </c:pt>
                <c:pt idx="1">
                  <c:v>Av Price/Unit 9.03</c:v>
                </c:pt>
                <c:pt idx="2">
                  <c:v>Av Price/Unit 12.14</c:v>
                </c:pt>
                <c:pt idx="3">
                  <c:v>Av Price/Unit 10.01</c:v>
                </c:pt>
              </c:strCache>
            </c:strRef>
          </c:cat>
          <c:val>
            <c:numRef>
              <c:f>Sheet1!$E$2:$E$5</c:f>
              <c:numCache>
                <c:formatCode>General</c:formatCode>
                <c:ptCount val="4"/>
                <c:pt idx="0">
                  <c:v>1.2111307420494692</c:v>
                </c:pt>
                <c:pt idx="1">
                  <c:v>1.5057471264367817</c:v>
                </c:pt>
                <c:pt idx="2">
                  <c:v>2.022691705790296</c:v>
                </c:pt>
                <c:pt idx="3">
                  <c:v>1.657622739018087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D2076AA-BD89-4BEA-8C20-D2E52CB075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FA71221-A960-4587-9857-92723D12D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76AF2DF-2053-43FF-A189-9D77B6835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9867504-0DF1-4726-94CB-FF71E8B70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6253F1C-B8A8-41FC-9702-DADC1D0F6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E40EB35-840F-4BF9-B256-65ABF65AC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F550F9E-FEBE-4B19-B1F7-6BD1A94E1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6EFB3E7-F58D-4C6E-BFAF-AC16A0097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3.0255</c:v>
                </c:pt>
                <c:pt idx="1">
                  <c:v>62.8453</c:v>
                </c:pt>
                <c:pt idx="2">
                  <c:v>51.2117</c:v>
                </c:pt>
                <c:pt idx="3">
                  <c:v>59.2199</c:v>
                </c:pt>
                <c:pt idx="4">
                  <c:v>55.6631</c:v>
                </c:pt>
              </c:numCache>
            </c:numRef>
          </c:xVal>
          <c:yVal>
            <c:numRef>
              <c:f>Sheet1!$B$2:$B$6</c:f>
              <c:numCache>
                <c:formatCode>General</c:formatCode>
                <c:ptCount val="5"/>
                <c:pt idx="0">
                  <c:v>0.4059</c:v>
                </c:pt>
                <c:pt idx="1">
                  <c:v>0.4038</c:v>
                </c:pt>
                <c:pt idx="2">
                  <c:v>0.3992</c:v>
                </c:pt>
                <c:pt idx="3">
                  <c:v>0.4078</c:v>
                </c:pt>
                <c:pt idx="4">
                  <c:v>0.4055</c:v>
                </c:pt>
              </c:numCache>
            </c:numRef>
          </c:yVal>
          <c:bubbleSize>
            <c:numRef>
              <c:f>Sheet1!$C$2:$C$6</c:f>
              <c:numCache>
                <c:formatCode>General</c:formatCode>
                <c:ptCount val="5"/>
                <c:pt idx="0">
                  <c:v>2420178.224399999</c:v>
                </c:pt>
                <c:pt idx="1">
                  <c:v>381785.0080000002</c:v>
                </c:pt>
                <c:pt idx="2">
                  <c:v>89364.46799999998</c:v>
                </c:pt>
                <c:pt idx="3">
                  <c:v>191635.74290000007</c:v>
                </c:pt>
                <c:pt idx="4">
                  <c:v>103978.6274000000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75.6306"/>
          <c:min val="40.9693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5561752875347"/>
        <c:crossBetween val="midCat"/>
      </c:valAx>
      <c:valAx>
        <c:axId val="1011451359"/>
        <c:scaling>
          <c:orientation val="minMax"/>
          <c:max val="0.84936"/>
          <c:min val="0.07936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62.2035983833588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0</c:v>
                </c:pt>
                <c:pt idx="1">
                  <c:v>Av Price/Unit 11.76</c:v>
                </c:pt>
                <c:pt idx="2">
                  <c:v>Av Price/Unit 9.08</c:v>
                </c:pt>
                <c:pt idx="3">
                  <c:v>Av Price/Unit 9.81</c:v>
                </c:pt>
                <c:pt idx="4">
                  <c:v>Av Price/Unit 9.87</c:v>
                </c:pt>
                <c:pt idx="5">
                  <c:v>Av Price/Unit 18.61</c:v>
                </c:pt>
              </c:strCache>
            </c:strRef>
          </c:cat>
          <c:val>
            <c:numRef>
              <c:f>Sheet1!$B$2:$B$7</c:f>
              <c:numCache>
                <c:formatCode>General</c:formatCode>
                <c:ptCount val="6"/>
                <c:pt idx="0">
                  <c:v>3.3581887054319215</c:v>
                </c:pt>
                <c:pt idx="1">
                  <c:v>4.900773195876289</c:v>
                </c:pt>
                <c:pt idx="2">
                  <c:v>3.983468646030743</c:v>
                </c:pt>
                <c:pt idx="3">
                  <c:v>4.025180746327908</c:v>
                </c:pt>
                <c:pt idx="4">
                  <c:v>4.3265</c:v>
                </c:pt>
                <c:pt idx="5">
                  <c:v>8.10847721518987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0</c:v>
                </c:pt>
                <c:pt idx="1">
                  <c:v>Av Price/Unit 11.76</c:v>
                </c:pt>
                <c:pt idx="2">
                  <c:v>Av Price/Unit 9.08</c:v>
                </c:pt>
                <c:pt idx="3">
                  <c:v>Av Price/Unit 9.81</c:v>
                </c:pt>
                <c:pt idx="4">
                  <c:v>Av Price/Unit 9.87</c:v>
                </c:pt>
                <c:pt idx="5">
                  <c:v>Av Price/Unit 18.61</c:v>
                </c:pt>
              </c:strCache>
            </c:strRef>
          </c:cat>
          <c:val>
            <c:numRef>
              <c:f>Sheet1!$C$2:$C$7</c:f>
              <c:numCache>
                <c:formatCode>General</c:formatCode>
                <c:ptCount val="6"/>
                <c:pt idx="0">
                  <c:v>2.5806389758315387</c:v>
                </c:pt>
                <c:pt idx="1">
                  <c:v>4.578096063730085</c:v>
                </c:pt>
                <c:pt idx="2">
                  <c:v>3.1982522004632554</c:v>
                </c:pt>
                <c:pt idx="3">
                  <c:v>3.818222270742358</c:v>
                </c:pt>
                <c:pt idx="4">
                  <c:v>3.5724000000000005</c:v>
                </c:pt>
                <c:pt idx="5">
                  <c:v>6.87355696202531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0</c:v>
                </c:pt>
                <c:pt idx="1">
                  <c:v>Av Price/Unit 11.76</c:v>
                </c:pt>
                <c:pt idx="2">
                  <c:v>Av Price/Unit 9.08</c:v>
                </c:pt>
                <c:pt idx="3">
                  <c:v>Av Price/Unit 9.81</c:v>
                </c:pt>
                <c:pt idx="4">
                  <c:v>Av Price/Unit 9.87</c:v>
                </c:pt>
                <c:pt idx="5">
                  <c:v>Av Price/Unit 18.61</c:v>
                </c:pt>
              </c:strCache>
            </c:strRef>
          </c:cat>
          <c:val>
            <c:numRef>
              <c:f>Sheet1!$D$2:$D$7</c:f>
              <c:numCache>
                <c:formatCode>General</c:formatCode>
                <c:ptCount val="6"/>
                <c:pt idx="0">
                  <c:v>0.23019202041956</c:v>
                </c:pt>
                <c:pt idx="1">
                  <c:v>0.3239296469853201</c:v>
                </c:pt>
                <c:pt idx="2">
                  <c:v>0.38838163122060987</c:v>
                </c:pt>
                <c:pt idx="3">
                  <c:v>0.3317987825856834</c:v>
                </c:pt>
                <c:pt idx="4">
                  <c:v>0.31758548057259706</c:v>
                </c:pt>
                <c:pt idx="5">
                  <c:v>0.52429493670886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0</c:v>
                </c:pt>
                <c:pt idx="1">
                  <c:v>Av Price/Unit 11.76</c:v>
                </c:pt>
                <c:pt idx="2">
                  <c:v>Av Price/Unit 9.08</c:v>
                </c:pt>
                <c:pt idx="3">
                  <c:v>Av Price/Unit 9.81</c:v>
                </c:pt>
                <c:pt idx="4">
                  <c:v>Av Price/Unit 9.87</c:v>
                </c:pt>
                <c:pt idx="5">
                  <c:v>Av Price/Unit 18.61</c:v>
                </c:pt>
              </c:strCache>
            </c:strRef>
          </c:cat>
          <c:val>
            <c:numRef>
              <c:f>Sheet1!$E$2:$E$7</c:f>
              <c:numCache>
                <c:formatCode>General</c:formatCode>
                <c:ptCount val="6"/>
                <c:pt idx="0">
                  <c:v>1.2338039403366021</c:v>
                </c:pt>
                <c:pt idx="1">
                  <c:v>1.9605592002499197</c:v>
                </c:pt>
                <c:pt idx="2">
                  <c:v>1.5140204955429204</c:v>
                </c:pt>
                <c:pt idx="3">
                  <c:v>1.6350403599311887</c:v>
                </c:pt>
                <c:pt idx="4">
                  <c:v>1.6432770961145184</c:v>
                </c:pt>
                <c:pt idx="5">
                  <c:v>3.10126582278481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3</c:v>
                </c:pt>
                <c:pt idx="1">
                  <c:v>Av Price/Unit 11.78</c:v>
                </c:pt>
                <c:pt idx="2">
                  <c:v>Av Price/Unit 9.12</c:v>
                </c:pt>
                <c:pt idx="3">
                  <c:v>Av Price/Unit 9.79</c:v>
                </c:pt>
                <c:pt idx="4">
                  <c:v>Av Price/Unit 9.89</c:v>
                </c:pt>
                <c:pt idx="5">
                  <c:v>Av Price/Unit 18.38</c:v>
                </c:pt>
              </c:strCache>
            </c:strRef>
          </c:cat>
          <c:val>
            <c:numRef>
              <c:f>Sheet1!$B$2:$B$7</c:f>
              <c:numCache>
                <c:formatCode>General</c:formatCode>
                <c:ptCount val="6"/>
                <c:pt idx="0">
                  <c:v>3.3595733821733824</c:v>
                </c:pt>
                <c:pt idx="1">
                  <c:v>4.899850854102493</c:v>
                </c:pt>
                <c:pt idx="2">
                  <c:v>3.9871078947368424</c:v>
                </c:pt>
                <c:pt idx="3">
                  <c:v>4.021935361653272</c:v>
                </c:pt>
                <c:pt idx="4">
                  <c:v>4.3265</c:v>
                </c:pt>
                <c:pt idx="5">
                  <c:v>8.11786747404844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3</c:v>
                </c:pt>
                <c:pt idx="1">
                  <c:v>Av Price/Unit 11.78</c:v>
                </c:pt>
                <c:pt idx="2">
                  <c:v>Av Price/Unit 9.12</c:v>
                </c:pt>
                <c:pt idx="3">
                  <c:v>Av Price/Unit 9.79</c:v>
                </c:pt>
                <c:pt idx="4">
                  <c:v>Av Price/Unit 9.89</c:v>
                </c:pt>
                <c:pt idx="5">
                  <c:v>Av Price/Unit 18.38</c:v>
                </c:pt>
              </c:strCache>
            </c:strRef>
          </c:cat>
          <c:val>
            <c:numRef>
              <c:f>Sheet1!$C$2:$C$7</c:f>
              <c:numCache>
                <c:formatCode>General</c:formatCode>
                <c:ptCount val="6"/>
                <c:pt idx="0">
                  <c:v>2.581660024420024</c:v>
                </c:pt>
                <c:pt idx="1">
                  <c:v>4.577345757490899</c:v>
                </c:pt>
                <c:pt idx="2">
                  <c:v>3.2012289473684206</c:v>
                </c:pt>
                <c:pt idx="3">
                  <c:v>3.815210907003444</c:v>
                </c:pt>
                <c:pt idx="4">
                  <c:v>3.5723999999999996</c:v>
                </c:pt>
                <c:pt idx="5">
                  <c:v>6.88325259515570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3</c:v>
                </c:pt>
                <c:pt idx="1">
                  <c:v>Av Price/Unit 11.78</c:v>
                </c:pt>
                <c:pt idx="2">
                  <c:v>Av Price/Unit 9.12</c:v>
                </c:pt>
                <c:pt idx="3">
                  <c:v>Av Price/Unit 9.79</c:v>
                </c:pt>
                <c:pt idx="4">
                  <c:v>Av Price/Unit 9.89</c:v>
                </c:pt>
                <c:pt idx="5">
                  <c:v>Av Price/Unit 18.38</c:v>
                </c:pt>
              </c:strCache>
            </c:strRef>
          </c:cat>
          <c:val>
            <c:numRef>
              <c:f>Sheet1!$D$2:$D$7</c:f>
              <c:numCache>
                <c:formatCode>General</c:formatCode>
                <c:ptCount val="6"/>
                <c:pt idx="0">
                  <c:v>0.2471060317460303</c:v>
                </c:pt>
                <c:pt idx="1">
                  <c:v>0.3376369644357329</c:v>
                </c:pt>
                <c:pt idx="2">
                  <c:v>0.4132399526423418</c:v>
                </c:pt>
                <c:pt idx="3">
                  <c:v>0.3172739380022964</c:v>
                </c:pt>
                <c:pt idx="4">
                  <c:v>0.33134517506404837</c:v>
                </c:pt>
                <c:pt idx="5">
                  <c:v>0.3160656286043810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3</c:v>
                </c:pt>
                <c:pt idx="1">
                  <c:v>Av Price/Unit 11.78</c:v>
                </c:pt>
                <c:pt idx="2">
                  <c:v>Av Price/Unit 9.12</c:v>
                </c:pt>
                <c:pt idx="3">
                  <c:v>Av Price/Unit 9.79</c:v>
                </c:pt>
                <c:pt idx="4">
                  <c:v>Av Price/Unit 9.89</c:v>
                </c:pt>
                <c:pt idx="5">
                  <c:v>Av Price/Unit 18.38</c:v>
                </c:pt>
              </c:strCache>
            </c:strRef>
          </c:cat>
          <c:val>
            <c:numRef>
              <c:f>Sheet1!$E$2:$E$7</c:f>
              <c:numCache>
                <c:formatCode>General</c:formatCode>
                <c:ptCount val="6"/>
                <c:pt idx="0">
                  <c:v>1.2376678876678886</c:v>
                </c:pt>
                <c:pt idx="1">
                  <c:v>1.962965555866704</c:v>
                </c:pt>
                <c:pt idx="2">
                  <c:v>1.5203153589495215</c:v>
                </c:pt>
                <c:pt idx="3">
                  <c:v>1.6308840413318024</c:v>
                </c:pt>
                <c:pt idx="4">
                  <c:v>1.6460290350128095</c:v>
                </c:pt>
                <c:pt idx="5">
                  <c:v>3.06343713956170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0</c:v>
                </c:pt>
                <c:pt idx="1">
                  <c:v>Av Price/Unit 11.79</c:v>
                </c:pt>
                <c:pt idx="2">
                  <c:v>Av Price/Unit 9.13</c:v>
                </c:pt>
                <c:pt idx="3">
                  <c:v>Av Price/Unit 9.89</c:v>
                </c:pt>
                <c:pt idx="4">
                  <c:v>Av Price/Unit 9.82</c:v>
                </c:pt>
                <c:pt idx="5">
                  <c:v>Av Price/Unit 18.49</c:v>
                </c:pt>
              </c:strCache>
            </c:strRef>
          </c:cat>
          <c:val>
            <c:numRef>
              <c:f>Sheet1!$B$2:$B$7</c:f>
              <c:numCache>
                <c:formatCode>General</c:formatCode>
                <c:ptCount val="6"/>
                <c:pt idx="0">
                  <c:v>3.3595064651667124</c:v>
                </c:pt>
                <c:pt idx="1">
                  <c:v>4.899590288095669</c:v>
                </c:pt>
                <c:pt idx="2">
                  <c:v>3.993435799180327</c:v>
                </c:pt>
                <c:pt idx="3">
                  <c:v>4.3265</c:v>
                </c:pt>
                <c:pt idx="4">
                  <c:v>4.0212748663101605</c:v>
                </c:pt>
                <c:pt idx="5">
                  <c:v>8.129561682242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0</c:v>
                </c:pt>
                <c:pt idx="1">
                  <c:v>Av Price/Unit 11.79</c:v>
                </c:pt>
                <c:pt idx="2">
                  <c:v>Av Price/Unit 9.13</c:v>
                </c:pt>
                <c:pt idx="3">
                  <c:v>Av Price/Unit 9.89</c:v>
                </c:pt>
                <c:pt idx="4">
                  <c:v>Av Price/Unit 9.82</c:v>
                </c:pt>
                <c:pt idx="5">
                  <c:v>Av Price/Unit 18.49</c:v>
                </c:pt>
              </c:strCache>
            </c:strRef>
          </c:cat>
          <c:val>
            <c:numRef>
              <c:f>Sheet1!$C$2:$C$7</c:f>
              <c:numCache>
                <c:formatCode>General</c:formatCode>
                <c:ptCount val="6"/>
                <c:pt idx="0">
                  <c:v>2.5816106804011927</c:v>
                </c:pt>
                <c:pt idx="1">
                  <c:v>4.577133792353687</c:v>
                </c:pt>
                <c:pt idx="2">
                  <c:v>3.206404897540984</c:v>
                </c:pt>
                <c:pt idx="3">
                  <c:v>3.5724</c:v>
                </c:pt>
                <c:pt idx="4">
                  <c:v>3.8145980392156864</c:v>
                </c:pt>
                <c:pt idx="5">
                  <c:v>6.89532710280373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0</c:v>
                </c:pt>
                <c:pt idx="1">
                  <c:v>Av Price/Unit 11.79</c:v>
                </c:pt>
                <c:pt idx="2">
                  <c:v>Av Price/Unit 9.13</c:v>
                </c:pt>
                <c:pt idx="3">
                  <c:v>Av Price/Unit 9.89</c:v>
                </c:pt>
                <c:pt idx="4">
                  <c:v>Av Price/Unit 9.82</c:v>
                </c:pt>
                <c:pt idx="5">
                  <c:v>Av Price/Unit 18.49</c:v>
                </c:pt>
              </c:strCache>
            </c:strRef>
          </c:cat>
          <c:val>
            <c:numRef>
              <c:f>Sheet1!$D$2:$D$7</c:f>
              <c:numCache>
                <c:formatCode>General</c:formatCode>
                <c:ptCount val="6"/>
                <c:pt idx="0">
                  <c:v>0.2272211574952543</c:v>
                </c:pt>
                <c:pt idx="1">
                  <c:v>0.3478280425197813</c:v>
                </c:pt>
                <c:pt idx="2">
                  <c:v>0.40859509562841634</c:v>
                </c:pt>
                <c:pt idx="3">
                  <c:v>0.3307046506597455</c:v>
                </c:pt>
                <c:pt idx="4">
                  <c:v>0.34743071895424915</c:v>
                </c:pt>
                <c:pt idx="5">
                  <c:v>0.380095638629285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7.40</c:v>
                </c:pt>
                <c:pt idx="1">
                  <c:v>Av Price/Unit 11.79</c:v>
                </c:pt>
                <c:pt idx="2">
                  <c:v>Av Price/Unit 9.13</c:v>
                </c:pt>
                <c:pt idx="3">
                  <c:v>Av Price/Unit 9.89</c:v>
                </c:pt>
                <c:pt idx="4">
                  <c:v>Av Price/Unit 9.82</c:v>
                </c:pt>
                <c:pt idx="5">
                  <c:v>Av Price/Unit 18.49</c:v>
                </c:pt>
              </c:strCache>
            </c:strRef>
          </c:cat>
          <c:val>
            <c:numRef>
              <c:f>Sheet1!$E$2:$E$7</c:f>
              <c:numCache>
                <c:formatCode>General</c:formatCode>
                <c:ptCount val="6"/>
                <c:pt idx="0">
                  <c:v>1.233667660612633</c:v>
                </c:pt>
                <c:pt idx="1">
                  <c:v>1.964909101890438</c:v>
                </c:pt>
                <c:pt idx="2">
                  <c:v>1.5216871584699443</c:v>
                </c:pt>
                <c:pt idx="3">
                  <c:v>1.6459009301319483</c:v>
                </c:pt>
                <c:pt idx="4">
                  <c:v>1.6366607248960197</c:v>
                </c:pt>
                <c:pt idx="5">
                  <c:v>3.080996884735202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1</c:v>
                </c:pt>
                <c:pt idx="1">
                  <c:v>Av Price/Unit 11.19</c:v>
                </c:pt>
                <c:pt idx="2">
                  <c:v>Av Price/Unit 13.47</c:v>
                </c:pt>
                <c:pt idx="3">
                  <c:v>Av Price/Unit 13.86</c:v>
                </c:pt>
                <c:pt idx="4">
                  <c:v>Av Price/Unit 9.66</c:v>
                </c:pt>
                <c:pt idx="5">
                  <c:v>Av Price/Unit 10.19</c:v>
                </c:pt>
                <c:pt idx="6">
                  <c:v>Av Price/Unit 10.59</c:v>
                </c:pt>
                <c:pt idx="7">
                  <c:v>Av Price/Unit 12.61</c:v>
                </c:pt>
                <c:pt idx="8">
                  <c:v>Av Price/Unit 10.76</c:v>
                </c:pt>
                <c:pt idx="9">
                  <c:v>Av Price/Unit 24.70</c:v>
                </c:pt>
                <c:pt idx="10">
                  <c:v>Av Price/Unit 25.40</c:v>
                </c:pt>
                <c:pt idx="11">
                  <c:v>Av Price/Unit 9.85</c:v>
                </c:pt>
              </c:strCache>
            </c:strRef>
          </c:cat>
          <c:val>
            <c:numRef>
              <c:f>Sheet1!$B$2:$B$13</c:f>
              <c:numCache>
                <c:formatCode>General</c:formatCode>
                <c:ptCount val="12"/>
                <c:pt idx="0">
                  <c:v>4.753502669736258</c:v>
                </c:pt>
                <c:pt idx="1">
                  <c:v>4.642104525748551</c:v>
                </c:pt>
                <c:pt idx="2">
                  <c:v>5.3892173142467605</c:v>
                </c:pt>
                <c:pt idx="3">
                  <c:v>5.6552571581196585</c:v>
                </c:pt>
                <c:pt idx="4">
                  <c:v>2.874833658661871</c:v>
                </c:pt>
                <c:pt idx="5">
                  <c:v>4.3625</c:v>
                </c:pt>
                <c:pt idx="6">
                  <c:v>3.554570393843368</c:v>
                </c:pt>
                <c:pt idx="7">
                  <c:v>4.526700000000001</c:v>
                </c:pt>
                <c:pt idx="8">
                  <c:v>3.1259510603588914</c:v>
                </c:pt>
                <c:pt idx="9">
                  <c:v>9.20067748344371</c:v>
                </c:pt>
                <c:pt idx="10">
                  <c:v>9.393803343465045</c:v>
                </c:pt>
                <c:pt idx="11">
                  <c:v>2.865557431457432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1</c:v>
                </c:pt>
                <c:pt idx="1">
                  <c:v>Av Price/Unit 11.19</c:v>
                </c:pt>
                <c:pt idx="2">
                  <c:v>Av Price/Unit 13.47</c:v>
                </c:pt>
                <c:pt idx="3">
                  <c:v>Av Price/Unit 13.86</c:v>
                </c:pt>
                <c:pt idx="4">
                  <c:v>Av Price/Unit 9.66</c:v>
                </c:pt>
                <c:pt idx="5">
                  <c:v>Av Price/Unit 10.19</c:v>
                </c:pt>
                <c:pt idx="6">
                  <c:v>Av Price/Unit 10.59</c:v>
                </c:pt>
                <c:pt idx="7">
                  <c:v>Av Price/Unit 12.61</c:v>
                </c:pt>
                <c:pt idx="8">
                  <c:v>Av Price/Unit 10.76</c:v>
                </c:pt>
                <c:pt idx="9">
                  <c:v>Av Price/Unit 24.70</c:v>
                </c:pt>
                <c:pt idx="10">
                  <c:v>Av Price/Unit 25.40</c:v>
                </c:pt>
                <c:pt idx="11">
                  <c:v>Av Price/Unit 9.85</c:v>
                </c:pt>
              </c:strCache>
            </c:strRef>
          </c:cat>
          <c:val>
            <c:numRef>
              <c:f>Sheet1!$C$2:$C$13</c:f>
              <c:numCache>
                <c:formatCode>General</c:formatCode>
                <c:ptCount val="12"/>
                <c:pt idx="0">
                  <c:v>4.464451997253524</c:v>
                </c:pt>
                <c:pt idx="1">
                  <c:v>4.456403796442607</c:v>
                </c:pt>
                <c:pt idx="2">
                  <c:v>5.327178459441035</c:v>
                </c:pt>
                <c:pt idx="3">
                  <c:v>5.308482264957265</c:v>
                </c:pt>
                <c:pt idx="4">
                  <c:v>5.187222293566197</c:v>
                </c:pt>
                <c:pt idx="5">
                  <c:v>4.137500000000001</c:v>
                </c:pt>
                <c:pt idx="6">
                  <c:v>5.195429606156631</c:v>
                </c:pt>
                <c:pt idx="7">
                  <c:v>5.89</c:v>
                </c:pt>
                <c:pt idx="8">
                  <c:v>5.752446982055465</c:v>
                </c:pt>
                <c:pt idx="9">
                  <c:v>9.760996026490064</c:v>
                </c:pt>
                <c:pt idx="10">
                  <c:v>10.41694072948328</c:v>
                </c:pt>
                <c:pt idx="11">
                  <c:v>5.17330447330447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1</c:v>
                </c:pt>
                <c:pt idx="1">
                  <c:v>Av Price/Unit 11.19</c:v>
                </c:pt>
                <c:pt idx="2">
                  <c:v>Av Price/Unit 13.47</c:v>
                </c:pt>
                <c:pt idx="3">
                  <c:v>Av Price/Unit 13.86</c:v>
                </c:pt>
                <c:pt idx="4">
                  <c:v>Av Price/Unit 9.66</c:v>
                </c:pt>
                <c:pt idx="5">
                  <c:v>Av Price/Unit 10.19</c:v>
                </c:pt>
                <c:pt idx="6">
                  <c:v>Av Price/Unit 10.59</c:v>
                </c:pt>
                <c:pt idx="7">
                  <c:v>Av Price/Unit 12.61</c:v>
                </c:pt>
                <c:pt idx="8">
                  <c:v>Av Price/Unit 10.76</c:v>
                </c:pt>
                <c:pt idx="9">
                  <c:v>Av Price/Unit 24.70</c:v>
                </c:pt>
                <c:pt idx="10">
                  <c:v>Av Price/Unit 25.40</c:v>
                </c:pt>
                <c:pt idx="11">
                  <c:v>Av Price/Unit 9.85</c:v>
                </c:pt>
              </c:strCache>
            </c:strRef>
          </c:cat>
          <c:val>
            <c:numRef>
              <c:f>Sheet1!$D$2:$D$13</c:f>
              <c:numCache>
                <c:formatCode>General</c:formatCode>
                <c:ptCount val="12"/>
                <c:pt idx="0">
                  <c:v>0.28804988354402816</c:v>
                </c:pt>
                <c:pt idx="1">
                  <c:v>0.22351913347649166</c:v>
                </c:pt>
                <c:pt idx="2">
                  <c:v>0.5056078845716847</c:v>
                </c:pt>
                <c:pt idx="3">
                  <c:v>0.5858510327635358</c:v>
                </c:pt>
                <c:pt idx="4">
                  <c:v>-0.011030739266297829</c:v>
                </c:pt>
                <c:pt idx="5">
                  <c:v>-0.01612064482579534</c:v>
                </c:pt>
                <c:pt idx="6">
                  <c:v>0.07714652180473713</c:v>
                </c:pt>
                <c:pt idx="7">
                  <c:v>0.08886586270870467</c:v>
                </c:pt>
                <c:pt idx="8">
                  <c:v>0.0884317563893493</c:v>
                </c:pt>
                <c:pt idx="9">
                  <c:v>1.6251550404709292</c:v>
                </c:pt>
                <c:pt idx="10">
                  <c:v>1.3518699088145851</c:v>
                </c:pt>
                <c:pt idx="11">
                  <c:v>0.1706138047138043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1</c:v>
                </c:pt>
                <c:pt idx="1">
                  <c:v>Av Price/Unit 11.19</c:v>
                </c:pt>
                <c:pt idx="2">
                  <c:v>Av Price/Unit 13.47</c:v>
                </c:pt>
                <c:pt idx="3">
                  <c:v>Av Price/Unit 13.86</c:v>
                </c:pt>
                <c:pt idx="4">
                  <c:v>Av Price/Unit 9.66</c:v>
                </c:pt>
                <c:pt idx="5">
                  <c:v>Av Price/Unit 10.19</c:v>
                </c:pt>
                <c:pt idx="6">
                  <c:v>Av Price/Unit 10.59</c:v>
                </c:pt>
                <c:pt idx="7">
                  <c:v>Av Price/Unit 12.61</c:v>
                </c:pt>
                <c:pt idx="8">
                  <c:v>Av Price/Unit 10.76</c:v>
                </c:pt>
                <c:pt idx="9">
                  <c:v>Av Price/Unit 24.70</c:v>
                </c:pt>
                <c:pt idx="10">
                  <c:v>Av Price/Unit 25.40</c:v>
                </c:pt>
                <c:pt idx="11">
                  <c:v>Av Price/Unit 9.85</c:v>
                </c:pt>
              </c:strCache>
            </c:strRef>
          </c:cat>
          <c:val>
            <c:numRef>
              <c:f>Sheet1!$E$2:$E$13</c:f>
              <c:numCache>
                <c:formatCode>General</c:formatCode>
                <c:ptCount val="12"/>
                <c:pt idx="0">
                  <c:v>1.9012009101067664</c:v>
                </c:pt>
                <c:pt idx="1">
                  <c:v>1.864396364274814</c:v>
                </c:pt>
                <c:pt idx="2">
                  <c:v>2.244390479436491</c:v>
                </c:pt>
                <c:pt idx="3">
                  <c:v>2.3099180911680874</c:v>
                </c:pt>
                <c:pt idx="4">
                  <c:v>1.6102050425923526</c:v>
                </c:pt>
                <c:pt idx="5">
                  <c:v>1.6967758710348428</c:v>
                </c:pt>
                <c:pt idx="6">
                  <c:v>1.7654293043609488</c:v>
                </c:pt>
                <c:pt idx="7">
                  <c:v>2.1011131725417487</c:v>
                </c:pt>
                <c:pt idx="8">
                  <c:v>1.793365959760739</c:v>
                </c:pt>
                <c:pt idx="9">
                  <c:v>4.11736571008094</c:v>
                </c:pt>
                <c:pt idx="10">
                  <c:v>4.232522796352581</c:v>
                </c:pt>
                <c:pt idx="11">
                  <c:v>1.641895141895144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15</c:v>
                </c:pt>
                <c:pt idx="1">
                  <c:v>Av Price/Unit 11.37</c:v>
                </c:pt>
                <c:pt idx="2">
                  <c:v>Av Price/Unit 13.25</c:v>
                </c:pt>
                <c:pt idx="3">
                  <c:v>Av Price/Unit 13.80</c:v>
                </c:pt>
                <c:pt idx="4">
                  <c:v>Av Price/Unit 9.65</c:v>
                </c:pt>
                <c:pt idx="5">
                  <c:v>Av Price/Unit 12.55</c:v>
                </c:pt>
                <c:pt idx="6">
                  <c:v>Av Price/Unit 10.16</c:v>
                </c:pt>
                <c:pt idx="7">
                  <c:v>Av Price/Unit 10.57</c:v>
                </c:pt>
                <c:pt idx="8">
                  <c:v>Av Price/Unit 25.13</c:v>
                </c:pt>
                <c:pt idx="9">
                  <c:v>Av Price/Unit 10.71</c:v>
                </c:pt>
                <c:pt idx="10">
                  <c:v>Av Price/Unit 10.21</c:v>
                </c:pt>
                <c:pt idx="11">
                  <c:v>Av Price/Unit 24.81</c:v>
                </c:pt>
              </c:strCache>
            </c:strRef>
          </c:cat>
          <c:val>
            <c:numRef>
              <c:f>Sheet1!$B$2:$B$13</c:f>
              <c:numCache>
                <c:formatCode>General</c:formatCode>
                <c:ptCount val="12"/>
                <c:pt idx="0">
                  <c:v>4.63293184</c:v>
                </c:pt>
                <c:pt idx="1">
                  <c:v>4.747891562819203</c:v>
                </c:pt>
                <c:pt idx="2">
                  <c:v>5.342221782178218</c:v>
                </c:pt>
                <c:pt idx="3">
                  <c:v>5.651211840490799</c:v>
                </c:pt>
                <c:pt idx="4">
                  <c:v>2.8755070422535214</c:v>
                </c:pt>
                <c:pt idx="5">
                  <c:v>4.5267</c:v>
                </c:pt>
                <c:pt idx="6">
                  <c:v>4.362499999999999</c:v>
                </c:pt>
                <c:pt idx="7">
                  <c:v>3.5545008237232296</c:v>
                </c:pt>
                <c:pt idx="8">
                  <c:v>9.416406024096386</c:v>
                </c:pt>
                <c:pt idx="9">
                  <c:v>3.1299971428571425</c:v>
                </c:pt>
                <c:pt idx="10">
                  <c:v>4.35</c:v>
                </c:pt>
                <c:pt idx="11">
                  <c:v>9.19921428571428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15</c:v>
                </c:pt>
                <c:pt idx="1">
                  <c:v>Av Price/Unit 11.37</c:v>
                </c:pt>
                <c:pt idx="2">
                  <c:v>Av Price/Unit 13.25</c:v>
                </c:pt>
                <c:pt idx="3">
                  <c:v>Av Price/Unit 13.80</c:v>
                </c:pt>
                <c:pt idx="4">
                  <c:v>Av Price/Unit 9.65</c:v>
                </c:pt>
                <c:pt idx="5">
                  <c:v>Av Price/Unit 12.55</c:v>
                </c:pt>
                <c:pt idx="6">
                  <c:v>Av Price/Unit 10.16</c:v>
                </c:pt>
                <c:pt idx="7">
                  <c:v>Av Price/Unit 10.57</c:v>
                </c:pt>
                <c:pt idx="8">
                  <c:v>Av Price/Unit 25.13</c:v>
                </c:pt>
                <c:pt idx="9">
                  <c:v>Av Price/Unit 10.71</c:v>
                </c:pt>
                <c:pt idx="10">
                  <c:v>Av Price/Unit 10.21</c:v>
                </c:pt>
                <c:pt idx="11">
                  <c:v>Av Price/Unit 24.81</c:v>
                </c:pt>
              </c:strCache>
            </c:strRef>
          </c:cat>
          <c:val>
            <c:numRef>
              <c:f>Sheet1!$C$2:$C$13</c:f>
              <c:numCache>
                <c:formatCode>General</c:formatCode>
                <c:ptCount val="12"/>
                <c:pt idx="0">
                  <c:v>4.45553952</c:v>
                </c:pt>
                <c:pt idx="1">
                  <c:v>4.458860878447395</c:v>
                </c:pt>
                <c:pt idx="2">
                  <c:v>5.307330693069308</c:v>
                </c:pt>
                <c:pt idx="3">
                  <c:v>5.320477055214724</c:v>
                </c:pt>
                <c:pt idx="4">
                  <c:v>5.188232621535665</c:v>
                </c:pt>
                <c:pt idx="5">
                  <c:v>5.89</c:v>
                </c:pt>
                <c:pt idx="6">
                  <c:v>4.137500000000001</c:v>
                </c:pt>
                <c:pt idx="7">
                  <c:v>5.195499176276771</c:v>
                </c:pt>
                <c:pt idx="8">
                  <c:v>10.4480421686747</c:v>
                </c:pt>
                <c:pt idx="9">
                  <c:v>5.7628571428571425</c:v>
                </c:pt>
                <c:pt idx="10">
                  <c:v>4.15</c:v>
                </c:pt>
                <c:pt idx="11">
                  <c:v>9.77342222222222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15</c:v>
                </c:pt>
                <c:pt idx="1">
                  <c:v>Av Price/Unit 11.37</c:v>
                </c:pt>
                <c:pt idx="2">
                  <c:v>Av Price/Unit 13.25</c:v>
                </c:pt>
                <c:pt idx="3">
                  <c:v>Av Price/Unit 13.80</c:v>
                </c:pt>
                <c:pt idx="4">
                  <c:v>Av Price/Unit 9.65</c:v>
                </c:pt>
                <c:pt idx="5">
                  <c:v>Av Price/Unit 12.55</c:v>
                </c:pt>
                <c:pt idx="6">
                  <c:v>Av Price/Unit 10.16</c:v>
                </c:pt>
                <c:pt idx="7">
                  <c:v>Av Price/Unit 10.57</c:v>
                </c:pt>
                <c:pt idx="8">
                  <c:v>Av Price/Unit 25.13</c:v>
                </c:pt>
                <c:pt idx="9">
                  <c:v>Av Price/Unit 10.71</c:v>
                </c:pt>
                <c:pt idx="10">
                  <c:v>Av Price/Unit 10.21</c:v>
                </c:pt>
                <c:pt idx="11">
                  <c:v>Av Price/Unit 24.81</c:v>
                </c:pt>
              </c:strCache>
            </c:strRef>
          </c:cat>
          <c:val>
            <c:numRef>
              <c:f>Sheet1!$D$2:$D$13</c:f>
              <c:numCache>
                <c:formatCode>General</c:formatCode>
                <c:ptCount val="12"/>
                <c:pt idx="0">
                  <c:v>0.20290445333333373</c:v>
                </c:pt>
                <c:pt idx="1">
                  <c:v>0.2719673408239718</c:v>
                </c:pt>
                <c:pt idx="2">
                  <c:v>0.38813254754047044</c:v>
                </c:pt>
                <c:pt idx="3">
                  <c:v>0.5252436196319028</c:v>
                </c:pt>
                <c:pt idx="4">
                  <c:v>-0.019668786915037373</c:v>
                </c:pt>
                <c:pt idx="5">
                  <c:v>0.04196666666666715</c:v>
                </c:pt>
                <c:pt idx="6">
                  <c:v>-0.033485540334854846</c:v>
                </c:pt>
                <c:pt idx="7">
                  <c:v>0.05422844590884246</c:v>
                </c:pt>
                <c:pt idx="8">
                  <c:v>1.07932690763052</c:v>
                </c:pt>
                <c:pt idx="9">
                  <c:v>0.03571714285714478</c:v>
                </c:pt>
                <c:pt idx="10">
                  <c:v>0.004728132387707973</c:v>
                </c:pt>
                <c:pt idx="11">
                  <c:v>1.701966666666663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15</c:v>
                </c:pt>
                <c:pt idx="1">
                  <c:v>Av Price/Unit 11.37</c:v>
                </c:pt>
                <c:pt idx="2">
                  <c:v>Av Price/Unit 13.25</c:v>
                </c:pt>
                <c:pt idx="3">
                  <c:v>Av Price/Unit 13.80</c:v>
                </c:pt>
                <c:pt idx="4">
                  <c:v>Av Price/Unit 9.65</c:v>
                </c:pt>
                <c:pt idx="5">
                  <c:v>Av Price/Unit 12.55</c:v>
                </c:pt>
                <c:pt idx="6">
                  <c:v>Av Price/Unit 10.16</c:v>
                </c:pt>
                <c:pt idx="7">
                  <c:v>Av Price/Unit 10.57</c:v>
                </c:pt>
                <c:pt idx="8">
                  <c:v>Av Price/Unit 25.13</c:v>
                </c:pt>
                <c:pt idx="9">
                  <c:v>Av Price/Unit 10.71</c:v>
                </c:pt>
                <c:pt idx="10">
                  <c:v>Av Price/Unit 10.21</c:v>
                </c:pt>
                <c:pt idx="11">
                  <c:v>Av Price/Unit 24.81</c:v>
                </c:pt>
              </c:strCache>
            </c:strRef>
          </c:cat>
          <c:val>
            <c:numRef>
              <c:f>Sheet1!$E$2:$E$13</c:f>
              <c:numCache>
                <c:formatCode>General</c:formatCode>
                <c:ptCount val="12"/>
                <c:pt idx="0">
                  <c:v>1.8582666666666656</c:v>
                </c:pt>
                <c:pt idx="1">
                  <c:v>1.8957439564181133</c:v>
                </c:pt>
                <c:pt idx="2">
                  <c:v>2.2075278956467064</c:v>
                </c:pt>
                <c:pt idx="3">
                  <c:v>2.2993865030674847</c:v>
                </c:pt>
                <c:pt idx="4">
                  <c:v>1.6088141753748295</c:v>
                </c:pt>
                <c:pt idx="5">
                  <c:v>2.091733333333333</c:v>
                </c:pt>
                <c:pt idx="6">
                  <c:v>1.6933028919330289</c:v>
                </c:pt>
                <c:pt idx="7">
                  <c:v>1.7608456891817679</c:v>
                </c:pt>
                <c:pt idx="8">
                  <c:v>4.188755020080322</c:v>
                </c:pt>
                <c:pt idx="9">
                  <c:v>1.7857142857142858</c:v>
                </c:pt>
                <c:pt idx="10">
                  <c:v>1.7009456264775409</c:v>
                </c:pt>
                <c:pt idx="11">
                  <c:v>4.13492063492063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1.37</c:v>
                </c:pt>
                <c:pt idx="1">
                  <c:v>Av Price/Unit 11.26</c:v>
                </c:pt>
                <c:pt idx="2">
                  <c:v>Av Price/Unit 13.42</c:v>
                </c:pt>
                <c:pt idx="3">
                  <c:v>Av Price/Unit 13.90</c:v>
                </c:pt>
                <c:pt idx="4">
                  <c:v>Av Price/Unit 10.20</c:v>
                </c:pt>
              </c:strCache>
            </c:strRef>
          </c:cat>
          <c:val>
            <c:numRef>
              <c:f>Sheet1!$B$2:$B$6</c:f>
              <c:numCache>
                <c:formatCode>General</c:formatCode>
                <c:ptCount val="5"/>
                <c:pt idx="0">
                  <c:v>4.7536651849084794</c:v>
                </c:pt>
                <c:pt idx="1">
                  <c:v>4.645386730872125</c:v>
                </c:pt>
                <c:pt idx="2">
                  <c:v>5.397534090909091</c:v>
                </c:pt>
                <c:pt idx="3">
                  <c:v>5.6488645333333345</c:v>
                </c:pt>
                <c:pt idx="4">
                  <c:v>4.36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1.37</c:v>
                </c:pt>
                <c:pt idx="1">
                  <c:v>Av Price/Unit 11.26</c:v>
                </c:pt>
                <c:pt idx="2">
                  <c:v>Av Price/Unit 13.42</c:v>
                </c:pt>
                <c:pt idx="3">
                  <c:v>Av Price/Unit 13.90</c:v>
                </c:pt>
                <c:pt idx="4">
                  <c:v>Av Price/Unit 10.20</c:v>
                </c:pt>
              </c:strCache>
            </c:strRef>
          </c:cat>
          <c:val>
            <c:numRef>
              <c:f>Sheet1!$C$2:$C$6</c:f>
              <c:numCache>
                <c:formatCode>General</c:formatCode>
                <c:ptCount val="5"/>
                <c:pt idx="0">
                  <c:v>4.464613933507658</c:v>
                </c:pt>
                <c:pt idx="1">
                  <c:v>4.4567130551096845</c:v>
                </c:pt>
                <c:pt idx="2">
                  <c:v>5.33069090909091</c:v>
                </c:pt>
                <c:pt idx="3">
                  <c:v>5.3274370666666675</c:v>
                </c:pt>
                <c:pt idx="4">
                  <c:v>4.137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1.37</c:v>
                </c:pt>
                <c:pt idx="1">
                  <c:v>Av Price/Unit 11.26</c:v>
                </c:pt>
                <c:pt idx="2">
                  <c:v>Av Price/Unit 13.42</c:v>
                </c:pt>
                <c:pt idx="3">
                  <c:v>Av Price/Unit 13.90</c:v>
                </c:pt>
                <c:pt idx="4">
                  <c:v>Av Price/Unit 10.20</c:v>
                </c:pt>
              </c:strCache>
            </c:strRef>
          </c:cat>
          <c:val>
            <c:numRef>
              <c:f>Sheet1!$D$2:$D$6</c:f>
              <c:numCache>
                <c:formatCode>General</c:formatCode>
                <c:ptCount val="5"/>
                <c:pt idx="0">
                  <c:v>0.25345541028514873</c:v>
                </c:pt>
                <c:pt idx="1">
                  <c:v>0.28086119136793464</c:v>
                </c:pt>
                <c:pt idx="2">
                  <c:v>0.4549475378787893</c:v>
                </c:pt>
                <c:pt idx="3">
                  <c:v>0.6088835851851879</c:v>
                </c:pt>
                <c:pt idx="4">
                  <c:v>-0.03144654088050380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1.37</c:v>
                </c:pt>
                <c:pt idx="1">
                  <c:v>Av Price/Unit 11.26</c:v>
                </c:pt>
                <c:pt idx="2">
                  <c:v>Av Price/Unit 13.42</c:v>
                </c:pt>
                <c:pt idx="3">
                  <c:v>Av Price/Unit 13.90</c:v>
                </c:pt>
                <c:pt idx="4">
                  <c:v>Av Price/Unit 10.20</c:v>
                </c:pt>
              </c:strCache>
            </c:strRef>
          </c:cat>
          <c:val>
            <c:numRef>
              <c:f>Sheet1!$E$2:$E$6</c:f>
              <c:numCache>
                <c:formatCode>General</c:formatCode>
                <c:ptCount val="5"/>
                <c:pt idx="0">
                  <c:v>1.8943469057402542</c:v>
                </c:pt>
                <c:pt idx="1">
                  <c:v>1.8765828428749751</c:v>
                </c:pt>
                <c:pt idx="2">
                  <c:v>2.2366240530303028</c:v>
                </c:pt>
                <c:pt idx="3">
                  <c:v>2.317037037037035</c:v>
                </c:pt>
                <c:pt idx="4">
                  <c:v>1.693710691823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0</c:v>
                </c:pt>
                <c:pt idx="1">
                  <c:v>Av Price/Unit 11.20</c:v>
                </c:pt>
                <c:pt idx="2">
                  <c:v>Av Price/Unit 13.53</c:v>
                </c:pt>
                <c:pt idx="3">
                  <c:v>Av Price/Unit 13.81</c:v>
                </c:pt>
                <c:pt idx="4">
                  <c:v>Av Price/Unit 9.63</c:v>
                </c:pt>
                <c:pt idx="5">
                  <c:v>Av Price/Unit 10.13</c:v>
                </c:pt>
                <c:pt idx="6">
                  <c:v>Av Price/Unit 10.67</c:v>
                </c:pt>
                <c:pt idx="7">
                  <c:v>Av Price/Unit 10.59</c:v>
                </c:pt>
                <c:pt idx="8">
                  <c:v>Av Price/Unit 10.45</c:v>
                </c:pt>
                <c:pt idx="9">
                  <c:v>Av Price/Unit 24.18</c:v>
                </c:pt>
                <c:pt idx="10">
                  <c:v>Av Price/Unit 24.89</c:v>
                </c:pt>
                <c:pt idx="11">
                  <c:v>Av Price/Unit 9.71</c:v>
                </c:pt>
              </c:strCache>
            </c:strRef>
          </c:cat>
          <c:val>
            <c:numRef>
              <c:f>Sheet1!$B$2:$B$13</c:f>
              <c:numCache>
                <c:formatCode>General</c:formatCode>
                <c:ptCount val="12"/>
                <c:pt idx="0">
                  <c:v>4.7570874003309775</c:v>
                </c:pt>
                <c:pt idx="1">
                  <c:v>4.648554914183246</c:v>
                </c:pt>
                <c:pt idx="2">
                  <c:v>5.411350469554682</c:v>
                </c:pt>
                <c:pt idx="3">
                  <c:v>5.6572593785524825</c:v>
                </c:pt>
                <c:pt idx="4">
                  <c:v>2.8762372968580716</c:v>
                </c:pt>
                <c:pt idx="5">
                  <c:v>4.362499999999999</c:v>
                </c:pt>
                <c:pt idx="6">
                  <c:v>3.1256136842105264</c:v>
                </c:pt>
                <c:pt idx="7">
                  <c:v>3.5545856031128404</c:v>
                </c:pt>
                <c:pt idx="8">
                  <c:v>3.0667</c:v>
                </c:pt>
                <c:pt idx="9">
                  <c:v>9.202003827751195</c:v>
                </c:pt>
                <c:pt idx="10">
                  <c:v>9.38870790960452</c:v>
                </c:pt>
                <c:pt idx="11">
                  <c:v>2.868322811671087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0</c:v>
                </c:pt>
                <c:pt idx="1">
                  <c:v>Av Price/Unit 11.20</c:v>
                </c:pt>
                <c:pt idx="2">
                  <c:v>Av Price/Unit 13.53</c:v>
                </c:pt>
                <c:pt idx="3">
                  <c:v>Av Price/Unit 13.81</c:v>
                </c:pt>
                <c:pt idx="4">
                  <c:v>Av Price/Unit 9.63</c:v>
                </c:pt>
                <c:pt idx="5">
                  <c:v>Av Price/Unit 10.13</c:v>
                </c:pt>
                <c:pt idx="6">
                  <c:v>Av Price/Unit 10.67</c:v>
                </c:pt>
                <c:pt idx="7">
                  <c:v>Av Price/Unit 10.59</c:v>
                </c:pt>
                <c:pt idx="8">
                  <c:v>Av Price/Unit 10.45</c:v>
                </c:pt>
                <c:pt idx="9">
                  <c:v>Av Price/Unit 24.18</c:v>
                </c:pt>
                <c:pt idx="10">
                  <c:v>Av Price/Unit 24.89</c:v>
                </c:pt>
                <c:pt idx="11">
                  <c:v>Av Price/Unit 9.71</c:v>
                </c:pt>
              </c:strCache>
            </c:strRef>
          </c:cat>
          <c:val>
            <c:numRef>
              <c:f>Sheet1!$C$2:$C$13</c:f>
              <c:numCache>
                <c:formatCode>General</c:formatCode>
                <c:ptCount val="12"/>
                <c:pt idx="0">
                  <c:v>4.468023958176621</c:v>
                </c:pt>
                <c:pt idx="1">
                  <c:v>4.457011570318504</c:v>
                </c:pt>
                <c:pt idx="2">
                  <c:v>5.336526022417449</c:v>
                </c:pt>
                <c:pt idx="3">
                  <c:v>5.302545471769609</c:v>
                </c:pt>
                <c:pt idx="4">
                  <c:v>5.189328277356446</c:v>
                </c:pt>
                <c:pt idx="5">
                  <c:v>4.137500000000001</c:v>
                </c:pt>
                <c:pt idx="6">
                  <c:v>5.7515789473684205</c:v>
                </c:pt>
                <c:pt idx="7">
                  <c:v>5.195414396887159</c:v>
                </c:pt>
                <c:pt idx="8">
                  <c:v>5.6</c:v>
                </c:pt>
                <c:pt idx="9">
                  <c:v>9.749732057416267</c:v>
                </c:pt>
                <c:pt idx="10">
                  <c:v>10.409929378531073</c:v>
                </c:pt>
                <c:pt idx="11">
                  <c:v>5.17745358090185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0</c:v>
                </c:pt>
                <c:pt idx="1">
                  <c:v>Av Price/Unit 11.20</c:v>
                </c:pt>
                <c:pt idx="2">
                  <c:v>Av Price/Unit 13.53</c:v>
                </c:pt>
                <c:pt idx="3">
                  <c:v>Av Price/Unit 13.81</c:v>
                </c:pt>
                <c:pt idx="4">
                  <c:v>Av Price/Unit 9.63</c:v>
                </c:pt>
                <c:pt idx="5">
                  <c:v>Av Price/Unit 10.13</c:v>
                </c:pt>
                <c:pt idx="6">
                  <c:v>Av Price/Unit 10.67</c:v>
                </c:pt>
                <c:pt idx="7">
                  <c:v>Av Price/Unit 10.59</c:v>
                </c:pt>
                <c:pt idx="8">
                  <c:v>Av Price/Unit 10.45</c:v>
                </c:pt>
                <c:pt idx="9">
                  <c:v>Av Price/Unit 24.18</c:v>
                </c:pt>
                <c:pt idx="10">
                  <c:v>Av Price/Unit 24.89</c:v>
                </c:pt>
                <c:pt idx="11">
                  <c:v>Av Price/Unit 9.71</c:v>
                </c:pt>
              </c:strCache>
            </c:strRef>
          </c:cat>
          <c:val>
            <c:numRef>
              <c:f>Sheet1!$D$2:$D$13</c:f>
              <c:numCache>
                <c:formatCode>General</c:formatCode>
                <c:ptCount val="12"/>
                <c:pt idx="0">
                  <c:v>0.2734092773682377</c:v>
                </c:pt>
                <c:pt idx="1">
                  <c:v>0.22488298465829892</c:v>
                </c:pt>
                <c:pt idx="2">
                  <c:v>0.5274223366656585</c:v>
                </c:pt>
                <c:pt idx="3">
                  <c:v>0.5455001894657077</c:v>
                </c:pt>
                <c:pt idx="4">
                  <c:v>-0.03694513362224683</c:v>
                </c:pt>
                <c:pt idx="5">
                  <c:v>-0.0560775102759834</c:v>
                </c:pt>
                <c:pt idx="6">
                  <c:v>0.014035438596494032</c:v>
                </c:pt>
                <c:pt idx="7">
                  <c:v>0.0745784695201035</c:v>
                </c:pt>
                <c:pt idx="8">
                  <c:v>0.024539316239316378</c:v>
                </c:pt>
                <c:pt idx="9">
                  <c:v>1.1997792663476865</c:v>
                </c:pt>
                <c:pt idx="10">
                  <c:v>0.940534086629004</c:v>
                </c:pt>
                <c:pt idx="11">
                  <c:v>0.0421988505747119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40</c:v>
                </c:pt>
                <c:pt idx="1">
                  <c:v>Av Price/Unit 11.20</c:v>
                </c:pt>
                <c:pt idx="2">
                  <c:v>Av Price/Unit 13.53</c:v>
                </c:pt>
                <c:pt idx="3">
                  <c:v>Av Price/Unit 13.81</c:v>
                </c:pt>
                <c:pt idx="4">
                  <c:v>Av Price/Unit 9.63</c:v>
                </c:pt>
                <c:pt idx="5">
                  <c:v>Av Price/Unit 10.13</c:v>
                </c:pt>
                <c:pt idx="6">
                  <c:v>Av Price/Unit 10.67</c:v>
                </c:pt>
                <c:pt idx="7">
                  <c:v>Av Price/Unit 10.59</c:v>
                </c:pt>
                <c:pt idx="8">
                  <c:v>Av Price/Unit 10.45</c:v>
                </c:pt>
                <c:pt idx="9">
                  <c:v>Av Price/Unit 24.18</c:v>
                </c:pt>
                <c:pt idx="10">
                  <c:v>Av Price/Unit 24.89</c:v>
                </c:pt>
                <c:pt idx="11">
                  <c:v>Av Price/Unit 9.71</c:v>
                </c:pt>
              </c:strCache>
            </c:strRef>
          </c:cat>
          <c:val>
            <c:numRef>
              <c:f>Sheet1!$E$2:$E$13</c:f>
              <c:numCache>
                <c:formatCode>General</c:formatCode>
                <c:ptCount val="12"/>
                <c:pt idx="0">
                  <c:v>1.899704127175166</c:v>
                </c:pt>
                <c:pt idx="1">
                  <c:v>1.8660803233427254</c:v>
                </c:pt>
                <c:pt idx="2">
                  <c:v>2.2550489750580627</c:v>
                </c:pt>
                <c:pt idx="3">
                  <c:v>2.3010610079575597</c:v>
                </c:pt>
                <c:pt idx="4">
                  <c:v>1.605724088118455</c:v>
                </c:pt>
                <c:pt idx="5">
                  <c:v>1.6887844979448032</c:v>
                </c:pt>
                <c:pt idx="6">
                  <c:v>1.7782456140350864</c:v>
                </c:pt>
                <c:pt idx="7">
                  <c:v>1.7649156939040214</c:v>
                </c:pt>
                <c:pt idx="8">
                  <c:v>1.7382478632478633</c:v>
                </c:pt>
                <c:pt idx="9">
                  <c:v>4.0303030303030285</c:v>
                </c:pt>
                <c:pt idx="10">
                  <c:v>4.147834274952916</c:v>
                </c:pt>
                <c:pt idx="11">
                  <c:v>1.617595048629531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1.15</c:v>
                </c:pt>
                <c:pt idx="1">
                  <c:v>Av Price/Unit 11.57</c:v>
                </c:pt>
                <c:pt idx="2">
                  <c:v>Av Price/Unit 13.45</c:v>
                </c:pt>
                <c:pt idx="3">
                  <c:v>Av Price/Unit 9.73</c:v>
                </c:pt>
                <c:pt idx="4">
                  <c:v>Av Price/Unit 14.10</c:v>
                </c:pt>
                <c:pt idx="5">
                  <c:v>Av Price/Unit 12.78</c:v>
                </c:pt>
              </c:strCache>
            </c:strRef>
          </c:cat>
          <c:val>
            <c:numRef>
              <c:f>Sheet1!$B$2:$B$7</c:f>
              <c:numCache>
                <c:formatCode>General</c:formatCode>
                <c:ptCount val="6"/>
                <c:pt idx="0">
                  <c:v>4.619426224328595</c:v>
                </c:pt>
                <c:pt idx="1">
                  <c:v>4.7427183844011145</c:v>
                </c:pt>
                <c:pt idx="2">
                  <c:v>5.269939316239317</c:v>
                </c:pt>
                <c:pt idx="3">
                  <c:v>2.8753873893805313</c:v>
                </c:pt>
                <c:pt idx="4">
                  <c:v>5.650296774193548</c:v>
                </c:pt>
                <c:pt idx="5">
                  <c:v>4.5267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1.15</c:v>
                </c:pt>
                <c:pt idx="1">
                  <c:v>Av Price/Unit 11.57</c:v>
                </c:pt>
                <c:pt idx="2">
                  <c:v>Av Price/Unit 13.45</c:v>
                </c:pt>
                <c:pt idx="3">
                  <c:v>Av Price/Unit 9.73</c:v>
                </c:pt>
                <c:pt idx="4">
                  <c:v>Av Price/Unit 14.10</c:v>
                </c:pt>
                <c:pt idx="5">
                  <c:v>Av Price/Unit 12.78</c:v>
                </c:pt>
              </c:strCache>
            </c:strRef>
          </c:cat>
          <c:val>
            <c:numRef>
              <c:f>Sheet1!$C$2:$C$7</c:f>
              <c:numCache>
                <c:formatCode>General</c:formatCode>
                <c:ptCount val="6"/>
                <c:pt idx="0">
                  <c:v>4.454266982622433</c:v>
                </c:pt>
                <c:pt idx="1">
                  <c:v>4.453706128133705</c:v>
                </c:pt>
                <c:pt idx="2">
                  <c:v>5.27680341880342</c:v>
                </c:pt>
                <c:pt idx="3">
                  <c:v>5.188053097345133</c:v>
                </c:pt>
                <c:pt idx="4">
                  <c:v>5.323190322580645</c:v>
                </c:pt>
                <c:pt idx="5">
                  <c:v>5.8900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1.15</c:v>
                </c:pt>
                <c:pt idx="1">
                  <c:v>Av Price/Unit 11.57</c:v>
                </c:pt>
                <c:pt idx="2">
                  <c:v>Av Price/Unit 13.45</c:v>
                </c:pt>
                <c:pt idx="3">
                  <c:v>Av Price/Unit 9.73</c:v>
                </c:pt>
                <c:pt idx="4">
                  <c:v>Av Price/Unit 14.10</c:v>
                </c:pt>
                <c:pt idx="5">
                  <c:v>Av Price/Unit 12.78</c:v>
                </c:pt>
              </c:strCache>
            </c:strRef>
          </c:cat>
          <c:val>
            <c:numRef>
              <c:f>Sheet1!$D$2:$D$7</c:f>
              <c:numCache>
                <c:formatCode>General</c:formatCode>
                <c:ptCount val="6"/>
                <c:pt idx="0">
                  <c:v>0.21873536071616684</c:v>
                </c:pt>
                <c:pt idx="1">
                  <c:v>0.44145849582172936</c:v>
                </c:pt>
                <c:pt idx="2">
                  <c:v>0.6593718898385568</c:v>
                </c:pt>
                <c:pt idx="3">
                  <c:v>0.041279277286134786</c:v>
                </c:pt>
                <c:pt idx="4">
                  <c:v>0.7738247311827937</c:v>
                </c:pt>
                <c:pt idx="5">
                  <c:v>0.2340936507936497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11.15</c:v>
                </c:pt>
                <c:pt idx="1">
                  <c:v>Av Price/Unit 11.57</c:v>
                </c:pt>
                <c:pt idx="2">
                  <c:v>Av Price/Unit 13.45</c:v>
                </c:pt>
                <c:pt idx="3">
                  <c:v>Av Price/Unit 9.73</c:v>
                </c:pt>
                <c:pt idx="4">
                  <c:v>Av Price/Unit 14.10</c:v>
                </c:pt>
                <c:pt idx="5">
                  <c:v>Av Price/Unit 12.78</c:v>
                </c:pt>
              </c:strCache>
            </c:strRef>
          </c:cat>
          <c:val>
            <c:numRef>
              <c:f>Sheet1!$E$2:$E$7</c:f>
              <c:numCache>
                <c:formatCode>General</c:formatCode>
                <c:ptCount val="6"/>
                <c:pt idx="0">
                  <c:v>1.8584781463928375</c:v>
                </c:pt>
                <c:pt idx="1">
                  <c:v>1.9275766016713092</c:v>
                </c:pt>
                <c:pt idx="2">
                  <c:v>2.241215574548909</c:v>
                </c:pt>
                <c:pt idx="3">
                  <c:v>1.6209439528023606</c:v>
                </c:pt>
                <c:pt idx="4">
                  <c:v>2.3494623655913984</c:v>
                </c:pt>
                <c:pt idx="5">
                  <c:v>2.13015873015873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FD33828-BE78-426F-B7AD-65B1CF6A3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36EDEF7-3F5E-40FE-AE95-3C1C242DB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D2F055E-9C31-4C9A-A424-0FF2FF925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8170589-1CA5-4BAB-9D10-0AC6663C4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7C74C1C-402E-472B-814F-35F2B19D2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145D4E3-B7F0-4A3B-82CE-E57D2FED7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4F4DC2F-58F6-4D9E-9E1D-1052C0FCC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A4BBB01-B931-4FDA-A452-72C860317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629</c:v>
                </c:pt>
                <c:pt idx="1">
                  <c:v>9.6656</c:v>
                </c:pt>
                <c:pt idx="2">
                  <c:v>8.9262</c:v>
                </c:pt>
                <c:pt idx="3">
                  <c:v>9.2418</c:v>
                </c:pt>
                <c:pt idx="4">
                  <c:v>9.2459</c:v>
                </c:pt>
              </c:numCache>
            </c:numRef>
          </c:xVal>
          <c:yVal>
            <c:numRef>
              <c:f>Sheet1!$B$2:$B$6</c:f>
              <c:numCache>
                <c:formatCode>General</c:formatCode>
                <c:ptCount val="5"/>
                <c:pt idx="0">
                  <c:v>0.5441</c:v>
                </c:pt>
                <c:pt idx="1">
                  <c:v>0.5428</c:v>
                </c:pt>
                <c:pt idx="2">
                  <c:v>0.5516</c:v>
                </c:pt>
                <c:pt idx="3">
                  <c:v>0.5304</c:v>
                </c:pt>
                <c:pt idx="4">
                  <c:v>0.5474</c:v>
                </c:pt>
              </c:numCache>
            </c:numRef>
          </c:yVal>
          <c:bubbleSize>
            <c:numRef>
              <c:f>Sheet1!$C$2:$C$6</c:f>
              <c:numCache>
                <c:formatCode>General</c:formatCode>
                <c:ptCount val="5"/>
                <c:pt idx="0">
                  <c:v>937471.0161999998</c:v>
                </c:pt>
                <c:pt idx="1">
                  <c:v>156409.34919999994</c:v>
                </c:pt>
                <c:pt idx="2">
                  <c:v>13790.920100000001</c:v>
                </c:pt>
                <c:pt idx="3">
                  <c:v>103859.7988</c:v>
                </c:pt>
                <c:pt idx="4">
                  <c:v>33414.61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598719999999998"/>
          <c:min val="7.1409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429654032951744"/>
        <c:crossBetween val="midCat"/>
      </c:valAx>
      <c:valAx>
        <c:axId val="1011451359"/>
        <c:scaling>
          <c:orientation val="minMax"/>
          <c:max val="1.02192"/>
          <c:min val="0.1843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9.58322826231375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1.37</c:v>
                </c:pt>
                <c:pt idx="1">
                  <c:v>Av Price/Unit 10.99</c:v>
                </c:pt>
                <c:pt idx="2">
                  <c:v>Av Price/Unit 13.27</c:v>
                </c:pt>
                <c:pt idx="3">
                  <c:v>Av Price/Unit 14.18</c:v>
                </c:pt>
              </c:strCache>
            </c:strRef>
          </c:cat>
          <c:val>
            <c:numRef>
              <c:f>Sheet1!$B$2:$B$5</c:f>
              <c:numCache>
                <c:formatCode>General</c:formatCode>
                <c:ptCount val="4"/>
                <c:pt idx="0">
                  <c:v>4.726046284501061</c:v>
                </c:pt>
                <c:pt idx="1">
                  <c:v>4.616619424460432</c:v>
                </c:pt>
                <c:pt idx="2">
                  <c:v>5.313010822510823</c:v>
                </c:pt>
                <c:pt idx="3">
                  <c:v>5.64650344827586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1.37</c:v>
                </c:pt>
                <c:pt idx="1">
                  <c:v>Av Price/Unit 10.99</c:v>
                </c:pt>
                <c:pt idx="2">
                  <c:v>Av Price/Unit 13.27</c:v>
                </c:pt>
                <c:pt idx="3">
                  <c:v>Av Price/Unit 14.18</c:v>
                </c:pt>
              </c:strCache>
            </c:strRef>
          </c:cat>
          <c:val>
            <c:numRef>
              <c:f>Sheet1!$C$2:$C$5</c:f>
              <c:numCache>
                <c:formatCode>General</c:formatCode>
                <c:ptCount val="4"/>
                <c:pt idx="0">
                  <c:v>4.437093418259023</c:v>
                </c:pt>
                <c:pt idx="1">
                  <c:v>4.454002517985612</c:v>
                </c:pt>
                <c:pt idx="2">
                  <c:v>5.29499393939394</c:v>
                </c:pt>
                <c:pt idx="3">
                  <c:v>5.33443793103448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1.37</c:v>
                </c:pt>
                <c:pt idx="1">
                  <c:v>Av Price/Unit 10.99</c:v>
                </c:pt>
                <c:pt idx="2">
                  <c:v>Av Price/Unit 13.27</c:v>
                </c:pt>
                <c:pt idx="3">
                  <c:v>Av Price/Unit 14.18</c:v>
                </c:pt>
              </c:strCache>
            </c:strRef>
          </c:cat>
          <c:val>
            <c:numRef>
              <c:f>Sheet1!$D$2:$D$5</c:f>
              <c:numCache>
                <c:formatCode>General</c:formatCode>
                <c:ptCount val="4"/>
                <c:pt idx="0">
                  <c:v>0.30872866242038377</c:v>
                </c:pt>
                <c:pt idx="1">
                  <c:v>0.08708878896882588</c:v>
                </c:pt>
                <c:pt idx="2">
                  <c:v>0.45444704184704143</c:v>
                </c:pt>
                <c:pt idx="3">
                  <c:v>0.832995402298848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1.37</c:v>
                </c:pt>
                <c:pt idx="1">
                  <c:v>Av Price/Unit 10.99</c:v>
                </c:pt>
                <c:pt idx="2">
                  <c:v>Av Price/Unit 13.27</c:v>
                </c:pt>
                <c:pt idx="3">
                  <c:v>Av Price/Unit 14.18</c:v>
                </c:pt>
              </c:strCache>
            </c:strRef>
          </c:cat>
          <c:val>
            <c:numRef>
              <c:f>Sheet1!$E$2:$E$5</c:f>
              <c:numCache>
                <c:formatCode>General</c:formatCode>
                <c:ptCount val="4"/>
                <c:pt idx="0">
                  <c:v>1.8943736730360934</c:v>
                </c:pt>
                <c:pt idx="1">
                  <c:v>1.8315347721822537</c:v>
                </c:pt>
                <c:pt idx="2">
                  <c:v>2.212481962481961</c:v>
                </c:pt>
                <c:pt idx="3">
                  <c:v>2.362787356321840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1.70</c:v>
                </c:pt>
                <c:pt idx="1">
                  <c:v>Av Price/Unit 11.59</c:v>
                </c:pt>
                <c:pt idx="2">
                  <c:v>Av Price/Unit 13.95</c:v>
                </c:pt>
              </c:strCache>
            </c:strRef>
          </c:cat>
          <c:val>
            <c:numRef>
              <c:f>Sheet1!$B$2:$B$4</c:f>
              <c:numCache>
                <c:formatCode>General</c:formatCode>
                <c:ptCount val="3"/>
                <c:pt idx="0">
                  <c:v>4.747083957219251</c:v>
                </c:pt>
                <c:pt idx="1">
                  <c:v>4.6238131147541</c:v>
                </c:pt>
                <c:pt idx="2">
                  <c:v>5.39105940594059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1.70</c:v>
                </c:pt>
                <c:pt idx="1">
                  <c:v>Av Price/Unit 11.59</c:v>
                </c:pt>
                <c:pt idx="2">
                  <c:v>Av Price/Unit 13.95</c:v>
                </c:pt>
              </c:strCache>
            </c:strRef>
          </c:cat>
          <c:val>
            <c:numRef>
              <c:f>Sheet1!$C$2:$C$4</c:f>
              <c:numCache>
                <c:formatCode>General</c:formatCode>
                <c:ptCount val="3"/>
                <c:pt idx="0">
                  <c:v>4.458056149732621</c:v>
                </c:pt>
                <c:pt idx="1">
                  <c:v>4.454680327868853</c:v>
                </c:pt>
                <c:pt idx="2">
                  <c:v>5.32795643564356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1.70</c:v>
                </c:pt>
                <c:pt idx="1">
                  <c:v>Av Price/Unit 11.59</c:v>
                </c:pt>
                <c:pt idx="2">
                  <c:v>Av Price/Unit 13.95</c:v>
                </c:pt>
              </c:strCache>
            </c:strRef>
          </c:cat>
          <c:val>
            <c:numRef>
              <c:f>Sheet1!$D$2:$D$4</c:f>
              <c:numCache>
                <c:formatCode>General</c:formatCode>
                <c:ptCount val="3"/>
                <c:pt idx="0">
                  <c:v>0.5453055258467021</c:v>
                </c:pt>
                <c:pt idx="1">
                  <c:v>0.5800158469945345</c:v>
                </c:pt>
                <c:pt idx="2">
                  <c:v>0.906448184818483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1.70</c:v>
                </c:pt>
                <c:pt idx="1">
                  <c:v>Av Price/Unit 11.59</c:v>
                </c:pt>
                <c:pt idx="2">
                  <c:v>Av Price/Unit 13.95</c:v>
                </c:pt>
              </c:strCache>
            </c:strRef>
          </c:cat>
          <c:val>
            <c:numRef>
              <c:f>Sheet1!$E$2:$E$4</c:f>
              <c:numCache>
                <c:formatCode>General</c:formatCode>
                <c:ptCount val="3"/>
                <c:pt idx="0">
                  <c:v>1.9500891265597151</c:v>
                </c:pt>
                <c:pt idx="1">
                  <c:v>1.931693989071039</c:v>
                </c:pt>
                <c:pt idx="2">
                  <c:v>2.32508250825082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1.31</c:v>
                </c:pt>
                <c:pt idx="1">
                  <c:v>Av Price/Unit 11.17</c:v>
                </c:pt>
                <c:pt idx="2">
                  <c:v>Av Price/Unit 13.27</c:v>
                </c:pt>
                <c:pt idx="3">
                  <c:v>Av Price/Unit 13.82</c:v>
                </c:pt>
                <c:pt idx="4">
                  <c:v>Av Price/Unit 10.18</c:v>
                </c:pt>
                <c:pt idx="5">
                  <c:v>Av Price/Unit 24.65</c:v>
                </c:pt>
                <c:pt idx="6">
                  <c:v>Av Price/Unit 24.23</c:v>
                </c:pt>
                <c:pt idx="7">
                  <c:v>Av Price/Unit 25.10</c:v>
                </c:pt>
              </c:strCache>
            </c:strRef>
          </c:cat>
          <c:val>
            <c:numRef>
              <c:f>Sheet1!$B$2:$B$9</c:f>
              <c:numCache>
                <c:formatCode>General</c:formatCode>
                <c:ptCount val="8"/>
                <c:pt idx="0">
                  <c:v>4.751592386759581</c:v>
                </c:pt>
                <c:pt idx="1">
                  <c:v>4.645450057758953</c:v>
                </c:pt>
                <c:pt idx="2">
                  <c:v>5.389002964008469</c:v>
                </c:pt>
                <c:pt idx="3">
                  <c:v>5.65706830601093</c:v>
                </c:pt>
                <c:pt idx="4">
                  <c:v>4.362499999999999</c:v>
                </c:pt>
                <c:pt idx="5">
                  <c:v>9.349677173913044</c:v>
                </c:pt>
                <c:pt idx="6">
                  <c:v>9.198005319148937</c:v>
                </c:pt>
                <c:pt idx="7">
                  <c:v>9.06164262295081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1.31</c:v>
                </c:pt>
                <c:pt idx="1">
                  <c:v>Av Price/Unit 11.17</c:v>
                </c:pt>
                <c:pt idx="2">
                  <c:v>Av Price/Unit 13.27</c:v>
                </c:pt>
                <c:pt idx="3">
                  <c:v>Av Price/Unit 13.82</c:v>
                </c:pt>
                <c:pt idx="4">
                  <c:v>Av Price/Unit 10.18</c:v>
                </c:pt>
                <c:pt idx="5">
                  <c:v>Av Price/Unit 24.65</c:v>
                </c:pt>
                <c:pt idx="6">
                  <c:v>Av Price/Unit 24.23</c:v>
                </c:pt>
                <c:pt idx="7">
                  <c:v>Av Price/Unit 25.10</c:v>
                </c:pt>
              </c:strCache>
            </c:strRef>
          </c:cat>
          <c:val>
            <c:numRef>
              <c:f>Sheet1!$C$2:$C$9</c:f>
              <c:numCache>
                <c:formatCode>General</c:formatCode>
                <c:ptCount val="8"/>
                <c:pt idx="0">
                  <c:v>4.462548519163763</c:v>
                </c:pt>
                <c:pt idx="1">
                  <c:v>4.456719021948403</c:v>
                </c:pt>
                <c:pt idx="2">
                  <c:v>5.327087932251235</c:v>
                </c:pt>
                <c:pt idx="3">
                  <c:v>5.303112021857922</c:v>
                </c:pt>
                <c:pt idx="4">
                  <c:v>4.1375</c:v>
                </c:pt>
                <c:pt idx="5">
                  <c:v>10.356222826086956</c:v>
                </c:pt>
                <c:pt idx="6">
                  <c:v>9.783689361702129</c:v>
                </c:pt>
                <c:pt idx="7">
                  <c:v>10.01145573770491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1.31</c:v>
                </c:pt>
                <c:pt idx="1">
                  <c:v>Av Price/Unit 11.17</c:v>
                </c:pt>
                <c:pt idx="2">
                  <c:v>Av Price/Unit 13.27</c:v>
                </c:pt>
                <c:pt idx="3">
                  <c:v>Av Price/Unit 13.82</c:v>
                </c:pt>
                <c:pt idx="4">
                  <c:v>Av Price/Unit 10.18</c:v>
                </c:pt>
                <c:pt idx="5">
                  <c:v>Av Price/Unit 24.65</c:v>
                </c:pt>
                <c:pt idx="6">
                  <c:v>Av Price/Unit 24.23</c:v>
                </c:pt>
                <c:pt idx="7">
                  <c:v>Av Price/Unit 25.10</c:v>
                </c:pt>
              </c:strCache>
            </c:strRef>
          </c:cat>
          <c:val>
            <c:numRef>
              <c:f>Sheet1!$D$2:$D$9</c:f>
              <c:numCache>
                <c:formatCode>General</c:formatCode>
                <c:ptCount val="8"/>
                <c:pt idx="0">
                  <c:v>0.21152692218350921</c:v>
                </c:pt>
                <c:pt idx="1">
                  <c:v>0.2055724810678985</c:v>
                </c:pt>
                <c:pt idx="2">
                  <c:v>0.3393002587626448</c:v>
                </c:pt>
                <c:pt idx="3">
                  <c:v>0.5600662743449618</c:v>
                </c:pt>
                <c:pt idx="4">
                  <c:v>-0.030874785591766596</c:v>
                </c:pt>
                <c:pt idx="5">
                  <c:v>0.837578260869563</c:v>
                </c:pt>
                <c:pt idx="6">
                  <c:v>1.2133407801418414</c:v>
                </c:pt>
                <c:pt idx="7">
                  <c:v>1.84220218579235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1.31</c:v>
                </c:pt>
                <c:pt idx="1">
                  <c:v>Av Price/Unit 11.17</c:v>
                </c:pt>
                <c:pt idx="2">
                  <c:v>Av Price/Unit 13.27</c:v>
                </c:pt>
                <c:pt idx="3">
                  <c:v>Av Price/Unit 13.82</c:v>
                </c:pt>
                <c:pt idx="4">
                  <c:v>Av Price/Unit 10.18</c:v>
                </c:pt>
                <c:pt idx="5">
                  <c:v>Av Price/Unit 24.65</c:v>
                </c:pt>
                <c:pt idx="6">
                  <c:v>Av Price/Unit 24.23</c:v>
                </c:pt>
                <c:pt idx="7">
                  <c:v>Av Price/Unit 25.10</c:v>
                </c:pt>
              </c:strCache>
            </c:strRef>
          </c:cat>
          <c:val>
            <c:numRef>
              <c:f>Sheet1!$E$2:$E$9</c:f>
              <c:numCache>
                <c:formatCode>General</c:formatCode>
                <c:ptCount val="8"/>
                <c:pt idx="0">
                  <c:v>1.8851335656213688</c:v>
                </c:pt>
                <c:pt idx="1">
                  <c:v>1.861538955204724</c:v>
                </c:pt>
                <c:pt idx="2">
                  <c:v>2.211067984003763</c:v>
                </c:pt>
                <c:pt idx="3">
                  <c:v>2.3040493204427626</c:v>
                </c:pt>
                <c:pt idx="4">
                  <c:v>1.6938250428816466</c:v>
                </c:pt>
                <c:pt idx="5">
                  <c:v>4.10869565217391</c:v>
                </c:pt>
                <c:pt idx="6">
                  <c:v>4.03900709219858</c:v>
                </c:pt>
                <c:pt idx="7">
                  <c:v>4.18306010928961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11.17</c:v>
                </c:pt>
                <c:pt idx="1">
                  <c:v>Av Price/Unit 11.38</c:v>
                </c:pt>
                <c:pt idx="2">
                  <c:v>Av Price/Unit 13.57</c:v>
                </c:pt>
                <c:pt idx="3">
                  <c:v>Av Price/Unit 9.67</c:v>
                </c:pt>
                <c:pt idx="4">
                  <c:v>Av Price/Unit 13.77</c:v>
                </c:pt>
                <c:pt idx="5">
                  <c:v>Av Price/Unit 12.57</c:v>
                </c:pt>
                <c:pt idx="6">
                  <c:v>Av Price/Unit 10.17</c:v>
                </c:pt>
                <c:pt idx="7">
                  <c:v>Av Price/Unit 10.80</c:v>
                </c:pt>
                <c:pt idx="8">
                  <c:v>Av Price/Unit 10.75</c:v>
                </c:pt>
                <c:pt idx="9">
                  <c:v>Av Price/Unit 25.02</c:v>
                </c:pt>
              </c:strCache>
            </c:strRef>
          </c:cat>
          <c:val>
            <c:numRef>
              <c:f>Sheet1!$B$2:$B$11</c:f>
              <c:numCache>
                <c:formatCode>General</c:formatCode>
                <c:ptCount val="10"/>
                <c:pt idx="0">
                  <c:v>4.645729809523811</c:v>
                </c:pt>
                <c:pt idx="1">
                  <c:v>4.760414509803921</c:v>
                </c:pt>
                <c:pt idx="2">
                  <c:v>5.405899118683902</c:v>
                </c:pt>
                <c:pt idx="3">
                  <c:v>2.8750830674215133</c:v>
                </c:pt>
                <c:pt idx="4">
                  <c:v>5.659556790123457</c:v>
                </c:pt>
                <c:pt idx="5">
                  <c:v>4.5267</c:v>
                </c:pt>
                <c:pt idx="6">
                  <c:v>4.3625</c:v>
                </c:pt>
                <c:pt idx="7">
                  <c:v>3.1414760869565215</c:v>
                </c:pt>
                <c:pt idx="8">
                  <c:v>3.554539622641509</c:v>
                </c:pt>
                <c:pt idx="9">
                  <c:v>9.1989499999999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11.17</c:v>
                </c:pt>
                <c:pt idx="1">
                  <c:v>Av Price/Unit 11.38</c:v>
                </c:pt>
                <c:pt idx="2">
                  <c:v>Av Price/Unit 13.57</c:v>
                </c:pt>
                <c:pt idx="3">
                  <c:v>Av Price/Unit 9.67</c:v>
                </c:pt>
                <c:pt idx="4">
                  <c:v>Av Price/Unit 13.77</c:v>
                </c:pt>
                <c:pt idx="5">
                  <c:v>Av Price/Unit 12.57</c:v>
                </c:pt>
                <c:pt idx="6">
                  <c:v>Av Price/Unit 10.17</c:v>
                </c:pt>
                <c:pt idx="7">
                  <c:v>Av Price/Unit 10.80</c:v>
                </c:pt>
                <c:pt idx="8">
                  <c:v>Av Price/Unit 10.75</c:v>
                </c:pt>
                <c:pt idx="9">
                  <c:v>Av Price/Unit 25.02</c:v>
                </c:pt>
              </c:strCache>
            </c:strRef>
          </c:cat>
          <c:val>
            <c:numRef>
              <c:f>Sheet1!$C$2:$C$11</c:f>
              <c:numCache>
                <c:formatCode>General</c:formatCode>
                <c:ptCount val="10"/>
                <c:pt idx="0">
                  <c:v>4.456745380952382</c:v>
                </c:pt>
                <c:pt idx="1">
                  <c:v>4.471339215686274</c:v>
                </c:pt>
                <c:pt idx="2">
                  <c:v>5.334223736780259</c:v>
                </c:pt>
                <c:pt idx="3">
                  <c:v>5.187596500257334</c:v>
                </c:pt>
                <c:pt idx="4">
                  <c:v>5.295733405954976</c:v>
                </c:pt>
                <c:pt idx="5">
                  <c:v>5.89</c:v>
                </c:pt>
                <c:pt idx="6">
                  <c:v>4.1375</c:v>
                </c:pt>
                <c:pt idx="7">
                  <c:v>5.792391304347826</c:v>
                </c:pt>
                <c:pt idx="8">
                  <c:v>5.195460377358492</c:v>
                </c:pt>
                <c:pt idx="9">
                  <c:v>9.77566666666666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11.17</c:v>
                </c:pt>
                <c:pt idx="1">
                  <c:v>Av Price/Unit 11.38</c:v>
                </c:pt>
                <c:pt idx="2">
                  <c:v>Av Price/Unit 13.57</c:v>
                </c:pt>
                <c:pt idx="3">
                  <c:v>Av Price/Unit 9.67</c:v>
                </c:pt>
                <c:pt idx="4">
                  <c:v>Av Price/Unit 13.77</c:v>
                </c:pt>
                <c:pt idx="5">
                  <c:v>Av Price/Unit 12.57</c:v>
                </c:pt>
                <c:pt idx="6">
                  <c:v>Av Price/Unit 10.17</c:v>
                </c:pt>
                <c:pt idx="7">
                  <c:v>Av Price/Unit 10.80</c:v>
                </c:pt>
                <c:pt idx="8">
                  <c:v>Av Price/Unit 10.75</c:v>
                </c:pt>
                <c:pt idx="9">
                  <c:v>Av Price/Unit 25.02</c:v>
                </c:pt>
              </c:strCache>
            </c:strRef>
          </c:cat>
          <c:val>
            <c:numRef>
              <c:f>Sheet1!$D$2:$D$11</c:f>
              <c:numCache>
                <c:formatCode>General</c:formatCode>
                <c:ptCount val="10"/>
                <c:pt idx="0">
                  <c:v>0.2023335952380947</c:v>
                </c:pt>
                <c:pt idx="1">
                  <c:v>0.251470675381265</c:v>
                </c:pt>
                <c:pt idx="2">
                  <c:v>0.5642782608695658</c:v>
                </c:pt>
                <c:pt idx="3">
                  <c:v>-0.00769586550008583</c:v>
                </c:pt>
                <c:pt idx="4">
                  <c:v>0.522560203340598</c:v>
                </c:pt>
                <c:pt idx="5">
                  <c:v>0.054554836926479666</c:v>
                </c:pt>
                <c:pt idx="6">
                  <c:v>-0.04291732490784739</c:v>
                </c:pt>
                <c:pt idx="7">
                  <c:v>0.06975579710145041</c:v>
                </c:pt>
                <c:pt idx="8">
                  <c:v>0.2091194968553456</c:v>
                </c:pt>
                <c:pt idx="9">
                  <c:v>1.872605555555555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11.17</c:v>
                </c:pt>
                <c:pt idx="1">
                  <c:v>Av Price/Unit 11.38</c:v>
                </c:pt>
                <c:pt idx="2">
                  <c:v>Av Price/Unit 13.57</c:v>
                </c:pt>
                <c:pt idx="3">
                  <c:v>Av Price/Unit 9.67</c:v>
                </c:pt>
                <c:pt idx="4">
                  <c:v>Av Price/Unit 13.77</c:v>
                </c:pt>
                <c:pt idx="5">
                  <c:v>Av Price/Unit 12.57</c:v>
                </c:pt>
                <c:pt idx="6">
                  <c:v>Av Price/Unit 10.17</c:v>
                </c:pt>
                <c:pt idx="7">
                  <c:v>Av Price/Unit 10.80</c:v>
                </c:pt>
                <c:pt idx="8">
                  <c:v>Av Price/Unit 10.75</c:v>
                </c:pt>
                <c:pt idx="9">
                  <c:v>Av Price/Unit 25.02</c:v>
                </c:pt>
              </c:strCache>
            </c:strRef>
          </c:cat>
          <c:val>
            <c:numRef>
              <c:f>Sheet1!$E$2:$E$11</c:f>
              <c:numCache>
                <c:formatCode>General</c:formatCode>
                <c:ptCount val="10"/>
                <c:pt idx="0">
                  <c:v>1.860952380952381</c:v>
                </c:pt>
                <c:pt idx="1">
                  <c:v>1.8966448801742912</c:v>
                </c:pt>
                <c:pt idx="2">
                  <c:v>2.260869565217391</c:v>
                </c:pt>
                <c:pt idx="3">
                  <c:v>1.610996740435752</c:v>
                </c:pt>
                <c:pt idx="4">
                  <c:v>2.2955700798838055</c:v>
                </c:pt>
                <c:pt idx="5">
                  <c:v>2.094250967385295</c:v>
                </c:pt>
                <c:pt idx="6">
                  <c:v>1.6914165350184311</c:v>
                </c:pt>
                <c:pt idx="7">
                  <c:v>1.8007246376811579</c:v>
                </c:pt>
                <c:pt idx="8">
                  <c:v>1.7918238993710698</c:v>
                </c:pt>
                <c:pt idx="9">
                  <c:v>4.16944444444444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11.43</c:v>
                </c:pt>
                <c:pt idx="1">
                  <c:v>Av Price/Unit 11.18</c:v>
                </c:pt>
                <c:pt idx="2">
                  <c:v>Av Price/Unit 13.46</c:v>
                </c:pt>
                <c:pt idx="3">
                  <c:v>Av Price/Unit 13.86</c:v>
                </c:pt>
                <c:pt idx="4">
                  <c:v>Av Price/Unit 9.65</c:v>
                </c:pt>
                <c:pt idx="5">
                  <c:v>Av Price/Unit 10.55</c:v>
                </c:pt>
                <c:pt idx="6">
                  <c:v>Av Price/Unit 10.16</c:v>
                </c:pt>
                <c:pt idx="7">
                  <c:v>Av Price/Unit 12.67</c:v>
                </c:pt>
                <c:pt idx="8">
                  <c:v>Av Price/Unit 25.15</c:v>
                </c:pt>
                <c:pt idx="9">
                  <c:v>Av Price/Unit 25.76</c:v>
                </c:pt>
              </c:strCache>
            </c:strRef>
          </c:cat>
          <c:val>
            <c:numRef>
              <c:f>Sheet1!$B$2:$B$11</c:f>
              <c:numCache>
                <c:formatCode>General</c:formatCode>
                <c:ptCount val="10"/>
                <c:pt idx="0">
                  <c:v>4.743316512776465</c:v>
                </c:pt>
                <c:pt idx="1">
                  <c:v>4.635426557526149</c:v>
                </c:pt>
                <c:pt idx="2">
                  <c:v>5.370509855072464</c:v>
                </c:pt>
                <c:pt idx="3">
                  <c:v>5.654356573922532</c:v>
                </c:pt>
                <c:pt idx="4">
                  <c:v>2.874483258594918</c:v>
                </c:pt>
                <c:pt idx="5">
                  <c:v>3.554533333333333</c:v>
                </c:pt>
                <c:pt idx="6">
                  <c:v>4.3625</c:v>
                </c:pt>
                <c:pt idx="7">
                  <c:v>4.5267</c:v>
                </c:pt>
                <c:pt idx="8">
                  <c:v>9.201972277227723</c:v>
                </c:pt>
                <c:pt idx="9">
                  <c:v>9.42342763157894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11.43</c:v>
                </c:pt>
                <c:pt idx="1">
                  <c:v>Av Price/Unit 11.18</c:v>
                </c:pt>
                <c:pt idx="2">
                  <c:v>Av Price/Unit 13.46</c:v>
                </c:pt>
                <c:pt idx="3">
                  <c:v>Av Price/Unit 13.86</c:v>
                </c:pt>
                <c:pt idx="4">
                  <c:v>Av Price/Unit 9.65</c:v>
                </c:pt>
                <c:pt idx="5">
                  <c:v>Av Price/Unit 10.55</c:v>
                </c:pt>
                <c:pt idx="6">
                  <c:v>Av Price/Unit 10.16</c:v>
                </c:pt>
                <c:pt idx="7">
                  <c:v>Av Price/Unit 12.67</c:v>
                </c:pt>
                <c:pt idx="8">
                  <c:v>Av Price/Unit 25.15</c:v>
                </c:pt>
                <c:pt idx="9">
                  <c:v>Av Price/Unit 25.76</c:v>
                </c:pt>
              </c:strCache>
            </c:strRef>
          </c:cat>
          <c:val>
            <c:numRef>
              <c:f>Sheet1!$C$2:$C$11</c:f>
              <c:numCache>
                <c:formatCode>General</c:formatCode>
                <c:ptCount val="10"/>
                <c:pt idx="0">
                  <c:v>4.45430212583208</c:v>
                </c:pt>
                <c:pt idx="1">
                  <c:v>4.4557745793542525</c:v>
                </c:pt>
                <c:pt idx="2">
                  <c:v>5.31927768115942</c:v>
                </c:pt>
                <c:pt idx="3">
                  <c:v>5.31115259138025</c:v>
                </c:pt>
                <c:pt idx="4">
                  <c:v>5.186696562032885</c:v>
                </c:pt>
                <c:pt idx="5">
                  <c:v>5.1954666666666665</c:v>
                </c:pt>
                <c:pt idx="6">
                  <c:v>4.1375</c:v>
                </c:pt>
                <c:pt idx="7">
                  <c:v>5.889999999999999</c:v>
                </c:pt>
                <c:pt idx="8">
                  <c:v>9.750000000000002</c:v>
                </c:pt>
                <c:pt idx="9">
                  <c:v>10.45770394736842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11.43</c:v>
                </c:pt>
                <c:pt idx="1">
                  <c:v>Av Price/Unit 11.18</c:v>
                </c:pt>
                <c:pt idx="2">
                  <c:v>Av Price/Unit 13.46</c:v>
                </c:pt>
                <c:pt idx="3">
                  <c:v>Av Price/Unit 13.86</c:v>
                </c:pt>
                <c:pt idx="4">
                  <c:v>Av Price/Unit 9.65</c:v>
                </c:pt>
                <c:pt idx="5">
                  <c:v>Av Price/Unit 10.55</c:v>
                </c:pt>
                <c:pt idx="6">
                  <c:v>Av Price/Unit 10.16</c:v>
                </c:pt>
                <c:pt idx="7">
                  <c:v>Av Price/Unit 12.67</c:v>
                </c:pt>
                <c:pt idx="8">
                  <c:v>Av Price/Unit 25.15</c:v>
                </c:pt>
                <c:pt idx="9">
                  <c:v>Av Price/Unit 25.76</c:v>
                </c:pt>
              </c:strCache>
            </c:strRef>
          </c:cat>
          <c:val>
            <c:numRef>
              <c:f>Sheet1!$D$2:$D$11</c:f>
              <c:numCache>
                <c:formatCode>General</c:formatCode>
                <c:ptCount val="10"/>
                <c:pt idx="0">
                  <c:v>0.3256796220742988</c:v>
                </c:pt>
                <c:pt idx="1">
                  <c:v>0.22879824162498075</c:v>
                </c:pt>
                <c:pt idx="2">
                  <c:v>0.5304707890499198</c:v>
                </c:pt>
                <c:pt idx="3">
                  <c:v>0.5865912165848339</c:v>
                </c:pt>
                <c:pt idx="4">
                  <c:v>-0.021194768310913048</c:v>
                </c:pt>
                <c:pt idx="5">
                  <c:v>0.041666666666666075</c:v>
                </c:pt>
                <c:pt idx="6">
                  <c:v>-0.044756179024714626</c:v>
                </c:pt>
                <c:pt idx="7">
                  <c:v>0.141335714285713</c:v>
                </c:pt>
                <c:pt idx="8">
                  <c:v>2.0051234323432325</c:v>
                </c:pt>
                <c:pt idx="9">
                  <c:v>1.58816666666666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11.43</c:v>
                </c:pt>
                <c:pt idx="1">
                  <c:v>Av Price/Unit 11.18</c:v>
                </c:pt>
                <c:pt idx="2">
                  <c:v>Av Price/Unit 13.46</c:v>
                </c:pt>
                <c:pt idx="3">
                  <c:v>Av Price/Unit 13.86</c:v>
                </c:pt>
                <c:pt idx="4">
                  <c:v>Av Price/Unit 9.65</c:v>
                </c:pt>
                <c:pt idx="5">
                  <c:v>Av Price/Unit 10.55</c:v>
                </c:pt>
                <c:pt idx="6">
                  <c:v>Av Price/Unit 10.16</c:v>
                </c:pt>
                <c:pt idx="7">
                  <c:v>Av Price/Unit 12.67</c:v>
                </c:pt>
                <c:pt idx="8">
                  <c:v>Av Price/Unit 25.15</c:v>
                </c:pt>
                <c:pt idx="9">
                  <c:v>Av Price/Unit 25.76</c:v>
                </c:pt>
              </c:strCache>
            </c:strRef>
          </c:cat>
          <c:val>
            <c:numRef>
              <c:f>Sheet1!$E$2:$E$11</c:f>
              <c:numCache>
                <c:formatCode>General</c:formatCode>
                <c:ptCount val="10"/>
                <c:pt idx="0">
                  <c:v>1.904659652136567</c:v>
                </c:pt>
                <c:pt idx="1">
                  <c:v>1.8639912081249057</c:v>
                </c:pt>
                <c:pt idx="2">
                  <c:v>2.2440418679549103</c:v>
                </c:pt>
                <c:pt idx="3">
                  <c:v>2.310420076377523</c:v>
                </c:pt>
                <c:pt idx="4">
                  <c:v>1.6079970104633783</c:v>
                </c:pt>
                <c:pt idx="5">
                  <c:v>1.7583333333333333</c:v>
                </c:pt>
                <c:pt idx="6">
                  <c:v>1.6910487641950562</c:v>
                </c:pt>
                <c:pt idx="7">
                  <c:v>2.111607142857143</c:v>
                </c:pt>
                <c:pt idx="8">
                  <c:v>4.191419141914193</c:v>
                </c:pt>
                <c:pt idx="9">
                  <c:v>4.29385964912280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10</c:v>
                </c:pt>
                <c:pt idx="1">
                  <c:v>Av Price/Unit 11.45</c:v>
                </c:pt>
                <c:pt idx="2">
                  <c:v>Av Price/Unit 9.64</c:v>
                </c:pt>
                <c:pt idx="3">
                  <c:v>Av Price/Unit 13.46</c:v>
                </c:pt>
                <c:pt idx="4">
                  <c:v>Av Price/Unit 13.87</c:v>
                </c:pt>
                <c:pt idx="5">
                  <c:v>Av Price/Unit 10.55</c:v>
                </c:pt>
                <c:pt idx="6">
                  <c:v>Av Price/Unit 12.53</c:v>
                </c:pt>
                <c:pt idx="7">
                  <c:v>Av Price/Unit 10.15</c:v>
                </c:pt>
                <c:pt idx="8">
                  <c:v>Av Price/Unit 10.70</c:v>
                </c:pt>
                <c:pt idx="9">
                  <c:v>Av Price/Unit 10.45</c:v>
                </c:pt>
                <c:pt idx="10">
                  <c:v>Av Price/Unit 9.73</c:v>
                </c:pt>
                <c:pt idx="11">
                  <c:v>Av Price/Unit 12.41</c:v>
                </c:pt>
              </c:strCache>
            </c:strRef>
          </c:cat>
          <c:val>
            <c:numRef>
              <c:f>Sheet1!$B$2:$B$13</c:f>
              <c:numCache>
                <c:formatCode>General</c:formatCode>
                <c:ptCount val="12"/>
                <c:pt idx="0">
                  <c:v>4.627658666666667</c:v>
                </c:pt>
                <c:pt idx="1">
                  <c:v>4.750002855200544</c:v>
                </c:pt>
                <c:pt idx="2">
                  <c:v>2.8762188118811873</c:v>
                </c:pt>
                <c:pt idx="3">
                  <c:v>5.361722916666668</c:v>
                </c:pt>
                <c:pt idx="4">
                  <c:v>5.654334552845529</c:v>
                </c:pt>
                <c:pt idx="5">
                  <c:v>3.5546163967611335</c:v>
                </c:pt>
                <c:pt idx="6">
                  <c:v>4.5267</c:v>
                </c:pt>
                <c:pt idx="7">
                  <c:v>4.3625</c:v>
                </c:pt>
                <c:pt idx="8">
                  <c:v>3.1235257471264366</c:v>
                </c:pt>
                <c:pt idx="9">
                  <c:v>3.0666999999999995</c:v>
                </c:pt>
                <c:pt idx="10">
                  <c:v>2.8674518348623854</c:v>
                </c:pt>
                <c:pt idx="11">
                  <c:v>3.683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10</c:v>
                </c:pt>
                <c:pt idx="1">
                  <c:v>Av Price/Unit 11.45</c:v>
                </c:pt>
                <c:pt idx="2">
                  <c:v>Av Price/Unit 9.64</c:v>
                </c:pt>
                <c:pt idx="3">
                  <c:v>Av Price/Unit 13.46</c:v>
                </c:pt>
                <c:pt idx="4">
                  <c:v>Av Price/Unit 13.87</c:v>
                </c:pt>
                <c:pt idx="5">
                  <c:v>Av Price/Unit 10.55</c:v>
                </c:pt>
                <c:pt idx="6">
                  <c:v>Av Price/Unit 12.53</c:v>
                </c:pt>
                <c:pt idx="7">
                  <c:v>Av Price/Unit 10.15</c:v>
                </c:pt>
                <c:pt idx="8">
                  <c:v>Av Price/Unit 10.70</c:v>
                </c:pt>
                <c:pt idx="9">
                  <c:v>Av Price/Unit 10.45</c:v>
                </c:pt>
                <c:pt idx="10">
                  <c:v>Av Price/Unit 9.73</c:v>
                </c:pt>
                <c:pt idx="11">
                  <c:v>Av Price/Unit 12.41</c:v>
                </c:pt>
              </c:strCache>
            </c:strRef>
          </c:cat>
          <c:val>
            <c:numRef>
              <c:f>Sheet1!$C$2:$C$13</c:f>
              <c:numCache>
                <c:formatCode>General</c:formatCode>
                <c:ptCount val="12"/>
                <c:pt idx="0">
                  <c:v>4.4550426666666665</c:v>
                </c:pt>
                <c:pt idx="1">
                  <c:v>4.460964649898028</c:v>
                </c:pt>
                <c:pt idx="2">
                  <c:v>5.189300542957522</c:v>
                </c:pt>
                <c:pt idx="3">
                  <c:v>5.315566666666667</c:v>
                </c:pt>
                <c:pt idx="4">
                  <c:v>5.311217886178862</c:v>
                </c:pt>
                <c:pt idx="5">
                  <c:v>5.1953836032388665</c:v>
                </c:pt>
                <c:pt idx="6">
                  <c:v>5.889999999999999</c:v>
                </c:pt>
                <c:pt idx="7">
                  <c:v>4.1375</c:v>
                </c:pt>
                <c:pt idx="8">
                  <c:v>5.746206896551724</c:v>
                </c:pt>
                <c:pt idx="9">
                  <c:v>5.6</c:v>
                </c:pt>
                <c:pt idx="10">
                  <c:v>5.176146788990825</c:v>
                </c:pt>
                <c:pt idx="11">
                  <c:v>6.3999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10</c:v>
                </c:pt>
                <c:pt idx="1">
                  <c:v>Av Price/Unit 11.45</c:v>
                </c:pt>
                <c:pt idx="2">
                  <c:v>Av Price/Unit 9.64</c:v>
                </c:pt>
                <c:pt idx="3">
                  <c:v>Av Price/Unit 13.46</c:v>
                </c:pt>
                <c:pt idx="4">
                  <c:v>Av Price/Unit 13.87</c:v>
                </c:pt>
                <c:pt idx="5">
                  <c:v>Av Price/Unit 10.55</c:v>
                </c:pt>
                <c:pt idx="6">
                  <c:v>Av Price/Unit 12.53</c:v>
                </c:pt>
                <c:pt idx="7">
                  <c:v>Av Price/Unit 10.15</c:v>
                </c:pt>
                <c:pt idx="8">
                  <c:v>Av Price/Unit 10.70</c:v>
                </c:pt>
                <c:pt idx="9">
                  <c:v>Av Price/Unit 10.45</c:v>
                </c:pt>
                <c:pt idx="10">
                  <c:v>Av Price/Unit 9.73</c:v>
                </c:pt>
                <c:pt idx="11">
                  <c:v>Av Price/Unit 12.41</c:v>
                </c:pt>
              </c:strCache>
            </c:strRef>
          </c:cat>
          <c:val>
            <c:numRef>
              <c:f>Sheet1!$D$2:$D$13</c:f>
              <c:numCache>
                <c:formatCode>General</c:formatCode>
                <c:ptCount val="12"/>
                <c:pt idx="0">
                  <c:v>0.1645615555555544</c:v>
                </c:pt>
                <c:pt idx="1">
                  <c:v>0.33204933907394896</c:v>
                </c:pt>
                <c:pt idx="2">
                  <c:v>-0.02948188012349462</c:v>
                </c:pt>
                <c:pt idx="3">
                  <c:v>0.5425830687830704</c:v>
                </c:pt>
                <c:pt idx="4">
                  <c:v>0.5893256097560968</c:v>
                </c:pt>
                <c:pt idx="5">
                  <c:v>0.04470310391363164</c:v>
                </c:pt>
                <c:pt idx="6">
                  <c:v>0.022781268011529576</c:v>
                </c:pt>
                <c:pt idx="7">
                  <c:v>-0.05120481927710685</c:v>
                </c:pt>
                <c:pt idx="8">
                  <c:v>0.044060459770113525</c:v>
                </c:pt>
                <c:pt idx="9">
                  <c:v>0.026345563549162065</c:v>
                </c:pt>
                <c:pt idx="10">
                  <c:v>0.06611085626911439</c:v>
                </c:pt>
                <c:pt idx="11">
                  <c:v>0.2550838383838396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11.10</c:v>
                </c:pt>
                <c:pt idx="1">
                  <c:v>Av Price/Unit 11.45</c:v>
                </c:pt>
                <c:pt idx="2">
                  <c:v>Av Price/Unit 9.64</c:v>
                </c:pt>
                <c:pt idx="3">
                  <c:v>Av Price/Unit 13.46</c:v>
                </c:pt>
                <c:pt idx="4">
                  <c:v>Av Price/Unit 13.87</c:v>
                </c:pt>
                <c:pt idx="5">
                  <c:v>Av Price/Unit 10.55</c:v>
                </c:pt>
                <c:pt idx="6">
                  <c:v>Av Price/Unit 12.53</c:v>
                </c:pt>
                <c:pt idx="7">
                  <c:v>Av Price/Unit 10.15</c:v>
                </c:pt>
                <c:pt idx="8">
                  <c:v>Av Price/Unit 10.70</c:v>
                </c:pt>
                <c:pt idx="9">
                  <c:v>Av Price/Unit 10.45</c:v>
                </c:pt>
                <c:pt idx="10">
                  <c:v>Av Price/Unit 9.73</c:v>
                </c:pt>
                <c:pt idx="11">
                  <c:v>Av Price/Unit 12.41</c:v>
                </c:pt>
              </c:strCache>
            </c:strRef>
          </c:cat>
          <c:val>
            <c:numRef>
              <c:f>Sheet1!$E$2:$E$13</c:f>
              <c:numCache>
                <c:formatCode>General</c:formatCode>
                <c:ptCount val="12"/>
                <c:pt idx="0">
                  <c:v>1.8494444444444433</c:v>
                </c:pt>
                <c:pt idx="1">
                  <c:v>1.9086033688345052</c:v>
                </c:pt>
                <c:pt idx="2">
                  <c:v>1.607207494943042</c:v>
                </c:pt>
                <c:pt idx="3">
                  <c:v>2.2439649470899465</c:v>
                </c:pt>
                <c:pt idx="4">
                  <c:v>2.3109756097560976</c:v>
                </c:pt>
                <c:pt idx="5">
                  <c:v>1.7589406207827247</c:v>
                </c:pt>
                <c:pt idx="6">
                  <c:v>2.087896253602303</c:v>
                </c:pt>
                <c:pt idx="7">
                  <c:v>1.689759036144577</c:v>
                </c:pt>
                <c:pt idx="8">
                  <c:v>1.7827586206896562</c:v>
                </c:pt>
                <c:pt idx="9">
                  <c:v>1.738609112709831</c:v>
                </c:pt>
                <c:pt idx="10">
                  <c:v>1.6219418960244645</c:v>
                </c:pt>
                <c:pt idx="11">
                  <c:v>2.067676767676765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7.41</c:v>
                </c:pt>
                <c:pt idx="1">
                  <c:v>Av Price/Unit 9.25</c:v>
                </c:pt>
                <c:pt idx="2">
                  <c:v>Av Price/Unit 10.56</c:v>
                </c:pt>
                <c:pt idx="3">
                  <c:v>Av Price/Unit 24.57</c:v>
                </c:pt>
                <c:pt idx="4">
                  <c:v>Av Price/Unit 12.28</c:v>
                </c:pt>
                <c:pt idx="5">
                  <c:v>Av Price/Unit 13.85</c:v>
                </c:pt>
                <c:pt idx="6">
                  <c:v>Av Price/Unit 9.09</c:v>
                </c:pt>
                <c:pt idx="7">
                  <c:v>Av Price/Unit 10.53</c:v>
                </c:pt>
                <c:pt idx="8">
                  <c:v>Av Price/Unit 21.29</c:v>
                </c:pt>
              </c:strCache>
            </c:strRef>
          </c:cat>
          <c:val>
            <c:numRef>
              <c:f>Sheet1!$B$2:$B$10</c:f>
              <c:numCache>
                <c:formatCode>General</c:formatCode>
                <c:ptCount val="9"/>
                <c:pt idx="0">
                  <c:v>6.476689857250186</c:v>
                </c:pt>
                <c:pt idx="1">
                  <c:v>2.653516807839228</c:v>
                </c:pt>
                <c:pt idx="2">
                  <c:v>3.0344125683060104</c:v>
                </c:pt>
                <c:pt idx="3">
                  <c:v>6.941321875000004</c:v>
                </c:pt>
                <c:pt idx="4">
                  <c:v>3.400000000000001</c:v>
                </c:pt>
                <c:pt idx="5">
                  <c:v>4.477799999999999</c:v>
                </c:pt>
                <c:pt idx="6">
                  <c:v>2.6827000000000005</c:v>
                </c:pt>
                <c:pt idx="7">
                  <c:v>3.0515833333333324</c:v>
                </c:pt>
                <c:pt idx="8">
                  <c:v>5.89273224299065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7.41</c:v>
                </c:pt>
                <c:pt idx="1">
                  <c:v>Av Price/Unit 9.25</c:v>
                </c:pt>
                <c:pt idx="2">
                  <c:v>Av Price/Unit 10.56</c:v>
                </c:pt>
                <c:pt idx="3">
                  <c:v>Av Price/Unit 24.57</c:v>
                </c:pt>
                <c:pt idx="4">
                  <c:v>Av Price/Unit 12.28</c:v>
                </c:pt>
                <c:pt idx="5">
                  <c:v>Av Price/Unit 13.85</c:v>
                </c:pt>
                <c:pt idx="6">
                  <c:v>Av Price/Unit 9.09</c:v>
                </c:pt>
                <c:pt idx="7">
                  <c:v>Av Price/Unit 10.53</c:v>
                </c:pt>
                <c:pt idx="8">
                  <c:v>Av Price/Unit 21.29</c:v>
                </c:pt>
              </c:strCache>
            </c:strRef>
          </c:cat>
          <c:val>
            <c:numRef>
              <c:f>Sheet1!$C$2:$C$10</c:f>
              <c:numCache>
                <c:formatCode>General</c:formatCode>
                <c:ptCount val="9"/>
                <c:pt idx="0">
                  <c:v>7.626613373403456</c:v>
                </c:pt>
                <c:pt idx="1">
                  <c:v>4.956419199468527</c:v>
                </c:pt>
                <c:pt idx="2">
                  <c:v>5.4893989071038245</c:v>
                </c:pt>
                <c:pt idx="3">
                  <c:v>12.716464843750007</c:v>
                </c:pt>
                <c:pt idx="4">
                  <c:v>6.6</c:v>
                </c:pt>
                <c:pt idx="5">
                  <c:v>6.633300000000001</c:v>
                </c:pt>
                <c:pt idx="6">
                  <c:v>4.434000000000001</c:v>
                </c:pt>
                <c:pt idx="7">
                  <c:v>5.389090909090909</c:v>
                </c:pt>
                <c:pt idx="8">
                  <c:v>10.96407710280373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7.41</c:v>
                </c:pt>
                <c:pt idx="1">
                  <c:v>Av Price/Unit 9.25</c:v>
                </c:pt>
                <c:pt idx="2">
                  <c:v>Av Price/Unit 10.56</c:v>
                </c:pt>
                <c:pt idx="3">
                  <c:v>Av Price/Unit 24.57</c:v>
                </c:pt>
                <c:pt idx="4">
                  <c:v>Av Price/Unit 12.28</c:v>
                </c:pt>
                <c:pt idx="5">
                  <c:v>Av Price/Unit 13.85</c:v>
                </c:pt>
                <c:pt idx="6">
                  <c:v>Av Price/Unit 9.09</c:v>
                </c:pt>
                <c:pt idx="7">
                  <c:v>Av Price/Unit 10.53</c:v>
                </c:pt>
                <c:pt idx="8">
                  <c:v>Av Price/Unit 21.29</c:v>
                </c:pt>
              </c:strCache>
            </c:strRef>
          </c:cat>
          <c:val>
            <c:numRef>
              <c:f>Sheet1!$D$2:$D$10</c:f>
              <c:numCache>
                <c:formatCode>General</c:formatCode>
                <c:ptCount val="9"/>
                <c:pt idx="0">
                  <c:v>0.4057203731530201</c:v>
                </c:pt>
                <c:pt idx="1">
                  <c:v>0.09600984886231778</c:v>
                </c:pt>
                <c:pt idx="2">
                  <c:v>0.27270166536559337</c:v>
                </c:pt>
                <c:pt idx="3">
                  <c:v>0.8174736979166646</c:v>
                </c:pt>
                <c:pt idx="4">
                  <c:v>0.17892156862745345</c:v>
                </c:pt>
                <c:pt idx="5">
                  <c:v>0.40778341543514074</c:v>
                </c:pt>
                <c:pt idx="6">
                  <c:v>0.39837675438596243</c:v>
                </c:pt>
                <c:pt idx="7">
                  <c:v>0.33638203463203276</c:v>
                </c:pt>
                <c:pt idx="8">
                  <c:v>0.880729595015566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7.41</c:v>
                </c:pt>
                <c:pt idx="1">
                  <c:v>Av Price/Unit 9.25</c:v>
                </c:pt>
                <c:pt idx="2">
                  <c:v>Av Price/Unit 10.56</c:v>
                </c:pt>
                <c:pt idx="3">
                  <c:v>Av Price/Unit 24.57</c:v>
                </c:pt>
                <c:pt idx="4">
                  <c:v>Av Price/Unit 12.28</c:v>
                </c:pt>
                <c:pt idx="5">
                  <c:v>Av Price/Unit 13.85</c:v>
                </c:pt>
                <c:pt idx="6">
                  <c:v>Av Price/Unit 9.09</c:v>
                </c:pt>
                <c:pt idx="7">
                  <c:v>Av Price/Unit 10.53</c:v>
                </c:pt>
                <c:pt idx="8">
                  <c:v>Av Price/Unit 21.29</c:v>
                </c:pt>
              </c:strCache>
            </c:strRef>
          </c:cat>
          <c:val>
            <c:numRef>
              <c:f>Sheet1!$E$2:$E$10</c:f>
              <c:numCache>
                <c:formatCode>General</c:formatCode>
                <c:ptCount val="9"/>
                <c:pt idx="0">
                  <c:v>2.9018047207613313</c:v>
                </c:pt>
                <c:pt idx="1">
                  <c:v>1.5411891712340131</c:v>
                </c:pt>
                <c:pt idx="2">
                  <c:v>1.759302628155091</c:v>
                </c:pt>
                <c:pt idx="3">
                  <c:v>4.095052083333336</c:v>
                </c:pt>
                <c:pt idx="4">
                  <c:v>2.0357843137254883</c:v>
                </c:pt>
                <c:pt idx="5">
                  <c:v>2.3037766830870248</c:v>
                </c:pt>
                <c:pt idx="6">
                  <c:v>1.503015350877194</c:v>
                </c:pt>
                <c:pt idx="7">
                  <c:v>1.7554112554112553</c:v>
                </c:pt>
                <c:pt idx="8">
                  <c:v>3.54750778816199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9FB4370-7705-4234-8E49-F353A8342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AE83714-502F-4784-97F7-1942C8572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6CB0B39-C8CE-4A43-8530-06616BC4D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03C5116-FC0C-4911-B6F0-32ED9FB5A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E24B403-4490-4DA8-B4D4-A7467BF5B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D266E26-CC94-4FA5-A892-2EC10880D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F82EF20-208E-401F-A766-BE18C6DEA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A01119E-3C59-4E0A-942F-F49FAF1E7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8.8281</c:v>
                </c:pt>
                <c:pt idx="1">
                  <c:v>18.7679</c:v>
                </c:pt>
                <c:pt idx="2">
                  <c:v>13.3898</c:v>
                </c:pt>
                <c:pt idx="3">
                  <c:v>18.6302</c:v>
                </c:pt>
                <c:pt idx="4">
                  <c:v>18.8506</c:v>
                </c:pt>
              </c:numCache>
            </c:numRef>
          </c:xVal>
          <c:yVal>
            <c:numRef>
              <c:f>Sheet1!$B$2:$B$6</c:f>
              <c:numCache>
                <c:formatCode>General</c:formatCode>
                <c:ptCount val="5"/>
                <c:pt idx="0">
                  <c:v>0.4587</c:v>
                </c:pt>
                <c:pt idx="1">
                  <c:v>0.46</c:v>
                </c:pt>
                <c:pt idx="2">
                  <c:v>0.3874</c:v>
                </c:pt>
                <c:pt idx="3">
                  <c:v>0.4605</c:v>
                </c:pt>
                <c:pt idx="4">
                  <c:v>0.4598</c:v>
                </c:pt>
              </c:numCache>
            </c:numRef>
          </c:yVal>
          <c:bubbleSize>
            <c:numRef>
              <c:f>Sheet1!$C$2:$C$6</c:f>
              <c:numCache>
                <c:formatCode>General</c:formatCode>
                <c:ptCount val="5"/>
                <c:pt idx="0">
                  <c:v>193138.8496</c:v>
                </c:pt>
                <c:pt idx="1">
                  <c:v>17829.536999999997</c:v>
                </c:pt>
                <c:pt idx="2">
                  <c:v>132157.54400000002</c:v>
                </c:pt>
                <c:pt idx="3">
                  <c:v>11215.4048</c:v>
                </c:pt>
                <c:pt idx="4">
                  <c:v>7747.608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2.62072"/>
          <c:min val="10.7118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28197720845184"/>
        <c:crossBetween val="midCat"/>
      </c:valAx>
      <c:valAx>
        <c:axId val="1011451359"/>
        <c:scaling>
          <c:orientation val="minMax"/>
          <c:max val="0.9125999999999999"/>
          <c:min val="0.06992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6.83458175139469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7.38</c:v>
                </c:pt>
                <c:pt idx="1">
                  <c:v>Av Price/Unit 9.21</c:v>
                </c:pt>
                <c:pt idx="2">
                  <c:v>Av Price/Unit 10.43</c:v>
                </c:pt>
                <c:pt idx="3">
                  <c:v>Av Price/Unit 24.45</c:v>
                </c:pt>
                <c:pt idx="4">
                  <c:v>Av Price/Unit 13.76</c:v>
                </c:pt>
                <c:pt idx="5">
                  <c:v>Av Price/Unit 10.44</c:v>
                </c:pt>
                <c:pt idx="6">
                  <c:v>Av Price/Unit 21.03</c:v>
                </c:pt>
              </c:strCache>
            </c:strRef>
          </c:cat>
          <c:val>
            <c:numRef>
              <c:f>Sheet1!$B$2:$B$8</c:f>
              <c:numCache>
                <c:formatCode>General</c:formatCode>
                <c:ptCount val="7"/>
                <c:pt idx="0">
                  <c:v>6.4760469245339465</c:v>
                </c:pt>
                <c:pt idx="1">
                  <c:v>2.6530716323961396</c:v>
                </c:pt>
                <c:pt idx="2">
                  <c:v>3.0341470588235286</c:v>
                </c:pt>
                <c:pt idx="3">
                  <c:v>6.943978260869565</c:v>
                </c:pt>
                <c:pt idx="4">
                  <c:v>4.4778</c:v>
                </c:pt>
                <c:pt idx="5">
                  <c:v>3.050375</c:v>
                </c:pt>
                <c:pt idx="6">
                  <c:v>5.89670684931506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7.38</c:v>
                </c:pt>
                <c:pt idx="1">
                  <c:v>Av Price/Unit 9.21</c:v>
                </c:pt>
                <c:pt idx="2">
                  <c:v>Av Price/Unit 10.43</c:v>
                </c:pt>
                <c:pt idx="3">
                  <c:v>Av Price/Unit 24.45</c:v>
                </c:pt>
                <c:pt idx="4">
                  <c:v>Av Price/Unit 13.76</c:v>
                </c:pt>
                <c:pt idx="5">
                  <c:v>Av Price/Unit 10.44</c:v>
                </c:pt>
                <c:pt idx="6">
                  <c:v>Av Price/Unit 21.03</c:v>
                </c:pt>
              </c:strCache>
            </c:strRef>
          </c:cat>
          <c:val>
            <c:numRef>
              <c:f>Sheet1!$C$2:$C$8</c:f>
              <c:numCache>
                <c:formatCode>General</c:formatCode>
                <c:ptCount val="7"/>
                <c:pt idx="0">
                  <c:v>7.634368697039179</c:v>
                </c:pt>
                <c:pt idx="1">
                  <c:v>4.954947545111204</c:v>
                </c:pt>
                <c:pt idx="2">
                  <c:v>5.489117647058823</c:v>
                </c:pt>
                <c:pt idx="3">
                  <c:v>12.720869565217395</c:v>
                </c:pt>
                <c:pt idx="4">
                  <c:v>6.6333</c:v>
                </c:pt>
                <c:pt idx="5">
                  <c:v>5.387142857142857</c:v>
                </c:pt>
                <c:pt idx="6">
                  <c:v>10.97003424657534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7.38</c:v>
                </c:pt>
                <c:pt idx="1">
                  <c:v>Av Price/Unit 9.21</c:v>
                </c:pt>
                <c:pt idx="2">
                  <c:v>Av Price/Unit 10.43</c:v>
                </c:pt>
                <c:pt idx="3">
                  <c:v>Av Price/Unit 24.45</c:v>
                </c:pt>
                <c:pt idx="4">
                  <c:v>Av Price/Unit 13.76</c:v>
                </c:pt>
                <c:pt idx="5">
                  <c:v>Av Price/Unit 10.44</c:v>
                </c:pt>
                <c:pt idx="6">
                  <c:v>Av Price/Unit 21.03</c:v>
                </c:pt>
              </c:strCache>
            </c:strRef>
          </c:cat>
          <c:val>
            <c:numRef>
              <c:f>Sheet1!$D$2:$D$8</c:f>
              <c:numCache>
                <c:formatCode>General</c:formatCode>
                <c:ptCount val="7"/>
                <c:pt idx="0">
                  <c:v>0.3760928687734708</c:v>
                </c:pt>
                <c:pt idx="1">
                  <c:v>0.06752985032871717</c:v>
                </c:pt>
                <c:pt idx="2">
                  <c:v>0.1643467023172871</c:v>
                </c:pt>
                <c:pt idx="3">
                  <c:v>0.7095483091787393</c:v>
                </c:pt>
                <c:pt idx="4">
                  <c:v>0.35948823529411733</c:v>
                </c:pt>
                <c:pt idx="5">
                  <c:v>0.2628789682539683</c:v>
                </c:pt>
                <c:pt idx="6">
                  <c:v>0.656089954337900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17.38</c:v>
                </c:pt>
                <c:pt idx="1">
                  <c:v>Av Price/Unit 9.21</c:v>
                </c:pt>
                <c:pt idx="2">
                  <c:v>Av Price/Unit 10.43</c:v>
                </c:pt>
                <c:pt idx="3">
                  <c:v>Av Price/Unit 24.45</c:v>
                </c:pt>
                <c:pt idx="4">
                  <c:v>Av Price/Unit 13.76</c:v>
                </c:pt>
                <c:pt idx="5">
                  <c:v>Av Price/Unit 10.44</c:v>
                </c:pt>
                <c:pt idx="6">
                  <c:v>Av Price/Unit 21.03</c:v>
                </c:pt>
              </c:strCache>
            </c:strRef>
          </c:cat>
          <c:val>
            <c:numRef>
              <c:f>Sheet1!$E$2:$E$8</c:f>
              <c:numCache>
                <c:formatCode>General</c:formatCode>
                <c:ptCount val="7"/>
                <c:pt idx="0">
                  <c:v>2.8973016980693167</c:v>
                </c:pt>
                <c:pt idx="1">
                  <c:v>1.5351098055672128</c:v>
                </c:pt>
                <c:pt idx="2">
                  <c:v>1.7375222816399292</c:v>
                </c:pt>
                <c:pt idx="3">
                  <c:v>4.074879227053141</c:v>
                </c:pt>
                <c:pt idx="4">
                  <c:v>2.2941176470588234</c:v>
                </c:pt>
                <c:pt idx="5">
                  <c:v>1.7400793650793647</c:v>
                </c:pt>
                <c:pt idx="6">
                  <c:v>3.50456621004566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5</c:v>
                </c:pt>
              </c:strCache>
            </c:strRef>
          </c:cat>
          <c:val>
            <c:numRef>
              <c:f>Sheet1!$B$2:$B$2</c:f>
              <c:numCache>
                <c:formatCode>General</c:formatCode>
                <c:ptCount val="1"/>
                <c:pt idx="0">
                  <c:v>6.47377786970010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5</c:v>
                </c:pt>
              </c:strCache>
            </c:strRef>
          </c:cat>
          <c:val>
            <c:numRef>
              <c:f>Sheet1!$C$2:$C$2</c:f>
              <c:numCache>
                <c:formatCode>General</c:formatCode>
                <c:ptCount val="1"/>
                <c:pt idx="0">
                  <c:v>7.66173898655636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5</c:v>
                </c:pt>
              </c:strCache>
            </c:strRef>
          </c:cat>
          <c:val>
            <c:numRef>
              <c:f>Sheet1!$D$2:$D$2</c:f>
              <c:numCache>
                <c:formatCode>General</c:formatCode>
                <c:ptCount val="1"/>
                <c:pt idx="0">
                  <c:v>0.4094676318510863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5</c:v>
                </c:pt>
              </c:strCache>
            </c:strRef>
          </c:cat>
          <c:val>
            <c:numRef>
              <c:f>Sheet1!$E$2:$E$2</c:f>
              <c:numCache>
                <c:formatCode>General</c:formatCode>
                <c:ptCount val="1"/>
                <c:pt idx="0">
                  <c:v>2.908996897621509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7.47</c:v>
                </c:pt>
                <c:pt idx="1">
                  <c:v>Av Price/Unit 9.25</c:v>
                </c:pt>
                <c:pt idx="2">
                  <c:v>Av Price/Unit 8.98</c:v>
                </c:pt>
                <c:pt idx="3">
                  <c:v>Av Price/Unit 25.28</c:v>
                </c:pt>
                <c:pt idx="4">
                  <c:v>Av Price/Unit 10.75</c:v>
                </c:pt>
              </c:strCache>
            </c:strRef>
          </c:cat>
          <c:val>
            <c:numRef>
              <c:f>Sheet1!$B$2:$B$6</c:f>
              <c:numCache>
                <c:formatCode>General</c:formatCode>
                <c:ptCount val="5"/>
                <c:pt idx="0">
                  <c:v>6.483387079646017</c:v>
                </c:pt>
                <c:pt idx="1">
                  <c:v>2.6537701327433627</c:v>
                </c:pt>
                <c:pt idx="2">
                  <c:v>2.6827</c:v>
                </c:pt>
                <c:pt idx="3">
                  <c:v>6.939835384615384</c:v>
                </c:pt>
                <c:pt idx="4">
                  <c:v>3.0378846153846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7.47</c:v>
                </c:pt>
                <c:pt idx="1">
                  <c:v>Av Price/Unit 9.25</c:v>
                </c:pt>
                <c:pt idx="2">
                  <c:v>Av Price/Unit 8.98</c:v>
                </c:pt>
                <c:pt idx="3">
                  <c:v>Av Price/Unit 25.28</c:v>
                </c:pt>
                <c:pt idx="4">
                  <c:v>Av Price/Unit 10.75</c:v>
                </c:pt>
              </c:strCache>
            </c:strRef>
          </c:cat>
          <c:val>
            <c:numRef>
              <c:f>Sheet1!$C$2:$C$6</c:f>
              <c:numCache>
                <c:formatCode>General</c:formatCode>
                <c:ptCount val="5"/>
                <c:pt idx="0">
                  <c:v>7.545828672566371</c:v>
                </c:pt>
                <c:pt idx="1">
                  <c:v>4.957256637168142</c:v>
                </c:pt>
                <c:pt idx="2">
                  <c:v>4.434</c:v>
                </c:pt>
                <c:pt idx="3">
                  <c:v>12.713999999999999</c:v>
                </c:pt>
                <c:pt idx="4">
                  <c:v>5.49307692307692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7.47</c:v>
                </c:pt>
                <c:pt idx="1">
                  <c:v>Av Price/Unit 9.25</c:v>
                </c:pt>
                <c:pt idx="2">
                  <c:v>Av Price/Unit 8.98</c:v>
                </c:pt>
                <c:pt idx="3">
                  <c:v>Av Price/Unit 25.28</c:v>
                </c:pt>
                <c:pt idx="4">
                  <c:v>Av Price/Unit 10.75</c:v>
                </c:pt>
              </c:strCache>
            </c:strRef>
          </c:cat>
          <c:val>
            <c:numRef>
              <c:f>Sheet1!$D$2:$D$6</c:f>
              <c:numCache>
                <c:formatCode>General</c:formatCode>
                <c:ptCount val="5"/>
                <c:pt idx="0">
                  <c:v>0.5319936873156319</c:v>
                </c:pt>
                <c:pt idx="1">
                  <c:v>0.09822839233038305</c:v>
                </c:pt>
                <c:pt idx="2">
                  <c:v>0.2533305810397559</c:v>
                </c:pt>
                <c:pt idx="3">
                  <c:v>1.4102671794871853</c:v>
                </c:pt>
                <c:pt idx="4">
                  <c:v>0.4241666666666681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17.47</c:v>
                </c:pt>
                <c:pt idx="1">
                  <c:v>Av Price/Unit 9.25</c:v>
                </c:pt>
                <c:pt idx="2">
                  <c:v>Av Price/Unit 8.98</c:v>
                </c:pt>
                <c:pt idx="3">
                  <c:v>Av Price/Unit 25.28</c:v>
                </c:pt>
                <c:pt idx="4">
                  <c:v>Av Price/Unit 10.75</c:v>
                </c:pt>
              </c:strCache>
            </c:strRef>
          </c:cat>
          <c:val>
            <c:numRef>
              <c:f>Sheet1!$E$2:$E$6</c:f>
              <c:numCache>
                <c:formatCode>General</c:formatCode>
                <c:ptCount val="5"/>
                <c:pt idx="0">
                  <c:v>2.9122418879056067</c:v>
                </c:pt>
                <c:pt idx="1">
                  <c:v>1.5418510324483772</c:v>
                </c:pt>
                <c:pt idx="2">
                  <c:v>1.4740061162079507</c:v>
                </c:pt>
                <c:pt idx="3">
                  <c:v>4.2128205128205085</c:v>
                </c:pt>
                <c:pt idx="4">
                  <c:v>1.791025641025640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56</c:v>
                </c:pt>
              </c:strCache>
            </c:strRef>
          </c:cat>
          <c:val>
            <c:numRef>
              <c:f>Sheet1!$B$2:$B$2</c:f>
              <c:numCache>
                <c:formatCode>General</c:formatCode>
                <c:ptCount val="1"/>
                <c:pt idx="0">
                  <c:v>6.47951718946047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56</c:v>
                </c:pt>
              </c:strCache>
            </c:strRef>
          </c:cat>
          <c:val>
            <c:numRef>
              <c:f>Sheet1!$C$2:$C$2</c:f>
              <c:numCache>
                <c:formatCode>General</c:formatCode>
                <c:ptCount val="1"/>
                <c:pt idx="0">
                  <c:v>7.59250890840652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56</c:v>
                </c:pt>
              </c:strCache>
            </c:strRef>
          </c:cat>
          <c:val>
            <c:numRef>
              <c:f>Sheet1!$D$2:$D$2</c:f>
              <c:numCache>
                <c:formatCode>General</c:formatCode>
                <c:ptCount val="1"/>
                <c:pt idx="0">
                  <c:v>0.56306382266834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56</c:v>
                </c:pt>
              </c:strCache>
            </c:strRef>
          </c:cat>
          <c:val>
            <c:numRef>
              <c:f>Sheet1!$E$2:$E$2</c:f>
              <c:numCache>
                <c:formatCode>General</c:formatCode>
                <c:ptCount val="1"/>
                <c:pt idx="0">
                  <c:v>2.927017984107066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9</c:v>
                </c:pt>
              </c:strCache>
            </c:strRef>
          </c:cat>
          <c:val>
            <c:numRef>
              <c:f>Sheet1!$B$2:$B$2</c:f>
              <c:numCache>
                <c:formatCode>General</c:formatCode>
                <c:ptCount val="1"/>
                <c:pt idx="0">
                  <c:v>6.47798324225865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9</c:v>
                </c:pt>
              </c:strCache>
            </c:strRef>
          </c:cat>
          <c:val>
            <c:numRef>
              <c:f>Sheet1!$C$2:$C$2</c:f>
              <c:numCache>
                <c:formatCode>General</c:formatCode>
                <c:ptCount val="1"/>
                <c:pt idx="0">
                  <c:v>7.61101202185792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9</c:v>
                </c:pt>
              </c:strCache>
            </c:strRef>
          </c:cat>
          <c:val>
            <c:numRef>
              <c:f>Sheet1!$D$2:$D$2</c:f>
              <c:numCache>
                <c:formatCode>General</c:formatCode>
                <c:ptCount val="1"/>
                <c:pt idx="0">
                  <c:v>0.4829537340619296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49</c:v>
                </c:pt>
              </c:strCache>
            </c:strRef>
          </c:cat>
          <c:val>
            <c:numRef>
              <c:f>Sheet1!$E$2:$E$2</c:f>
              <c:numCache>
                <c:formatCode>General</c:formatCode>
                <c:ptCount val="1"/>
                <c:pt idx="0">
                  <c:v>2.91438979963570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38</c:v>
                </c:pt>
              </c:strCache>
            </c:strRef>
          </c:cat>
          <c:val>
            <c:numRef>
              <c:f>Sheet1!$B$2:$B$2</c:f>
              <c:numCache>
                <c:formatCode>General</c:formatCode>
                <c:ptCount val="1"/>
                <c:pt idx="0">
                  <c:v>6.47615838866755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38</c:v>
                </c:pt>
              </c:strCache>
            </c:strRef>
          </c:cat>
          <c:val>
            <c:numRef>
              <c:f>Sheet1!$C$2:$C$2</c:f>
              <c:numCache>
                <c:formatCode>General</c:formatCode>
                <c:ptCount val="1"/>
                <c:pt idx="0">
                  <c:v>7.63302416998671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38</c:v>
                </c:pt>
              </c:strCache>
            </c:strRef>
          </c:cat>
          <c:val>
            <c:numRef>
              <c:f>Sheet1!$D$2:$D$2</c:f>
              <c:numCache>
                <c:formatCode>General</c:formatCode>
                <c:ptCount val="1"/>
                <c:pt idx="0">
                  <c:v>0.37215136491072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7.38</c:v>
                </c:pt>
              </c:strCache>
            </c:strRef>
          </c:cat>
          <c:val>
            <c:numRef>
              <c:f>Sheet1!$E$2:$E$2</c:f>
              <c:numCache>
                <c:formatCode>General</c:formatCode>
                <c:ptCount val="1"/>
                <c:pt idx="0">
                  <c:v>2.89626678471299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9.20</c:v>
                </c:pt>
                <c:pt idx="1">
                  <c:v>Av Price/Unit 17.34</c:v>
                </c:pt>
                <c:pt idx="2">
                  <c:v>Av Price/Unit 10.34</c:v>
                </c:pt>
                <c:pt idx="3">
                  <c:v>Av Price/Unit 23.81</c:v>
                </c:pt>
                <c:pt idx="4">
                  <c:v>Av Price/Unit 12.06</c:v>
                </c:pt>
                <c:pt idx="5">
                  <c:v>Av Price/Unit 13.61</c:v>
                </c:pt>
                <c:pt idx="6">
                  <c:v>Av Price/Unit 8.90</c:v>
                </c:pt>
                <c:pt idx="7">
                  <c:v>Av Price/Unit 10.16</c:v>
                </c:pt>
                <c:pt idx="8">
                  <c:v>Av Price/Unit 20.66</c:v>
                </c:pt>
              </c:strCache>
            </c:strRef>
          </c:cat>
          <c:val>
            <c:numRef>
              <c:f>Sheet1!$B$2:$B$10</c:f>
              <c:numCache>
                <c:formatCode>General</c:formatCode>
                <c:ptCount val="9"/>
                <c:pt idx="0">
                  <c:v>2.6535080733944953</c:v>
                </c:pt>
                <c:pt idx="1">
                  <c:v>6.479372016320981</c:v>
                </c:pt>
                <c:pt idx="2">
                  <c:v>3.034594842186296</c:v>
                </c:pt>
                <c:pt idx="3">
                  <c:v>6.9416069943289225</c:v>
                </c:pt>
                <c:pt idx="4">
                  <c:v>3.3999999999999995</c:v>
                </c:pt>
                <c:pt idx="5">
                  <c:v>4.4778</c:v>
                </c:pt>
                <c:pt idx="6">
                  <c:v>2.6827</c:v>
                </c:pt>
                <c:pt idx="7">
                  <c:v>3.0520827442827443</c:v>
                </c:pt>
                <c:pt idx="8">
                  <c:v>5.89300681818181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9.20</c:v>
                </c:pt>
                <c:pt idx="1">
                  <c:v>Av Price/Unit 17.34</c:v>
                </c:pt>
                <c:pt idx="2">
                  <c:v>Av Price/Unit 10.34</c:v>
                </c:pt>
                <c:pt idx="3">
                  <c:v>Av Price/Unit 23.81</c:v>
                </c:pt>
                <c:pt idx="4">
                  <c:v>Av Price/Unit 12.06</c:v>
                </c:pt>
                <c:pt idx="5">
                  <c:v>Av Price/Unit 13.61</c:v>
                </c:pt>
                <c:pt idx="6">
                  <c:v>Av Price/Unit 8.90</c:v>
                </c:pt>
                <c:pt idx="7">
                  <c:v>Av Price/Unit 10.16</c:v>
                </c:pt>
                <c:pt idx="8">
                  <c:v>Av Price/Unit 20.66</c:v>
                </c:pt>
              </c:strCache>
            </c:strRef>
          </c:cat>
          <c:val>
            <c:numRef>
              <c:f>Sheet1!$C$2:$C$10</c:f>
              <c:numCache>
                <c:formatCode>General</c:formatCode>
                <c:ptCount val="9"/>
                <c:pt idx="0">
                  <c:v>4.956390325271059</c:v>
                </c:pt>
                <c:pt idx="1">
                  <c:v>7.594260047602856</c:v>
                </c:pt>
                <c:pt idx="2">
                  <c:v>5.489591993841416</c:v>
                </c:pt>
                <c:pt idx="3">
                  <c:v>12.716937618147446</c:v>
                </c:pt>
                <c:pt idx="4">
                  <c:v>6.6000000000000005</c:v>
                </c:pt>
                <c:pt idx="5">
                  <c:v>6.633299999999999</c:v>
                </c:pt>
                <c:pt idx="6">
                  <c:v>4.434</c:v>
                </c:pt>
                <c:pt idx="7">
                  <c:v>5.38989604989605</c:v>
                </c:pt>
                <c:pt idx="8">
                  <c:v>10.96448863636363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9.20</c:v>
                </c:pt>
                <c:pt idx="1">
                  <c:v>Av Price/Unit 17.34</c:v>
                </c:pt>
                <c:pt idx="2">
                  <c:v>Av Price/Unit 10.34</c:v>
                </c:pt>
                <c:pt idx="3">
                  <c:v>Av Price/Unit 23.81</c:v>
                </c:pt>
                <c:pt idx="4">
                  <c:v>Av Price/Unit 12.06</c:v>
                </c:pt>
                <c:pt idx="5">
                  <c:v>Av Price/Unit 13.61</c:v>
                </c:pt>
                <c:pt idx="6">
                  <c:v>Av Price/Unit 8.90</c:v>
                </c:pt>
                <c:pt idx="7">
                  <c:v>Av Price/Unit 10.16</c:v>
                </c:pt>
                <c:pt idx="8">
                  <c:v>Av Price/Unit 20.66</c:v>
                </c:pt>
              </c:strCache>
            </c:strRef>
          </c:cat>
          <c:val>
            <c:numRef>
              <c:f>Sheet1!$D$2:$D$10</c:f>
              <c:numCache>
                <c:formatCode>General</c:formatCode>
                <c:ptCount val="9"/>
                <c:pt idx="0">
                  <c:v>0.059409357798166695</c:v>
                </c:pt>
                <c:pt idx="1">
                  <c:v>0.3772349880992891</c:v>
                </c:pt>
                <c:pt idx="2">
                  <c:v>0.09333946625609357</c:v>
                </c:pt>
                <c:pt idx="3">
                  <c:v>0.1870760554505395</c:v>
                </c:pt>
                <c:pt idx="4">
                  <c:v>0.03376748673420238</c:v>
                </c:pt>
                <c:pt idx="5">
                  <c:v>0.22869015334947562</c:v>
                </c:pt>
                <c:pt idx="6">
                  <c:v>0.2755994076467436</c:v>
                </c:pt>
                <c:pt idx="7">
                  <c:v>0.021292169092170354</c:v>
                </c:pt>
                <c:pt idx="8">
                  <c:v>0.3622015151515185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9.20</c:v>
                </c:pt>
                <c:pt idx="1">
                  <c:v>Av Price/Unit 17.34</c:v>
                </c:pt>
                <c:pt idx="2">
                  <c:v>Av Price/Unit 10.34</c:v>
                </c:pt>
                <c:pt idx="3">
                  <c:v>Av Price/Unit 23.81</c:v>
                </c:pt>
                <c:pt idx="4">
                  <c:v>Av Price/Unit 12.06</c:v>
                </c:pt>
                <c:pt idx="5">
                  <c:v>Av Price/Unit 13.61</c:v>
                </c:pt>
                <c:pt idx="6">
                  <c:v>Av Price/Unit 8.90</c:v>
                </c:pt>
                <c:pt idx="7">
                  <c:v>Av Price/Unit 10.16</c:v>
                </c:pt>
                <c:pt idx="8">
                  <c:v>Av Price/Unit 20.66</c:v>
                </c:pt>
              </c:strCache>
            </c:strRef>
          </c:cat>
          <c:val>
            <c:numRef>
              <c:f>Sheet1!$E$2:$E$10</c:f>
              <c:numCache>
                <c:formatCode>General</c:formatCode>
                <c:ptCount val="9"/>
                <c:pt idx="0">
                  <c:v>1.5338615512927427</c:v>
                </c:pt>
                <c:pt idx="1">
                  <c:v>2.8901734104046217</c:v>
                </c:pt>
                <c:pt idx="2">
                  <c:v>1.7235052604567607</c:v>
                </c:pt>
                <c:pt idx="3">
                  <c:v>3.96912413358538</c:v>
                </c:pt>
                <c:pt idx="4">
                  <c:v>2.0067534973468395</c:v>
                </c:pt>
                <c:pt idx="5">
                  <c:v>2.2679580306698957</c:v>
                </c:pt>
                <c:pt idx="6">
                  <c:v>1.4784598815293475</c:v>
                </c:pt>
                <c:pt idx="7">
                  <c:v>1.6926541926541914</c:v>
                </c:pt>
                <c:pt idx="8">
                  <c:v>3.443939393939393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7.42</c:v>
                </c:pt>
                <c:pt idx="1">
                  <c:v>Av Price/Unit 9.22</c:v>
                </c:pt>
                <c:pt idx="2">
                  <c:v>Av Price/Unit 24.12</c:v>
                </c:pt>
                <c:pt idx="3">
                  <c:v>Av Price/Unit 10.37</c:v>
                </c:pt>
                <c:pt idx="4">
                  <c:v>Av Price/Unit 8.89</c:v>
                </c:pt>
                <c:pt idx="5">
                  <c:v>Av Price/Unit 12.18</c:v>
                </c:pt>
                <c:pt idx="6">
                  <c:v>Av Price/Unit 13.73</c:v>
                </c:pt>
                <c:pt idx="7">
                  <c:v>Av Price/Unit 20.85</c:v>
                </c:pt>
                <c:pt idx="8">
                  <c:v>Av Price/Unit 10.42</c:v>
                </c:pt>
              </c:strCache>
            </c:strRef>
          </c:cat>
          <c:val>
            <c:numRef>
              <c:f>Sheet1!$B$2:$B$10</c:f>
              <c:numCache>
                <c:formatCode>General</c:formatCode>
                <c:ptCount val="9"/>
                <c:pt idx="0">
                  <c:v>6.47788861979779</c:v>
                </c:pt>
                <c:pt idx="1">
                  <c:v>2.6536329434697854</c:v>
                </c:pt>
                <c:pt idx="2">
                  <c:v>6.942629496402877</c:v>
                </c:pt>
                <c:pt idx="3">
                  <c:v>3.0343952212389373</c:v>
                </c:pt>
                <c:pt idx="4">
                  <c:v>2.6827</c:v>
                </c:pt>
                <c:pt idx="5">
                  <c:v>3.3999999999999995</c:v>
                </c:pt>
                <c:pt idx="6">
                  <c:v>4.4778</c:v>
                </c:pt>
                <c:pt idx="7">
                  <c:v>5.890516279069768</c:v>
                </c:pt>
                <c:pt idx="8">
                  <c:v>3.06557913669064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7.42</c:v>
                </c:pt>
                <c:pt idx="1">
                  <c:v>Av Price/Unit 9.22</c:v>
                </c:pt>
                <c:pt idx="2">
                  <c:v>Av Price/Unit 24.12</c:v>
                </c:pt>
                <c:pt idx="3">
                  <c:v>Av Price/Unit 10.37</c:v>
                </c:pt>
                <c:pt idx="4">
                  <c:v>Av Price/Unit 8.89</c:v>
                </c:pt>
                <c:pt idx="5">
                  <c:v>Av Price/Unit 12.18</c:v>
                </c:pt>
                <c:pt idx="6">
                  <c:v>Av Price/Unit 13.73</c:v>
                </c:pt>
                <c:pt idx="7">
                  <c:v>Av Price/Unit 20.85</c:v>
                </c:pt>
                <c:pt idx="8">
                  <c:v>Av Price/Unit 10.42</c:v>
                </c:pt>
              </c:strCache>
            </c:strRef>
          </c:cat>
          <c:val>
            <c:numRef>
              <c:f>Sheet1!$C$2:$C$10</c:f>
              <c:numCache>
                <c:formatCode>General</c:formatCode>
                <c:ptCount val="9"/>
                <c:pt idx="0">
                  <c:v>7.612153397601693</c:v>
                </c:pt>
                <c:pt idx="1">
                  <c:v>4.9568031189083825</c:v>
                </c:pt>
                <c:pt idx="2">
                  <c:v>12.71863309352518</c:v>
                </c:pt>
                <c:pt idx="3">
                  <c:v>5.489380530973452</c:v>
                </c:pt>
                <c:pt idx="4">
                  <c:v>4.434</c:v>
                </c:pt>
                <c:pt idx="5">
                  <c:v>6.6</c:v>
                </c:pt>
                <c:pt idx="6">
                  <c:v>6.6333</c:v>
                </c:pt>
                <c:pt idx="7">
                  <c:v>10.960755813953488</c:v>
                </c:pt>
                <c:pt idx="8">
                  <c:v>5.41165467625899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7.42</c:v>
                </c:pt>
                <c:pt idx="1">
                  <c:v>Av Price/Unit 9.22</c:v>
                </c:pt>
                <c:pt idx="2">
                  <c:v>Av Price/Unit 24.12</c:v>
                </c:pt>
                <c:pt idx="3">
                  <c:v>Av Price/Unit 10.37</c:v>
                </c:pt>
                <c:pt idx="4">
                  <c:v>Av Price/Unit 8.89</c:v>
                </c:pt>
                <c:pt idx="5">
                  <c:v>Av Price/Unit 12.18</c:v>
                </c:pt>
                <c:pt idx="6">
                  <c:v>Av Price/Unit 13.73</c:v>
                </c:pt>
                <c:pt idx="7">
                  <c:v>Av Price/Unit 20.85</c:v>
                </c:pt>
                <c:pt idx="8">
                  <c:v>Av Price/Unit 10.42</c:v>
                </c:pt>
              </c:strCache>
            </c:strRef>
          </c:cat>
          <c:val>
            <c:numRef>
              <c:f>Sheet1!$D$2:$D$10</c:f>
              <c:numCache>
                <c:formatCode>General</c:formatCode>
                <c:ptCount val="9"/>
                <c:pt idx="0">
                  <c:v>0.4273574653186003</c:v>
                </c:pt>
                <c:pt idx="1">
                  <c:v>0.07190636777127946</c:v>
                </c:pt>
                <c:pt idx="2">
                  <c:v>0.4376582733812988</c:v>
                </c:pt>
                <c:pt idx="3">
                  <c:v>0.11781716814159182</c:v>
                </c:pt>
                <c:pt idx="4">
                  <c:v>0.21720607101947476</c:v>
                </c:pt>
                <c:pt idx="5">
                  <c:v>0.13745704467353903</c:v>
                </c:pt>
                <c:pt idx="6">
                  <c:v>0.35231463414634234</c:v>
                </c:pt>
                <c:pt idx="7">
                  <c:v>0.5227589147286871</c:v>
                </c:pt>
                <c:pt idx="8">
                  <c:v>0.2038213429256572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17.42</c:v>
                </c:pt>
                <c:pt idx="1">
                  <c:v>Av Price/Unit 9.22</c:v>
                </c:pt>
                <c:pt idx="2">
                  <c:v>Av Price/Unit 24.12</c:v>
                </c:pt>
                <c:pt idx="3">
                  <c:v>Av Price/Unit 10.37</c:v>
                </c:pt>
                <c:pt idx="4">
                  <c:v>Av Price/Unit 8.89</c:v>
                </c:pt>
                <c:pt idx="5">
                  <c:v>Av Price/Unit 12.18</c:v>
                </c:pt>
                <c:pt idx="6">
                  <c:v>Av Price/Unit 13.73</c:v>
                </c:pt>
                <c:pt idx="7">
                  <c:v>Av Price/Unit 20.85</c:v>
                </c:pt>
                <c:pt idx="8">
                  <c:v>Av Price/Unit 10.42</c:v>
                </c:pt>
              </c:strCache>
            </c:strRef>
          </c:cat>
          <c:val>
            <c:numRef>
              <c:f>Sheet1!$E$2:$E$10</c:f>
              <c:numCache>
                <c:formatCode>General</c:formatCode>
                <c:ptCount val="9"/>
                <c:pt idx="0">
                  <c:v>2.903479896543616</c:v>
                </c:pt>
                <c:pt idx="1">
                  <c:v>1.5364684860298898</c:v>
                </c:pt>
                <c:pt idx="2">
                  <c:v>4.0197841726618675</c:v>
                </c:pt>
                <c:pt idx="3">
                  <c:v>1.7283185840707964</c:v>
                </c:pt>
                <c:pt idx="4">
                  <c:v>1.4667812142038936</c:v>
                </c:pt>
                <c:pt idx="5">
                  <c:v>2.0274914089347087</c:v>
                </c:pt>
                <c:pt idx="6">
                  <c:v>2.2926829268292668</c:v>
                </c:pt>
                <c:pt idx="7">
                  <c:v>3.4748062015503867</c:v>
                </c:pt>
                <c:pt idx="8">
                  <c:v>1.736211031175061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7.40</c:v>
                </c:pt>
                <c:pt idx="1">
                  <c:v>Av Price/Unit 9.21</c:v>
                </c:pt>
                <c:pt idx="2">
                  <c:v>Av Price/Unit 10.41</c:v>
                </c:pt>
                <c:pt idx="3">
                  <c:v>Av Price/Unit 12.14</c:v>
                </c:pt>
                <c:pt idx="4">
                  <c:v>Av Price/Unit 24.43</c:v>
                </c:pt>
                <c:pt idx="5">
                  <c:v>Av Price/Unit 8.95</c:v>
                </c:pt>
                <c:pt idx="6">
                  <c:v>Av Price/Unit 10.11</c:v>
                </c:pt>
                <c:pt idx="7">
                  <c:v>Av Price/Unit 21.28</c:v>
                </c:pt>
              </c:strCache>
            </c:strRef>
          </c:cat>
          <c:val>
            <c:numRef>
              <c:f>Sheet1!$B$2:$B$9</c:f>
              <c:numCache>
                <c:formatCode>General</c:formatCode>
                <c:ptCount val="8"/>
                <c:pt idx="0">
                  <c:v>6.476817192575406</c:v>
                </c:pt>
                <c:pt idx="1">
                  <c:v>2.6537051965356433</c:v>
                </c:pt>
                <c:pt idx="2">
                  <c:v>3.0362232142857137</c:v>
                </c:pt>
                <c:pt idx="3">
                  <c:v>3.4</c:v>
                </c:pt>
                <c:pt idx="4">
                  <c:v>6.937578709677418</c:v>
                </c:pt>
                <c:pt idx="5">
                  <c:v>2.6827</c:v>
                </c:pt>
                <c:pt idx="6">
                  <c:v>3.042967111111111</c:v>
                </c:pt>
                <c:pt idx="7">
                  <c:v>5.89304925373134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7.40</c:v>
                </c:pt>
                <c:pt idx="1">
                  <c:v>Av Price/Unit 9.21</c:v>
                </c:pt>
                <c:pt idx="2">
                  <c:v>Av Price/Unit 10.41</c:v>
                </c:pt>
                <c:pt idx="3">
                  <c:v>Av Price/Unit 12.14</c:v>
                </c:pt>
                <c:pt idx="4">
                  <c:v>Av Price/Unit 24.43</c:v>
                </c:pt>
                <c:pt idx="5">
                  <c:v>Av Price/Unit 8.95</c:v>
                </c:pt>
                <c:pt idx="6">
                  <c:v>Av Price/Unit 10.11</c:v>
                </c:pt>
                <c:pt idx="7">
                  <c:v>Av Price/Unit 21.28</c:v>
                </c:pt>
              </c:strCache>
            </c:strRef>
          </c:cat>
          <c:val>
            <c:numRef>
              <c:f>Sheet1!$C$2:$C$9</c:f>
              <c:numCache>
                <c:formatCode>General</c:formatCode>
                <c:ptCount val="8"/>
                <c:pt idx="0">
                  <c:v>7.625077401392111</c:v>
                </c:pt>
                <c:pt idx="1">
                  <c:v>4.957041972018654</c:v>
                </c:pt>
                <c:pt idx="2">
                  <c:v>5.491316964285714</c:v>
                </c:pt>
                <c:pt idx="3">
                  <c:v>6.599999999999998</c:v>
                </c:pt>
                <c:pt idx="4">
                  <c:v>12.71025806451613</c:v>
                </c:pt>
                <c:pt idx="5">
                  <c:v>4.434</c:v>
                </c:pt>
                <c:pt idx="6">
                  <c:v>5.3752</c:v>
                </c:pt>
                <c:pt idx="7">
                  <c:v>10.9645522388059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7.40</c:v>
                </c:pt>
                <c:pt idx="1">
                  <c:v>Av Price/Unit 9.21</c:v>
                </c:pt>
                <c:pt idx="2">
                  <c:v>Av Price/Unit 10.41</c:v>
                </c:pt>
                <c:pt idx="3">
                  <c:v>Av Price/Unit 12.14</c:v>
                </c:pt>
                <c:pt idx="4">
                  <c:v>Av Price/Unit 24.43</c:v>
                </c:pt>
                <c:pt idx="5">
                  <c:v>Av Price/Unit 8.95</c:v>
                </c:pt>
                <c:pt idx="6">
                  <c:v>Av Price/Unit 10.11</c:v>
                </c:pt>
                <c:pt idx="7">
                  <c:v>Av Price/Unit 21.28</c:v>
                </c:pt>
              </c:strCache>
            </c:strRef>
          </c:cat>
          <c:val>
            <c:numRef>
              <c:f>Sheet1!$D$2:$D$9</c:f>
              <c:numCache>
                <c:formatCode>General</c:formatCode>
                <c:ptCount val="8"/>
                <c:pt idx="0">
                  <c:v>0.40100563805104805</c:v>
                </c:pt>
                <c:pt idx="1">
                  <c:v>0.060805129913391376</c:v>
                </c:pt>
                <c:pt idx="2">
                  <c:v>0.14805505952380926</c:v>
                </c:pt>
                <c:pt idx="3">
                  <c:v>0.11248852157943112</c:v>
                </c:pt>
                <c:pt idx="4">
                  <c:v>0.7123782795698901</c:v>
                </c:pt>
                <c:pt idx="5">
                  <c:v>0.3425252803261989</c:v>
                </c:pt>
                <c:pt idx="6">
                  <c:v>0.0040551111111089</c:v>
                </c:pt>
                <c:pt idx="7">
                  <c:v>0.878716915422884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17.40</c:v>
                </c:pt>
                <c:pt idx="1">
                  <c:v>Av Price/Unit 9.21</c:v>
                </c:pt>
                <c:pt idx="2">
                  <c:v>Av Price/Unit 10.41</c:v>
                </c:pt>
                <c:pt idx="3">
                  <c:v>Av Price/Unit 12.14</c:v>
                </c:pt>
                <c:pt idx="4">
                  <c:v>Av Price/Unit 24.43</c:v>
                </c:pt>
                <c:pt idx="5">
                  <c:v>Av Price/Unit 8.95</c:v>
                </c:pt>
                <c:pt idx="6">
                  <c:v>Av Price/Unit 10.11</c:v>
                </c:pt>
                <c:pt idx="7">
                  <c:v>Av Price/Unit 21.28</c:v>
                </c:pt>
              </c:strCache>
            </c:strRef>
          </c:cat>
          <c:val>
            <c:numRef>
              <c:f>Sheet1!$E$2:$E$9</c:f>
              <c:numCache>
                <c:formatCode>General</c:formatCode>
                <c:ptCount val="8"/>
                <c:pt idx="0">
                  <c:v>2.900580046403709</c:v>
                </c:pt>
                <c:pt idx="1">
                  <c:v>1.5343104596935364</c:v>
                </c:pt>
                <c:pt idx="2">
                  <c:v>1.735119047619048</c:v>
                </c:pt>
                <c:pt idx="3">
                  <c:v>2.0224977043158856</c:v>
                </c:pt>
                <c:pt idx="4">
                  <c:v>4.0720430107526875</c:v>
                </c:pt>
                <c:pt idx="5">
                  <c:v>1.4918450560652385</c:v>
                </c:pt>
                <c:pt idx="6">
                  <c:v>1.6844444444444455</c:v>
                </c:pt>
                <c:pt idx="7">
                  <c:v>3.54726368159204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0.81</c:v>
                </c:pt>
                <c:pt idx="1">
                  <c:v>Av Price/Unit 9.62</c:v>
                </c:pt>
                <c:pt idx="2">
                  <c:v>Av Price/Unit 9.75</c:v>
                </c:pt>
                <c:pt idx="3">
                  <c:v>Av Price/Unit 14.83</c:v>
                </c:pt>
              </c:strCache>
            </c:strRef>
          </c:cat>
          <c:val>
            <c:numRef>
              <c:f>Sheet1!$B$2:$B$5</c:f>
              <c:numCache>
                <c:formatCode>General</c:formatCode>
                <c:ptCount val="4"/>
                <c:pt idx="0">
                  <c:v>3.8938011185278736</c:v>
                </c:pt>
                <c:pt idx="1">
                  <c:v>3.48441324376199</c:v>
                </c:pt>
                <c:pt idx="2">
                  <c:v>3.5914022421524643</c:v>
                </c:pt>
                <c:pt idx="3">
                  <c:v>5.796699999999999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0.81</c:v>
                </c:pt>
                <c:pt idx="1">
                  <c:v>Av Price/Unit 9.62</c:v>
                </c:pt>
                <c:pt idx="2">
                  <c:v>Av Price/Unit 9.75</c:v>
                </c:pt>
                <c:pt idx="3">
                  <c:v>Av Price/Unit 14.83</c:v>
                </c:pt>
              </c:strCache>
            </c:strRef>
          </c:cat>
          <c:val>
            <c:numRef>
              <c:f>Sheet1!$C$2:$C$5</c:f>
              <c:numCache>
                <c:formatCode>General</c:formatCode>
                <c:ptCount val="4"/>
                <c:pt idx="0">
                  <c:v>4.446415515064047</c:v>
                </c:pt>
                <c:pt idx="1">
                  <c:v>4.119999999999994</c:v>
                </c:pt>
                <c:pt idx="2">
                  <c:v>4.156367713004486</c:v>
                </c:pt>
                <c:pt idx="3">
                  <c:v>6.1200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0.81</c:v>
                </c:pt>
                <c:pt idx="1">
                  <c:v>Av Price/Unit 9.62</c:v>
                </c:pt>
                <c:pt idx="2">
                  <c:v>Av Price/Unit 9.75</c:v>
                </c:pt>
                <c:pt idx="3">
                  <c:v>Av Price/Unit 14.83</c:v>
                </c:pt>
              </c:strCache>
            </c:strRef>
          </c:cat>
          <c:val>
            <c:numRef>
              <c:f>Sheet1!$D$2:$D$5</c:f>
              <c:numCache>
                <c:formatCode>General</c:formatCode>
                <c:ptCount val="4"/>
                <c:pt idx="0">
                  <c:v>0.6657368212159511</c:v>
                </c:pt>
                <c:pt idx="1">
                  <c:v>0.41542040946898506</c:v>
                </c:pt>
                <c:pt idx="2">
                  <c:v>0.38003273542600535</c:v>
                </c:pt>
                <c:pt idx="3">
                  <c:v>0.440150715746426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10.81</c:v>
                </c:pt>
                <c:pt idx="1">
                  <c:v>Av Price/Unit 9.62</c:v>
                </c:pt>
                <c:pt idx="2">
                  <c:v>Av Price/Unit 9.75</c:v>
                </c:pt>
                <c:pt idx="3">
                  <c:v>Av Price/Unit 14.83</c:v>
                </c:pt>
              </c:strCache>
            </c:strRef>
          </c:cat>
          <c:val>
            <c:numRef>
              <c:f>Sheet1!$E$2:$E$5</c:f>
              <c:numCache>
                <c:formatCode>General</c:formatCode>
                <c:ptCount val="4"/>
                <c:pt idx="0">
                  <c:v>1.8011906909615731</c:v>
                </c:pt>
                <c:pt idx="1">
                  <c:v>1.6039667306461902</c:v>
                </c:pt>
                <c:pt idx="2">
                  <c:v>1.625560538116589</c:v>
                </c:pt>
                <c:pt idx="3">
                  <c:v>2.47137014314928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93</c:v>
                </c:pt>
              </c:strCache>
            </c:strRef>
          </c:cat>
          <c:val>
            <c:numRef>
              <c:f>Sheet1!$B$2:$B$2</c:f>
              <c:numCache>
                <c:formatCode>General</c:formatCode>
                <c:ptCount val="1"/>
                <c:pt idx="0">
                  <c:v>3.90702209944751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93</c:v>
                </c:pt>
              </c:strCache>
            </c:strRef>
          </c:cat>
          <c:val>
            <c:numRef>
              <c:f>Sheet1!$C$2:$C$2</c:f>
              <c:numCache>
                <c:formatCode>General</c:formatCode>
                <c:ptCount val="1"/>
                <c:pt idx="0">
                  <c:v>4.46676906077348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93</c:v>
                </c:pt>
              </c:strCache>
            </c:strRef>
          </c:cat>
          <c:val>
            <c:numRef>
              <c:f>Sheet1!$D$2:$D$2</c:f>
              <c:numCache>
                <c:formatCode>General</c:formatCode>
                <c:ptCount val="1"/>
                <c:pt idx="0">
                  <c:v>0.733022836095763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93</c:v>
                </c:pt>
              </c:strCache>
            </c:strRef>
          </c:cat>
          <c:val>
            <c:numRef>
              <c:f>Sheet1!$E$2:$E$2</c:f>
              <c:numCache>
                <c:formatCode>General</c:formatCode>
                <c:ptCount val="1"/>
                <c:pt idx="0">
                  <c:v>1.82136279926335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92</c:v>
                </c:pt>
              </c:strCache>
            </c:strRef>
          </c:cat>
          <c:val>
            <c:numRef>
              <c:f>Sheet1!$B$2:$B$2</c:f>
              <c:numCache>
                <c:formatCode>General</c:formatCode>
                <c:ptCount val="1"/>
                <c:pt idx="0">
                  <c:v>3.892353333333333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92</c:v>
                </c:pt>
              </c:strCache>
            </c:strRef>
          </c:cat>
          <c:val>
            <c:numRef>
              <c:f>Sheet1!$C$2:$C$2</c:f>
              <c:numCache>
                <c:formatCode>General</c:formatCode>
                <c:ptCount val="1"/>
                <c:pt idx="0">
                  <c:v>4.44418666666666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92</c:v>
                </c:pt>
              </c:strCache>
            </c:strRef>
          </c:cat>
          <c:val>
            <c:numRef>
              <c:f>Sheet1!$D$2:$D$2</c:f>
              <c:numCache>
                <c:formatCode>General</c:formatCode>
                <c:ptCount val="1"/>
                <c:pt idx="0">
                  <c:v>0.762943204134366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92</c:v>
                </c:pt>
              </c:strCache>
            </c:strRef>
          </c:cat>
          <c:val>
            <c:numRef>
              <c:f>Sheet1!$E$2:$E$2</c:f>
              <c:numCache>
                <c:formatCode>General</c:formatCode>
                <c:ptCount val="1"/>
                <c:pt idx="0">
                  <c:v>1.819896640826874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1.12</c:v>
                </c:pt>
              </c:strCache>
            </c:strRef>
          </c:cat>
          <c:val>
            <c:numRef>
              <c:f>Sheet1!$B$2:$B$2</c:f>
              <c:numCache>
                <c:formatCode>General</c:formatCode>
                <c:ptCount val="1"/>
                <c:pt idx="0">
                  <c:v>3.888985398230089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1.12</c:v>
                </c:pt>
              </c:strCache>
            </c:strRef>
          </c:cat>
          <c:val>
            <c:numRef>
              <c:f>Sheet1!$C$2:$C$2</c:f>
              <c:numCache>
                <c:formatCode>General</c:formatCode>
                <c:ptCount val="1"/>
                <c:pt idx="0">
                  <c:v>4.43900176991150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1.12</c:v>
                </c:pt>
              </c:strCache>
            </c:strRef>
          </c:cat>
          <c:val>
            <c:numRef>
              <c:f>Sheet1!$D$2:$D$2</c:f>
              <c:numCache>
                <c:formatCode>General</c:formatCode>
                <c:ptCount val="1"/>
                <c:pt idx="0">
                  <c:v>0.934549705014749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1.12</c:v>
                </c:pt>
              </c:strCache>
            </c:strRef>
          </c:cat>
          <c:val>
            <c:numRef>
              <c:f>Sheet1!$E$2:$E$2</c:f>
              <c:numCache>
                <c:formatCode>General</c:formatCode>
                <c:ptCount val="1"/>
                <c:pt idx="0">
                  <c:v>1.852507374631267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81</c:v>
                </c:pt>
              </c:strCache>
            </c:strRef>
          </c:cat>
          <c:val>
            <c:numRef>
              <c:f>Sheet1!$B$2:$B$2</c:f>
              <c:numCache>
                <c:formatCode>General</c:formatCode>
                <c:ptCount val="1"/>
                <c:pt idx="0">
                  <c:v>3.89635334821428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81</c:v>
                </c:pt>
              </c:strCache>
            </c:strRef>
          </c:cat>
          <c:val>
            <c:numRef>
              <c:f>Sheet1!$C$2:$C$2</c:f>
              <c:numCache>
                <c:formatCode>General</c:formatCode>
                <c:ptCount val="1"/>
                <c:pt idx="0">
                  <c:v>4.45034464285714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81</c:v>
                </c:pt>
              </c:strCache>
            </c:strRef>
          </c:cat>
          <c:val>
            <c:numRef>
              <c:f>Sheet1!$D$2:$D$2</c:f>
              <c:numCache>
                <c:formatCode>General</c:formatCode>
                <c:ptCount val="1"/>
                <c:pt idx="0">
                  <c:v>0.665578794642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81</c:v>
                </c:pt>
              </c:strCache>
            </c:strRef>
          </c:cat>
          <c:val>
            <c:numRef>
              <c:f>Sheet1!$E$2:$E$2</c:f>
              <c:numCache>
                <c:formatCode>General</c:formatCode>
                <c:ptCount val="1"/>
                <c:pt idx="0">
                  <c:v>1.802455357142855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75</c:v>
                </c:pt>
              </c:strCache>
            </c:strRef>
          </c:cat>
          <c:val>
            <c:numRef>
              <c:f>Sheet1!$B$2:$B$2</c:f>
              <c:numCache>
                <c:formatCode>General</c:formatCode>
                <c:ptCount val="1"/>
                <c:pt idx="0">
                  <c:v>3.89314724349157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75</c:v>
                </c:pt>
              </c:strCache>
            </c:strRef>
          </c:cat>
          <c:val>
            <c:numRef>
              <c:f>Sheet1!$C$2:$C$2</c:f>
              <c:numCache>
                <c:formatCode>General</c:formatCode>
                <c:ptCount val="1"/>
                <c:pt idx="0">
                  <c:v>4.4454088820826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75</c:v>
                </c:pt>
              </c:strCache>
            </c:strRef>
          </c:cat>
          <c:val>
            <c:numRef>
              <c:f>Sheet1!$D$2:$D$2</c:f>
              <c:numCache>
                <c:formatCode>General</c:formatCode>
                <c:ptCount val="1"/>
                <c:pt idx="0">
                  <c:v>0.620734328739150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75</c:v>
                </c:pt>
              </c:strCache>
            </c:strRef>
          </c:cat>
          <c:val>
            <c:numRef>
              <c:f>Sheet1!$E$2:$E$2</c:f>
              <c:numCache>
                <c:formatCode>General</c:formatCode>
                <c:ptCount val="1"/>
                <c:pt idx="0">
                  <c:v>1.79185809086268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67</c:v>
                </c:pt>
              </c:strCache>
            </c:strRef>
          </c:cat>
          <c:val>
            <c:numRef>
              <c:f>Sheet1!$B$2:$B$2</c:f>
              <c:numCache>
                <c:formatCode>General</c:formatCode>
                <c:ptCount val="1"/>
                <c:pt idx="0">
                  <c:v>3.898949691991786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67</c:v>
                </c:pt>
              </c:strCache>
            </c:strRef>
          </c:cat>
          <c:val>
            <c:numRef>
              <c:f>Sheet1!$C$2:$C$2</c:f>
              <c:numCache>
                <c:formatCode>General</c:formatCode>
                <c:ptCount val="1"/>
                <c:pt idx="0">
                  <c:v>4.45434168377823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67</c:v>
                </c:pt>
              </c:strCache>
            </c:strRef>
          </c:cat>
          <c:val>
            <c:numRef>
              <c:f>Sheet1!$D$2:$D$2</c:f>
              <c:numCache>
                <c:formatCode>General</c:formatCode>
                <c:ptCount val="1"/>
                <c:pt idx="0">
                  <c:v>0.537879055441479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10.67</c:v>
                </c:pt>
              </c:strCache>
            </c:strRef>
          </c:cat>
          <c:val>
            <c:numRef>
              <c:f>Sheet1!$E$2:$E$2</c:f>
              <c:numCache>
                <c:formatCode>General</c:formatCode>
                <c:ptCount val="1"/>
                <c:pt idx="0">
                  <c:v>1.778234086242299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89</c:v>
                </c:pt>
                <c:pt idx="1">
                  <c:v>Av Price/Unit 9.45</c:v>
                </c:pt>
                <c:pt idx="2">
                  <c:v>Av Price/Unit 9.50</c:v>
                </c:pt>
              </c:strCache>
            </c:strRef>
          </c:cat>
          <c:val>
            <c:numRef>
              <c:f>Sheet1!$B$2:$B$4</c:f>
              <c:numCache>
                <c:formatCode>General</c:formatCode>
                <c:ptCount val="3"/>
                <c:pt idx="0">
                  <c:v>3.89561702970297</c:v>
                </c:pt>
                <c:pt idx="1">
                  <c:v>3.485175968992248</c:v>
                </c:pt>
                <c:pt idx="2">
                  <c:v>3.47546216216216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89</c:v>
                </c:pt>
                <c:pt idx="1">
                  <c:v>Av Price/Unit 9.45</c:v>
                </c:pt>
                <c:pt idx="2">
                  <c:v>Av Price/Unit 9.50</c:v>
                </c:pt>
              </c:strCache>
            </c:strRef>
          </c:cat>
          <c:val>
            <c:numRef>
              <c:f>Sheet1!$C$2:$C$4</c:f>
              <c:numCache>
                <c:formatCode>General</c:formatCode>
                <c:ptCount val="3"/>
                <c:pt idx="0">
                  <c:v>4.44921108910891</c:v>
                </c:pt>
                <c:pt idx="1">
                  <c:v>4.1575968992248065</c:v>
                </c:pt>
                <c:pt idx="2">
                  <c:v>4.1199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89</c:v>
                </c:pt>
                <c:pt idx="1">
                  <c:v>Av Price/Unit 9.45</c:v>
                </c:pt>
                <c:pt idx="2">
                  <c:v>Av Price/Unit 9.50</c:v>
                </c:pt>
              </c:strCache>
            </c:strRef>
          </c:cat>
          <c:val>
            <c:numRef>
              <c:f>Sheet1!$D$2:$D$4</c:f>
              <c:numCache>
                <c:formatCode>General</c:formatCode>
                <c:ptCount val="3"/>
                <c:pt idx="0">
                  <c:v>0.7294293069306939</c:v>
                </c:pt>
                <c:pt idx="1">
                  <c:v>0.22867416020671882</c:v>
                </c:pt>
                <c:pt idx="2">
                  <c:v>0.3189522522522514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10.89</c:v>
                </c:pt>
                <c:pt idx="1">
                  <c:v>Av Price/Unit 9.45</c:v>
                </c:pt>
                <c:pt idx="2">
                  <c:v>Av Price/Unit 9.50</c:v>
                </c:pt>
              </c:strCache>
            </c:strRef>
          </c:cat>
          <c:val>
            <c:numRef>
              <c:f>Sheet1!$E$2:$E$4</c:f>
              <c:numCache>
                <c:formatCode>General</c:formatCode>
                <c:ptCount val="3"/>
                <c:pt idx="0">
                  <c:v>1.814851485148515</c:v>
                </c:pt>
                <c:pt idx="1">
                  <c:v>1.5742894056847538</c:v>
                </c:pt>
                <c:pt idx="2">
                  <c:v>1.582882882882882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9C88815-ACD0-4B1F-B833-C9D771DC0F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60B6B12-5486-4853-8403-0255F30DE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18E212C-1376-4EA6-A32F-9E8C4364F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04BB3FF-737B-4C59-AC5F-EBDF0E46B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E6873AD-6B69-4243-997D-7ED3497E4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10595FE-E33C-484F-BA17-DEF18C8AB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F139D50-CA9A-4C26-B9D8-3513BB9B0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ADE2FB7-0243-4609-AC5B-435A18A76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2799</c:v>
                </c:pt>
                <c:pt idx="1">
                  <c:v>24.4305</c:v>
                </c:pt>
                <c:pt idx="2">
                  <c:v>23.1118</c:v>
                </c:pt>
                <c:pt idx="3">
                  <c:v>25.8913</c:v>
                </c:pt>
                <c:pt idx="4">
                  <c:v>21.971</c:v>
                </c:pt>
              </c:numCache>
            </c:numRef>
          </c:xVal>
          <c:yVal>
            <c:numRef>
              <c:f>Sheet1!$B$2:$B$6</c:f>
              <c:numCache>
                <c:formatCode>General</c:formatCode>
                <c:ptCount val="5"/>
                <c:pt idx="0">
                  <c:v>0.5334</c:v>
                </c:pt>
                <c:pt idx="1">
                  <c:v>0.5278</c:v>
                </c:pt>
                <c:pt idx="2">
                  <c:v>0.5236</c:v>
                </c:pt>
                <c:pt idx="3">
                  <c:v>0.5354</c:v>
                </c:pt>
                <c:pt idx="4">
                  <c:v>0.5219</c:v>
                </c:pt>
              </c:numCache>
            </c:numRef>
          </c:yVal>
          <c:bubbleSize>
            <c:numRef>
              <c:f>Sheet1!$C$2:$C$6</c:f>
              <c:numCache>
                <c:formatCode>General</c:formatCode>
                <c:ptCount val="5"/>
                <c:pt idx="0">
                  <c:v>124580.40509999997</c:v>
                </c:pt>
                <c:pt idx="1">
                  <c:v>78030.99699999999</c:v>
                </c:pt>
                <c:pt idx="2">
                  <c:v>88841.7855</c:v>
                </c:pt>
                <c:pt idx="3">
                  <c:v>166299.56789999997</c:v>
                </c:pt>
                <c:pt idx="4">
                  <c:v>77953.17040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1.06956"/>
          <c:min val="17.5768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299065060615937"/>
        <c:crossBetween val="midCat"/>
      </c:valAx>
      <c:valAx>
        <c:axId val="1011451359"/>
        <c:scaling>
          <c:orientation val="minMax"/>
          <c:max val="1.0024799999999998"/>
          <c:min val="0.177520000000000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4.27236681299993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1.25</c:v>
                </c:pt>
                <c:pt idx="1">
                  <c:v>Av Price/Unit 39.13</c:v>
                </c:pt>
                <c:pt idx="2">
                  <c:v>Av Price/Unit 25.23</c:v>
                </c:pt>
                <c:pt idx="3">
                  <c:v>Av Price/Unit 31.40</c:v>
                </c:pt>
                <c:pt idx="4">
                  <c:v>Av Price/Unit 47.23</c:v>
                </c:pt>
                <c:pt idx="5">
                  <c:v>Av Price/Unit 92.71</c:v>
                </c:pt>
                <c:pt idx="6">
                  <c:v>Av Price/Unit 37.36</c:v>
                </c:pt>
                <c:pt idx="7">
                  <c:v>Av Price/Unit 23.27</c:v>
                </c:pt>
                <c:pt idx="8">
                  <c:v>Av Price/Unit 24.94</c:v>
                </c:pt>
                <c:pt idx="9">
                  <c:v>Av Price/Unit 37.44</c:v>
                </c:pt>
                <c:pt idx="10">
                  <c:v>Av Price/Unit 24.84</c:v>
                </c:pt>
              </c:strCache>
            </c:strRef>
          </c:cat>
          <c:val>
            <c:numRef>
              <c:f>Sheet1!$B$2:$B$12</c:f>
              <c:numCache>
                <c:formatCode>General</c:formatCode>
                <c:ptCount val="11"/>
                <c:pt idx="0">
                  <c:v>3.6134988670970882</c:v>
                </c:pt>
                <c:pt idx="1">
                  <c:v>13.3454</c:v>
                </c:pt>
                <c:pt idx="2">
                  <c:v>5.366390566037736</c:v>
                </c:pt>
                <c:pt idx="3">
                  <c:v>11.747198466257668</c:v>
                </c:pt>
                <c:pt idx="4">
                  <c:v>10.73075172413793</c:v>
                </c:pt>
                <c:pt idx="5">
                  <c:v>32.59877894736843</c:v>
                </c:pt>
                <c:pt idx="6">
                  <c:v>14.107096875</c:v>
                </c:pt>
                <c:pt idx="7">
                  <c:v>8.978691176470585</c:v>
                </c:pt>
                <c:pt idx="8">
                  <c:v>9.375662650602411</c:v>
                </c:pt>
                <c:pt idx="9">
                  <c:v>13.322600000000001</c:v>
                </c:pt>
                <c:pt idx="10">
                  <c:v>9.3733999999999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1.25</c:v>
                </c:pt>
                <c:pt idx="1">
                  <c:v>Av Price/Unit 39.13</c:v>
                </c:pt>
                <c:pt idx="2">
                  <c:v>Av Price/Unit 25.23</c:v>
                </c:pt>
                <c:pt idx="3">
                  <c:v>Av Price/Unit 31.40</c:v>
                </c:pt>
                <c:pt idx="4">
                  <c:v>Av Price/Unit 47.23</c:v>
                </c:pt>
                <c:pt idx="5">
                  <c:v>Av Price/Unit 92.71</c:v>
                </c:pt>
                <c:pt idx="6">
                  <c:v>Av Price/Unit 37.36</c:v>
                </c:pt>
                <c:pt idx="7">
                  <c:v>Av Price/Unit 23.27</c:v>
                </c:pt>
                <c:pt idx="8">
                  <c:v>Av Price/Unit 24.94</c:v>
                </c:pt>
                <c:pt idx="9">
                  <c:v>Av Price/Unit 37.44</c:v>
                </c:pt>
                <c:pt idx="10">
                  <c:v>Av Price/Unit 24.84</c:v>
                </c:pt>
              </c:strCache>
            </c:strRef>
          </c:cat>
          <c:val>
            <c:numRef>
              <c:f>Sheet1!$C$2:$C$12</c:f>
              <c:numCache>
                <c:formatCode>General</c:formatCode>
                <c:ptCount val="11"/>
                <c:pt idx="0">
                  <c:v>13.388868595444023</c:v>
                </c:pt>
                <c:pt idx="1">
                  <c:v>16.206</c:v>
                </c:pt>
                <c:pt idx="2">
                  <c:v>15.466909433962263</c:v>
                </c:pt>
                <c:pt idx="3">
                  <c:v>14.308320858895705</c:v>
                </c:pt>
                <c:pt idx="4">
                  <c:v>26.946465517241382</c:v>
                </c:pt>
                <c:pt idx="5">
                  <c:v>34.927</c:v>
                </c:pt>
                <c:pt idx="6">
                  <c:v>15.344281249999998</c:v>
                </c:pt>
                <c:pt idx="7">
                  <c:v>8.84285294117647</c:v>
                </c:pt>
                <c:pt idx="8">
                  <c:v>8.538853012048193</c:v>
                </c:pt>
                <c:pt idx="9">
                  <c:v>16.057</c:v>
                </c:pt>
                <c:pt idx="10">
                  <c:v>9.05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1.25</c:v>
                </c:pt>
                <c:pt idx="1">
                  <c:v>Av Price/Unit 39.13</c:v>
                </c:pt>
                <c:pt idx="2">
                  <c:v>Av Price/Unit 25.23</c:v>
                </c:pt>
                <c:pt idx="3">
                  <c:v>Av Price/Unit 31.40</c:v>
                </c:pt>
                <c:pt idx="4">
                  <c:v>Av Price/Unit 47.23</c:v>
                </c:pt>
                <c:pt idx="5">
                  <c:v>Av Price/Unit 92.71</c:v>
                </c:pt>
                <c:pt idx="6">
                  <c:v>Av Price/Unit 37.36</c:v>
                </c:pt>
                <c:pt idx="7">
                  <c:v>Av Price/Unit 23.27</c:v>
                </c:pt>
                <c:pt idx="8">
                  <c:v>Av Price/Unit 24.94</c:v>
                </c:pt>
                <c:pt idx="9">
                  <c:v>Av Price/Unit 37.44</c:v>
                </c:pt>
                <c:pt idx="10">
                  <c:v>Av Price/Unit 24.84</c:v>
                </c:pt>
              </c:strCache>
            </c:strRef>
          </c:cat>
          <c:val>
            <c:numRef>
              <c:f>Sheet1!$D$2:$D$12</c:f>
              <c:numCache>
                <c:formatCode>General</c:formatCode>
                <c:ptCount val="11"/>
                <c:pt idx="0">
                  <c:v>0.7075647257075524</c:v>
                </c:pt>
                <c:pt idx="1">
                  <c:v>3.0575324618736346</c:v>
                </c:pt>
                <c:pt idx="2">
                  <c:v>0.19342955974842724</c:v>
                </c:pt>
                <c:pt idx="3">
                  <c:v>0.11523732106339324</c:v>
                </c:pt>
                <c:pt idx="4">
                  <c:v>1.6810203065134104</c:v>
                </c:pt>
                <c:pt idx="5">
                  <c:v>9.732992982456125</c:v>
                </c:pt>
                <c:pt idx="6">
                  <c:v>1.6814343750000056</c:v>
                </c:pt>
                <c:pt idx="7">
                  <c:v>1.5738807189542463</c:v>
                </c:pt>
                <c:pt idx="8">
                  <c:v>2.868573493975905</c:v>
                </c:pt>
                <c:pt idx="9">
                  <c:v>1.818316666666668</c:v>
                </c:pt>
                <c:pt idx="10">
                  <c:v>2.1658222222222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1.25</c:v>
                </c:pt>
                <c:pt idx="1">
                  <c:v>Av Price/Unit 39.13</c:v>
                </c:pt>
                <c:pt idx="2">
                  <c:v>Av Price/Unit 25.23</c:v>
                </c:pt>
                <c:pt idx="3">
                  <c:v>Av Price/Unit 31.40</c:v>
                </c:pt>
                <c:pt idx="4">
                  <c:v>Av Price/Unit 47.23</c:v>
                </c:pt>
                <c:pt idx="5">
                  <c:v>Av Price/Unit 92.71</c:v>
                </c:pt>
                <c:pt idx="6">
                  <c:v>Av Price/Unit 37.36</c:v>
                </c:pt>
                <c:pt idx="7">
                  <c:v>Av Price/Unit 23.27</c:v>
                </c:pt>
                <c:pt idx="8">
                  <c:v>Av Price/Unit 24.94</c:v>
                </c:pt>
                <c:pt idx="9">
                  <c:v>Av Price/Unit 37.44</c:v>
                </c:pt>
                <c:pt idx="10">
                  <c:v>Av Price/Unit 24.84</c:v>
                </c:pt>
              </c:strCache>
            </c:strRef>
          </c:cat>
          <c:val>
            <c:numRef>
              <c:f>Sheet1!$E$2:$E$12</c:f>
              <c:numCache>
                <c:formatCode>General</c:formatCode>
                <c:ptCount val="11"/>
                <c:pt idx="0">
                  <c:v>3.5419864376497365</c:v>
                </c:pt>
                <c:pt idx="1">
                  <c:v>6.521786492374732</c:v>
                </c:pt>
                <c:pt idx="2">
                  <c:v>4.205345911949683</c:v>
                </c:pt>
                <c:pt idx="3">
                  <c:v>5.23415132924335</c:v>
                </c:pt>
                <c:pt idx="4">
                  <c:v>7.8716475095785405</c:v>
                </c:pt>
                <c:pt idx="5">
                  <c:v>15.45175438596491</c:v>
                </c:pt>
                <c:pt idx="6">
                  <c:v>6.2265624999999964</c:v>
                </c:pt>
                <c:pt idx="7">
                  <c:v>3.87908496732026</c:v>
                </c:pt>
                <c:pt idx="8">
                  <c:v>4.156626506024097</c:v>
                </c:pt>
                <c:pt idx="9">
                  <c:v>6.239583333333333</c:v>
                </c:pt>
                <c:pt idx="10">
                  <c:v>4.11944444444444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3</c:v>
                </c:pt>
                <c:pt idx="1">
                  <c:v>Av Price/Unit 38.88</c:v>
                </c:pt>
                <c:pt idx="2">
                  <c:v>Av Price/Unit 25.14</c:v>
                </c:pt>
                <c:pt idx="3">
                  <c:v>Av Price/Unit 32.09</c:v>
                </c:pt>
                <c:pt idx="4">
                  <c:v>Av Price/Unit 22.52</c:v>
                </c:pt>
                <c:pt idx="5">
                  <c:v>Av Price/Unit 47.23</c:v>
                </c:pt>
                <c:pt idx="6">
                  <c:v>Av Price/Unit 38.79</c:v>
                </c:pt>
                <c:pt idx="7">
                  <c:v>Av Price/Unit 36.57</c:v>
                </c:pt>
                <c:pt idx="8">
                  <c:v>Av Price/Unit 23.90</c:v>
                </c:pt>
                <c:pt idx="9">
                  <c:v>Av Price/Unit 48.95</c:v>
                </c:pt>
                <c:pt idx="10">
                  <c:v>Av Price/Unit 95.30</c:v>
                </c:pt>
                <c:pt idx="11">
                  <c:v>Av Price/Unit 34.35</c:v>
                </c:pt>
              </c:strCache>
            </c:strRef>
          </c:cat>
          <c:val>
            <c:numRef>
              <c:f>Sheet1!$B$2:$B$13</c:f>
              <c:numCache>
                <c:formatCode>General</c:formatCode>
                <c:ptCount val="12"/>
                <c:pt idx="0">
                  <c:v>3.5979885625966</c:v>
                </c:pt>
                <c:pt idx="1">
                  <c:v>13.272809197324415</c:v>
                </c:pt>
                <c:pt idx="2">
                  <c:v>5.337762603878116</c:v>
                </c:pt>
                <c:pt idx="3">
                  <c:v>11.74676119873817</c:v>
                </c:pt>
                <c:pt idx="4">
                  <c:v>9.324207692307692</c:v>
                </c:pt>
                <c:pt idx="5">
                  <c:v>10.69708347826087</c:v>
                </c:pt>
                <c:pt idx="6">
                  <c:v>14.262985714285714</c:v>
                </c:pt>
                <c:pt idx="7">
                  <c:v>13.111399999999998</c:v>
                </c:pt>
                <c:pt idx="8">
                  <c:v>9.270329599999998</c:v>
                </c:pt>
                <c:pt idx="9">
                  <c:v>17.406</c:v>
                </c:pt>
                <c:pt idx="10">
                  <c:v>32.54356666666666</c:v>
                </c:pt>
                <c:pt idx="11">
                  <c:v>11.76138333333333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3</c:v>
                </c:pt>
                <c:pt idx="1">
                  <c:v>Av Price/Unit 38.88</c:v>
                </c:pt>
                <c:pt idx="2">
                  <c:v>Av Price/Unit 25.14</c:v>
                </c:pt>
                <c:pt idx="3">
                  <c:v>Av Price/Unit 32.09</c:v>
                </c:pt>
                <c:pt idx="4">
                  <c:v>Av Price/Unit 22.52</c:v>
                </c:pt>
                <c:pt idx="5">
                  <c:v>Av Price/Unit 47.23</c:v>
                </c:pt>
                <c:pt idx="6">
                  <c:v>Av Price/Unit 38.79</c:v>
                </c:pt>
                <c:pt idx="7">
                  <c:v>Av Price/Unit 36.57</c:v>
                </c:pt>
                <c:pt idx="8">
                  <c:v>Av Price/Unit 23.90</c:v>
                </c:pt>
                <c:pt idx="9">
                  <c:v>Av Price/Unit 48.95</c:v>
                </c:pt>
                <c:pt idx="10">
                  <c:v>Av Price/Unit 95.30</c:v>
                </c:pt>
                <c:pt idx="11">
                  <c:v>Av Price/Unit 34.35</c:v>
                </c:pt>
              </c:strCache>
            </c:strRef>
          </c:cat>
          <c:val>
            <c:numRef>
              <c:f>Sheet1!$C$2:$C$13</c:f>
              <c:numCache>
                <c:formatCode>General</c:formatCode>
                <c:ptCount val="12"/>
                <c:pt idx="0">
                  <c:v>13.413333075734156</c:v>
                </c:pt>
                <c:pt idx="1">
                  <c:v>16.206</c:v>
                </c:pt>
                <c:pt idx="2">
                  <c:v>15.495537396121886</c:v>
                </c:pt>
                <c:pt idx="3">
                  <c:v>14.308229652996847</c:v>
                </c:pt>
                <c:pt idx="4">
                  <c:v>8.771215384615383</c:v>
                </c:pt>
                <c:pt idx="5">
                  <c:v>27.04931304347826</c:v>
                </c:pt>
                <c:pt idx="6">
                  <c:v>15.334999999999999</c:v>
                </c:pt>
                <c:pt idx="7">
                  <c:v>16.07242857142857</c:v>
                </c:pt>
                <c:pt idx="8">
                  <c:v>8.547004799999998</c:v>
                </c:pt>
                <c:pt idx="9">
                  <c:v>21.344000000000005</c:v>
                </c:pt>
                <c:pt idx="10">
                  <c:v>34.927</c:v>
                </c:pt>
                <c:pt idx="11">
                  <c:v>14.28127777777777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3</c:v>
                </c:pt>
                <c:pt idx="1">
                  <c:v>Av Price/Unit 38.88</c:v>
                </c:pt>
                <c:pt idx="2">
                  <c:v>Av Price/Unit 25.14</c:v>
                </c:pt>
                <c:pt idx="3">
                  <c:v>Av Price/Unit 32.09</c:v>
                </c:pt>
                <c:pt idx="4">
                  <c:v>Av Price/Unit 22.52</c:v>
                </c:pt>
                <c:pt idx="5">
                  <c:v>Av Price/Unit 47.23</c:v>
                </c:pt>
                <c:pt idx="6">
                  <c:v>Av Price/Unit 38.79</c:v>
                </c:pt>
                <c:pt idx="7">
                  <c:v>Av Price/Unit 36.57</c:v>
                </c:pt>
                <c:pt idx="8">
                  <c:v>Av Price/Unit 23.90</c:v>
                </c:pt>
                <c:pt idx="9">
                  <c:v>Av Price/Unit 48.95</c:v>
                </c:pt>
                <c:pt idx="10">
                  <c:v>Av Price/Unit 95.30</c:v>
                </c:pt>
                <c:pt idx="11">
                  <c:v>Av Price/Unit 34.35</c:v>
                </c:pt>
              </c:strCache>
            </c:strRef>
          </c:cat>
          <c:val>
            <c:numRef>
              <c:f>Sheet1!$D$2:$D$13</c:f>
              <c:numCache>
                <c:formatCode>General</c:formatCode>
                <c:ptCount val="12"/>
                <c:pt idx="0">
                  <c:v>0.7653112542217677</c:v>
                </c:pt>
                <c:pt idx="1">
                  <c:v>2.9194628205128197</c:v>
                </c:pt>
                <c:pt idx="2">
                  <c:v>0.11429926131117796</c:v>
                </c:pt>
                <c:pt idx="3">
                  <c:v>0.6879113564668771</c:v>
                </c:pt>
                <c:pt idx="4">
                  <c:v>0.6738076923076903</c:v>
                </c:pt>
                <c:pt idx="5">
                  <c:v>1.6159223188405676</c:v>
                </c:pt>
                <c:pt idx="6">
                  <c:v>2.7234428571428637</c:v>
                </c:pt>
                <c:pt idx="7">
                  <c:v>1.2923619047619006</c:v>
                </c:pt>
                <c:pt idx="8">
                  <c:v>2.1026080000000036</c:v>
                </c:pt>
                <c:pt idx="9">
                  <c:v>1.5015723270440304</c:v>
                </c:pt>
                <c:pt idx="10">
                  <c:v>11.946100000000015</c:v>
                </c:pt>
                <c:pt idx="11">
                  <c:v>2.580024074074067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3</c:v>
                </c:pt>
                <c:pt idx="1">
                  <c:v>Av Price/Unit 38.88</c:v>
                </c:pt>
                <c:pt idx="2">
                  <c:v>Av Price/Unit 25.14</c:v>
                </c:pt>
                <c:pt idx="3">
                  <c:v>Av Price/Unit 32.09</c:v>
                </c:pt>
                <c:pt idx="4">
                  <c:v>Av Price/Unit 22.52</c:v>
                </c:pt>
                <c:pt idx="5">
                  <c:v>Av Price/Unit 47.23</c:v>
                </c:pt>
                <c:pt idx="6">
                  <c:v>Av Price/Unit 38.79</c:v>
                </c:pt>
                <c:pt idx="7">
                  <c:v>Av Price/Unit 36.57</c:v>
                </c:pt>
                <c:pt idx="8">
                  <c:v>Av Price/Unit 23.90</c:v>
                </c:pt>
                <c:pt idx="9">
                  <c:v>Av Price/Unit 48.95</c:v>
                </c:pt>
                <c:pt idx="10">
                  <c:v>Av Price/Unit 95.30</c:v>
                </c:pt>
                <c:pt idx="11">
                  <c:v>Av Price/Unit 34.35</c:v>
                </c:pt>
              </c:strCache>
            </c:strRef>
          </c:cat>
          <c:val>
            <c:numRef>
              <c:f>Sheet1!$E$2:$E$13</c:f>
              <c:numCache>
                <c:formatCode>General</c:formatCode>
                <c:ptCount val="12"/>
                <c:pt idx="0">
                  <c:v>3.5553265785105026</c:v>
                </c:pt>
                <c:pt idx="1">
                  <c:v>6.479654403567445</c:v>
                </c:pt>
                <c:pt idx="2">
                  <c:v>4.189519852262233</c:v>
                </c:pt>
                <c:pt idx="3">
                  <c:v>5.348580441640379</c:v>
                </c:pt>
                <c:pt idx="4">
                  <c:v>3.753846153846154</c:v>
                </c:pt>
                <c:pt idx="5">
                  <c:v>7.8724637681159475</c:v>
                </c:pt>
                <c:pt idx="6">
                  <c:v>6.46428571428571</c:v>
                </c:pt>
                <c:pt idx="7">
                  <c:v>6.095238095238095</c:v>
                </c:pt>
                <c:pt idx="8">
                  <c:v>3.984</c:v>
                </c:pt>
                <c:pt idx="9">
                  <c:v>8.050314465408801</c:v>
                </c:pt>
                <c:pt idx="10">
                  <c:v>15.883333333333333</c:v>
                </c:pt>
                <c:pt idx="11">
                  <c:v>5.72453703703704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1</c:v>
                </c:pt>
                <c:pt idx="1">
                  <c:v>Av Price/Unit 38.81</c:v>
                </c:pt>
                <c:pt idx="2">
                  <c:v>Av Price/Unit 25.07</c:v>
                </c:pt>
                <c:pt idx="3">
                  <c:v>Av Price/Unit 31.98</c:v>
                </c:pt>
                <c:pt idx="4">
                  <c:v>Av Price/Unit 45.83</c:v>
                </c:pt>
                <c:pt idx="5">
                  <c:v>Av Price/Unit 22.49</c:v>
                </c:pt>
                <c:pt idx="6">
                  <c:v>Av Price/Unit 39.32</c:v>
                </c:pt>
                <c:pt idx="7">
                  <c:v>Av Price/Unit 91.93</c:v>
                </c:pt>
                <c:pt idx="8">
                  <c:v>Av Price/Unit 32.83</c:v>
                </c:pt>
                <c:pt idx="9">
                  <c:v>Av Price/Unit 24.40</c:v>
                </c:pt>
                <c:pt idx="10">
                  <c:v>Av Price/Unit 23.92</c:v>
                </c:pt>
                <c:pt idx="11">
                  <c:v>Av Price/Unit 108.65</c:v>
                </c:pt>
              </c:strCache>
            </c:strRef>
          </c:cat>
          <c:val>
            <c:numRef>
              <c:f>Sheet1!$B$2:$B$13</c:f>
              <c:numCache>
                <c:formatCode>General</c:formatCode>
                <c:ptCount val="12"/>
                <c:pt idx="0">
                  <c:v>3.616107404499053</c:v>
                </c:pt>
                <c:pt idx="1">
                  <c:v>13.33840909090909</c:v>
                </c:pt>
                <c:pt idx="2">
                  <c:v>5.3686472563472565</c:v>
                </c:pt>
                <c:pt idx="3">
                  <c:v>11.806070995670996</c:v>
                </c:pt>
                <c:pt idx="4">
                  <c:v>10.737373006134966</c:v>
                </c:pt>
                <c:pt idx="5">
                  <c:v>9.116143203883494</c:v>
                </c:pt>
                <c:pt idx="6">
                  <c:v>14.319385263157896</c:v>
                </c:pt>
                <c:pt idx="7">
                  <c:v>32.89324444444444</c:v>
                </c:pt>
                <c:pt idx="8">
                  <c:v>11.943612030075187</c:v>
                </c:pt>
                <c:pt idx="9">
                  <c:v>9.3734</c:v>
                </c:pt>
                <c:pt idx="10">
                  <c:v>9.414548066298343</c:v>
                </c:pt>
                <c:pt idx="11">
                  <c:v>36.5903764705882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1</c:v>
                </c:pt>
                <c:pt idx="1">
                  <c:v>Av Price/Unit 38.81</c:v>
                </c:pt>
                <c:pt idx="2">
                  <c:v>Av Price/Unit 25.07</c:v>
                </c:pt>
                <c:pt idx="3">
                  <c:v>Av Price/Unit 31.98</c:v>
                </c:pt>
                <c:pt idx="4">
                  <c:v>Av Price/Unit 45.83</c:v>
                </c:pt>
                <c:pt idx="5">
                  <c:v>Av Price/Unit 22.49</c:v>
                </c:pt>
                <c:pt idx="6">
                  <c:v>Av Price/Unit 39.32</c:v>
                </c:pt>
                <c:pt idx="7">
                  <c:v>Av Price/Unit 91.93</c:v>
                </c:pt>
                <c:pt idx="8">
                  <c:v>Av Price/Unit 32.83</c:v>
                </c:pt>
                <c:pt idx="9">
                  <c:v>Av Price/Unit 24.40</c:v>
                </c:pt>
                <c:pt idx="10">
                  <c:v>Av Price/Unit 23.92</c:v>
                </c:pt>
                <c:pt idx="11">
                  <c:v>Av Price/Unit 108.65</c:v>
                </c:pt>
              </c:strCache>
            </c:strRef>
          </c:cat>
          <c:val>
            <c:numRef>
              <c:f>Sheet1!$C$2:$C$13</c:f>
              <c:numCache>
                <c:formatCode>General</c:formatCode>
                <c:ptCount val="12"/>
                <c:pt idx="0">
                  <c:v>13.384754136449722</c:v>
                </c:pt>
                <c:pt idx="1">
                  <c:v>16.206</c:v>
                </c:pt>
                <c:pt idx="2">
                  <c:v>15.464652743652744</c:v>
                </c:pt>
                <c:pt idx="3">
                  <c:v>14.320600577200578</c:v>
                </c:pt>
                <c:pt idx="4">
                  <c:v>26.92623926380368</c:v>
                </c:pt>
                <c:pt idx="5">
                  <c:v>8.814354368932037</c:v>
                </c:pt>
                <c:pt idx="6">
                  <c:v>15.331642105263159</c:v>
                </c:pt>
                <c:pt idx="7">
                  <c:v>34.92699999999999</c:v>
                </c:pt>
                <c:pt idx="8">
                  <c:v>14.298975187969925</c:v>
                </c:pt>
                <c:pt idx="9">
                  <c:v>9.058</c:v>
                </c:pt>
                <c:pt idx="10">
                  <c:v>8.53584364640884</c:v>
                </c:pt>
                <c:pt idx="11">
                  <c:v>44.39000000000001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1</c:v>
                </c:pt>
                <c:pt idx="1">
                  <c:v>Av Price/Unit 38.81</c:v>
                </c:pt>
                <c:pt idx="2">
                  <c:v>Av Price/Unit 25.07</c:v>
                </c:pt>
                <c:pt idx="3">
                  <c:v>Av Price/Unit 31.98</c:v>
                </c:pt>
                <c:pt idx="4">
                  <c:v>Av Price/Unit 45.83</c:v>
                </c:pt>
                <c:pt idx="5">
                  <c:v>Av Price/Unit 22.49</c:v>
                </c:pt>
                <c:pt idx="6">
                  <c:v>Av Price/Unit 39.32</c:v>
                </c:pt>
                <c:pt idx="7">
                  <c:v>Av Price/Unit 91.93</c:v>
                </c:pt>
                <c:pt idx="8">
                  <c:v>Av Price/Unit 32.83</c:v>
                </c:pt>
                <c:pt idx="9">
                  <c:v>Av Price/Unit 24.40</c:v>
                </c:pt>
                <c:pt idx="10">
                  <c:v>Av Price/Unit 23.92</c:v>
                </c:pt>
                <c:pt idx="11">
                  <c:v>Av Price/Unit 108.65</c:v>
                </c:pt>
              </c:strCache>
            </c:strRef>
          </c:cat>
          <c:val>
            <c:numRef>
              <c:f>Sheet1!$D$2:$D$13</c:f>
              <c:numCache>
                <c:formatCode>General</c:formatCode>
                <c:ptCount val="12"/>
                <c:pt idx="0">
                  <c:v>0.6760519423529914</c:v>
                </c:pt>
                <c:pt idx="1">
                  <c:v>2.796423477196207</c:v>
                </c:pt>
                <c:pt idx="2">
                  <c:v>0.060775894075895565</c:v>
                </c:pt>
                <c:pt idx="3">
                  <c:v>0.5219575757575754</c:v>
                </c:pt>
                <c:pt idx="4">
                  <c:v>0.5291280163599268</c:v>
                </c:pt>
                <c:pt idx="5">
                  <c:v>0.8073665048543681</c:v>
                </c:pt>
                <c:pt idx="6">
                  <c:v>3.1165164912280687</c:v>
                </c:pt>
                <c:pt idx="7">
                  <c:v>8.788551851851864</c:v>
                </c:pt>
                <c:pt idx="8">
                  <c:v>1.113302506265665</c:v>
                </c:pt>
                <c:pt idx="9">
                  <c:v>1.9211641025641057</c:v>
                </c:pt>
                <c:pt idx="10">
                  <c:v>1.9851134438305706</c:v>
                </c:pt>
                <c:pt idx="11">
                  <c:v>9.55883921568630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1</c:v>
                </c:pt>
                <c:pt idx="1">
                  <c:v>Av Price/Unit 38.81</c:v>
                </c:pt>
                <c:pt idx="2">
                  <c:v>Av Price/Unit 25.07</c:v>
                </c:pt>
                <c:pt idx="3">
                  <c:v>Av Price/Unit 31.98</c:v>
                </c:pt>
                <c:pt idx="4">
                  <c:v>Av Price/Unit 45.83</c:v>
                </c:pt>
                <c:pt idx="5">
                  <c:v>Av Price/Unit 22.49</c:v>
                </c:pt>
                <c:pt idx="6">
                  <c:v>Av Price/Unit 39.32</c:v>
                </c:pt>
                <c:pt idx="7">
                  <c:v>Av Price/Unit 91.93</c:v>
                </c:pt>
                <c:pt idx="8">
                  <c:v>Av Price/Unit 32.83</c:v>
                </c:pt>
                <c:pt idx="9">
                  <c:v>Av Price/Unit 24.40</c:v>
                </c:pt>
                <c:pt idx="10">
                  <c:v>Av Price/Unit 23.92</c:v>
                </c:pt>
                <c:pt idx="11">
                  <c:v>Av Price/Unit 108.65</c:v>
                </c:pt>
              </c:strCache>
            </c:strRef>
          </c:cat>
          <c:val>
            <c:numRef>
              <c:f>Sheet1!$E$2:$E$13</c:f>
              <c:numCache>
                <c:formatCode>General</c:formatCode>
                <c:ptCount val="12"/>
                <c:pt idx="0">
                  <c:v>3.5353826966603537</c:v>
                </c:pt>
                <c:pt idx="1">
                  <c:v>6.468166513621054</c:v>
                </c:pt>
                <c:pt idx="2">
                  <c:v>4.178815178815175</c:v>
                </c:pt>
                <c:pt idx="3">
                  <c:v>5.32972582972583</c:v>
                </c:pt>
                <c:pt idx="4">
                  <c:v>7.638548057259712</c:v>
                </c:pt>
                <c:pt idx="5">
                  <c:v>3.7475728155339807</c:v>
                </c:pt>
                <c:pt idx="6">
                  <c:v>6.553508771929821</c:v>
                </c:pt>
                <c:pt idx="7">
                  <c:v>15.321759259259263</c:v>
                </c:pt>
                <c:pt idx="8">
                  <c:v>5.471177944862154</c:v>
                </c:pt>
                <c:pt idx="9">
                  <c:v>4.070512820512817</c:v>
                </c:pt>
                <c:pt idx="10">
                  <c:v>3.987108655616942</c:v>
                </c:pt>
                <c:pt idx="11">
                  <c:v>18.1078431372548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55</c:v>
                </c:pt>
                <c:pt idx="2">
                  <c:v>Av Price/Unit 25.02</c:v>
                </c:pt>
                <c:pt idx="3">
                  <c:v>Av Price/Unit 30.17</c:v>
                </c:pt>
                <c:pt idx="4">
                  <c:v>Av Price/Unit 22.24</c:v>
                </c:pt>
                <c:pt idx="5">
                  <c:v>Av Price/Unit 45.45</c:v>
                </c:pt>
                <c:pt idx="6">
                  <c:v>Av Price/Unit 37.23</c:v>
                </c:pt>
                <c:pt idx="7">
                  <c:v>Av Price/Unit 87.29</c:v>
                </c:pt>
                <c:pt idx="8">
                  <c:v>Av Price/Unit 23.01</c:v>
                </c:pt>
                <c:pt idx="9">
                  <c:v>Av Price/Unit 36.13</c:v>
                </c:pt>
                <c:pt idx="10">
                  <c:v>Av Price/Unit 32.02</c:v>
                </c:pt>
                <c:pt idx="11">
                  <c:v>Av Price/Unit 46.35</c:v>
                </c:pt>
              </c:strCache>
            </c:strRef>
          </c:cat>
          <c:val>
            <c:numRef>
              <c:f>Sheet1!$B$2:$B$13</c:f>
              <c:numCache>
                <c:formatCode>General</c:formatCode>
                <c:ptCount val="12"/>
                <c:pt idx="0">
                  <c:v>3.599331757082627</c:v>
                </c:pt>
                <c:pt idx="1">
                  <c:v>13.304264445399827</c:v>
                </c:pt>
                <c:pt idx="2">
                  <c:v>5.332121458983821</c:v>
                </c:pt>
                <c:pt idx="3">
                  <c:v>11.748371183533449</c:v>
                </c:pt>
                <c:pt idx="4">
                  <c:v>9.25948137059215</c:v>
                </c:pt>
                <c:pt idx="5">
                  <c:v>10.708149462365592</c:v>
                </c:pt>
                <c:pt idx="6">
                  <c:v>14.223794805194805</c:v>
                </c:pt>
                <c:pt idx="7">
                  <c:v>32.502628780487804</c:v>
                </c:pt>
                <c:pt idx="8">
                  <c:v>9.299364577656677</c:v>
                </c:pt>
                <c:pt idx="9">
                  <c:v>12.933075471698114</c:v>
                </c:pt>
                <c:pt idx="10">
                  <c:v>12.045812987012987</c:v>
                </c:pt>
                <c:pt idx="11">
                  <c:v>17.40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55</c:v>
                </c:pt>
                <c:pt idx="2">
                  <c:v>Av Price/Unit 25.02</c:v>
                </c:pt>
                <c:pt idx="3">
                  <c:v>Av Price/Unit 30.17</c:v>
                </c:pt>
                <c:pt idx="4">
                  <c:v>Av Price/Unit 22.24</c:v>
                </c:pt>
                <c:pt idx="5">
                  <c:v>Av Price/Unit 45.45</c:v>
                </c:pt>
                <c:pt idx="6">
                  <c:v>Av Price/Unit 37.23</c:v>
                </c:pt>
                <c:pt idx="7">
                  <c:v>Av Price/Unit 87.29</c:v>
                </c:pt>
                <c:pt idx="8">
                  <c:v>Av Price/Unit 23.01</c:v>
                </c:pt>
                <c:pt idx="9">
                  <c:v>Av Price/Unit 36.13</c:v>
                </c:pt>
                <c:pt idx="10">
                  <c:v>Av Price/Unit 32.02</c:v>
                </c:pt>
                <c:pt idx="11">
                  <c:v>Av Price/Unit 46.35</c:v>
                </c:pt>
              </c:strCache>
            </c:strRef>
          </c:cat>
          <c:val>
            <c:numRef>
              <c:f>Sheet1!$C$2:$C$13</c:f>
              <c:numCache>
                <c:formatCode>General</c:formatCode>
                <c:ptCount val="12"/>
                <c:pt idx="0">
                  <c:v>13.411214448403008</c:v>
                </c:pt>
                <c:pt idx="1">
                  <c:v>16.206</c:v>
                </c:pt>
                <c:pt idx="2">
                  <c:v>15.50117854101618</c:v>
                </c:pt>
                <c:pt idx="3">
                  <c:v>14.30856546598056</c:v>
                </c:pt>
                <c:pt idx="4">
                  <c:v>8.784635395874917</c:v>
                </c:pt>
                <c:pt idx="5">
                  <c:v>27.01550940860215</c:v>
                </c:pt>
                <c:pt idx="6">
                  <c:v>15.337333333333332</c:v>
                </c:pt>
                <c:pt idx="7">
                  <c:v>34.92700000000001</c:v>
                </c:pt>
                <c:pt idx="8">
                  <c:v>8.544757765667576</c:v>
                </c:pt>
                <c:pt idx="9">
                  <c:v>16.08545552560647</c:v>
                </c:pt>
                <c:pt idx="10">
                  <c:v>14.291026623376624</c:v>
                </c:pt>
                <c:pt idx="11">
                  <c:v>21.34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55</c:v>
                </c:pt>
                <c:pt idx="2">
                  <c:v>Av Price/Unit 25.02</c:v>
                </c:pt>
                <c:pt idx="3">
                  <c:v>Av Price/Unit 30.17</c:v>
                </c:pt>
                <c:pt idx="4">
                  <c:v>Av Price/Unit 22.24</c:v>
                </c:pt>
                <c:pt idx="5">
                  <c:v>Av Price/Unit 45.45</c:v>
                </c:pt>
                <c:pt idx="6">
                  <c:v>Av Price/Unit 37.23</c:v>
                </c:pt>
                <c:pt idx="7">
                  <c:v>Av Price/Unit 87.29</c:v>
                </c:pt>
                <c:pt idx="8">
                  <c:v>Av Price/Unit 23.01</c:v>
                </c:pt>
                <c:pt idx="9">
                  <c:v>Av Price/Unit 36.13</c:v>
                </c:pt>
                <c:pt idx="10">
                  <c:v>Av Price/Unit 32.02</c:v>
                </c:pt>
                <c:pt idx="11">
                  <c:v>Av Price/Unit 46.35</c:v>
                </c:pt>
              </c:strCache>
            </c:strRef>
          </c:cat>
          <c:val>
            <c:numRef>
              <c:f>Sheet1!$D$2:$D$13</c:f>
              <c:numCache>
                <c:formatCode>General</c:formatCode>
                <c:ptCount val="12"/>
                <c:pt idx="0">
                  <c:v>0.7539729848935082</c:v>
                </c:pt>
                <c:pt idx="1">
                  <c:v>2.614628073946694</c:v>
                </c:pt>
                <c:pt idx="2">
                  <c:v>0.017064272873501096</c:v>
                </c:pt>
                <c:pt idx="3">
                  <c:v>-0.919238917476644</c:v>
                </c:pt>
                <c:pt idx="4">
                  <c:v>0.48576790862718866</c:v>
                </c:pt>
                <c:pt idx="5">
                  <c:v>0.1541786439665458</c:v>
                </c:pt>
                <c:pt idx="6">
                  <c:v>1.4597953823953915</c:v>
                </c:pt>
                <c:pt idx="7">
                  <c:v>5.312241138211391</c:v>
                </c:pt>
                <c:pt idx="8">
                  <c:v>1.329302633969121</c:v>
                </c:pt>
                <c:pt idx="9">
                  <c:v>1.0904088050314478</c:v>
                </c:pt>
                <c:pt idx="10">
                  <c:v>0.35038982683982667</c:v>
                </c:pt>
                <c:pt idx="11">
                  <c:v>-0.1429063360881457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55</c:v>
                </c:pt>
                <c:pt idx="2">
                  <c:v>Av Price/Unit 25.02</c:v>
                </c:pt>
                <c:pt idx="3">
                  <c:v>Av Price/Unit 30.17</c:v>
                </c:pt>
                <c:pt idx="4">
                  <c:v>Av Price/Unit 22.24</c:v>
                </c:pt>
                <c:pt idx="5">
                  <c:v>Av Price/Unit 45.45</c:v>
                </c:pt>
                <c:pt idx="6">
                  <c:v>Av Price/Unit 37.23</c:v>
                </c:pt>
                <c:pt idx="7">
                  <c:v>Av Price/Unit 87.29</c:v>
                </c:pt>
                <c:pt idx="8">
                  <c:v>Av Price/Unit 23.01</c:v>
                </c:pt>
                <c:pt idx="9">
                  <c:v>Av Price/Unit 36.13</c:v>
                </c:pt>
                <c:pt idx="10">
                  <c:v>Av Price/Unit 32.02</c:v>
                </c:pt>
                <c:pt idx="11">
                  <c:v>Av Price/Unit 46.35</c:v>
                </c:pt>
              </c:strCache>
            </c:strRef>
          </c:cat>
          <c:val>
            <c:numRef>
              <c:f>Sheet1!$E$2:$E$13</c:f>
              <c:numCache>
                <c:formatCode>General</c:formatCode>
                <c:ptCount val="12"/>
                <c:pt idx="0">
                  <c:v>3.552903838075828</c:v>
                </c:pt>
                <c:pt idx="1">
                  <c:v>6.4249785038692995</c:v>
                </c:pt>
                <c:pt idx="2">
                  <c:v>4.170072854574697</c:v>
                </c:pt>
                <c:pt idx="3">
                  <c:v>5.027539546407465</c:v>
                </c:pt>
                <c:pt idx="4">
                  <c:v>3.7059769350188505</c:v>
                </c:pt>
                <c:pt idx="5">
                  <c:v>7.575567502986853</c:v>
                </c:pt>
                <c:pt idx="6">
                  <c:v>6.2041847041847</c:v>
                </c:pt>
                <c:pt idx="7">
                  <c:v>14.548373983739834</c:v>
                </c:pt>
                <c:pt idx="8">
                  <c:v>3.834695731153496</c:v>
                </c:pt>
                <c:pt idx="9">
                  <c:v>6.021787960467202</c:v>
                </c:pt>
                <c:pt idx="10">
                  <c:v>5.337445887445885</c:v>
                </c:pt>
                <c:pt idx="11">
                  <c:v>7.721418732782364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63</c:v>
                </c:pt>
                <c:pt idx="2">
                  <c:v>Av Price/Unit 25.02</c:v>
                </c:pt>
                <c:pt idx="3">
                  <c:v>Av Price/Unit 30.46</c:v>
                </c:pt>
                <c:pt idx="4">
                  <c:v>Av Price/Unit 22.26</c:v>
                </c:pt>
                <c:pt idx="5">
                  <c:v>Av Price/Unit 45.43</c:v>
                </c:pt>
                <c:pt idx="6">
                  <c:v>Av Price/Unit 37.22</c:v>
                </c:pt>
                <c:pt idx="7">
                  <c:v>Av Price/Unit 88.06</c:v>
                </c:pt>
                <c:pt idx="8">
                  <c:v>Av Price/Unit 23.05</c:v>
                </c:pt>
                <c:pt idx="9">
                  <c:v>Av Price/Unit 36.22</c:v>
                </c:pt>
                <c:pt idx="10">
                  <c:v>Av Price/Unit 46.50</c:v>
                </c:pt>
                <c:pt idx="11">
                  <c:v>Av Price/Unit 31.85</c:v>
                </c:pt>
              </c:strCache>
            </c:strRef>
          </c:cat>
          <c:val>
            <c:numRef>
              <c:f>Sheet1!$B$2:$B$13</c:f>
              <c:numCache>
                <c:formatCode>General</c:formatCode>
                <c:ptCount val="12"/>
                <c:pt idx="0">
                  <c:v>3.601073810785041</c:v>
                </c:pt>
                <c:pt idx="1">
                  <c:v>13.309109734513275</c:v>
                </c:pt>
                <c:pt idx="2">
                  <c:v>5.332938765588671</c:v>
                </c:pt>
                <c:pt idx="3">
                  <c:v>11.762839824224114</c:v>
                </c:pt>
                <c:pt idx="4">
                  <c:v>9.208748546511629</c:v>
                </c:pt>
                <c:pt idx="5">
                  <c:v>10.719486411149827</c:v>
                </c:pt>
                <c:pt idx="6">
                  <c:v>14.241815625000001</c:v>
                </c:pt>
                <c:pt idx="7">
                  <c:v>32.50739310344828</c:v>
                </c:pt>
                <c:pt idx="8">
                  <c:v>9.31701314741036</c:v>
                </c:pt>
                <c:pt idx="9">
                  <c:v>12.9185652173913</c:v>
                </c:pt>
                <c:pt idx="10">
                  <c:v>17.406</c:v>
                </c:pt>
                <c:pt idx="11">
                  <c:v>12.08966265060240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63</c:v>
                </c:pt>
                <c:pt idx="2">
                  <c:v>Av Price/Unit 25.02</c:v>
                </c:pt>
                <c:pt idx="3">
                  <c:v>Av Price/Unit 30.46</c:v>
                </c:pt>
                <c:pt idx="4">
                  <c:v>Av Price/Unit 22.26</c:v>
                </c:pt>
                <c:pt idx="5">
                  <c:v>Av Price/Unit 45.43</c:v>
                </c:pt>
                <c:pt idx="6">
                  <c:v>Av Price/Unit 37.22</c:v>
                </c:pt>
                <c:pt idx="7">
                  <c:v>Av Price/Unit 88.06</c:v>
                </c:pt>
                <c:pt idx="8">
                  <c:v>Av Price/Unit 23.05</c:v>
                </c:pt>
                <c:pt idx="9">
                  <c:v>Av Price/Unit 36.22</c:v>
                </c:pt>
                <c:pt idx="10">
                  <c:v>Av Price/Unit 46.50</c:v>
                </c:pt>
                <c:pt idx="11">
                  <c:v>Av Price/Unit 31.85</c:v>
                </c:pt>
              </c:strCache>
            </c:strRef>
          </c:cat>
          <c:val>
            <c:numRef>
              <c:f>Sheet1!$C$2:$C$13</c:f>
              <c:numCache>
                <c:formatCode>General</c:formatCode>
                <c:ptCount val="12"/>
                <c:pt idx="0">
                  <c:v>13.408466698449693</c:v>
                </c:pt>
                <c:pt idx="1">
                  <c:v>16.205999999999996</c:v>
                </c:pt>
                <c:pt idx="2">
                  <c:v>15.50036123441133</c:v>
                </c:pt>
                <c:pt idx="3">
                  <c:v>14.311583356220819</c:v>
                </c:pt>
                <c:pt idx="4">
                  <c:v>8.79515406976744</c:v>
                </c:pt>
                <c:pt idx="5">
                  <c:v>26.98087804878049</c:v>
                </c:pt>
                <c:pt idx="6">
                  <c:v>15.336260416666667</c:v>
                </c:pt>
                <c:pt idx="7">
                  <c:v>34.927</c:v>
                </c:pt>
                <c:pt idx="8">
                  <c:v>8.543391932270916</c:v>
                </c:pt>
                <c:pt idx="9">
                  <c:v>16.08651552795031</c:v>
                </c:pt>
                <c:pt idx="10">
                  <c:v>21.344</c:v>
                </c:pt>
                <c:pt idx="11">
                  <c:v>14.2876162650602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63</c:v>
                </c:pt>
                <c:pt idx="2">
                  <c:v>Av Price/Unit 25.02</c:v>
                </c:pt>
                <c:pt idx="3">
                  <c:v>Av Price/Unit 30.46</c:v>
                </c:pt>
                <c:pt idx="4">
                  <c:v>Av Price/Unit 22.26</c:v>
                </c:pt>
                <c:pt idx="5">
                  <c:v>Av Price/Unit 45.43</c:v>
                </c:pt>
                <c:pt idx="6">
                  <c:v>Av Price/Unit 37.22</c:v>
                </c:pt>
                <c:pt idx="7">
                  <c:v>Av Price/Unit 88.06</c:v>
                </c:pt>
                <c:pt idx="8">
                  <c:v>Av Price/Unit 23.05</c:v>
                </c:pt>
                <c:pt idx="9">
                  <c:v>Av Price/Unit 36.22</c:v>
                </c:pt>
                <c:pt idx="10">
                  <c:v>Av Price/Unit 46.50</c:v>
                </c:pt>
                <c:pt idx="11">
                  <c:v>Av Price/Unit 31.85</c:v>
                </c:pt>
              </c:strCache>
            </c:strRef>
          </c:cat>
          <c:val>
            <c:numRef>
              <c:f>Sheet1!$D$2:$D$13</c:f>
              <c:numCache>
                <c:formatCode>General</c:formatCode>
                <c:ptCount val="12"/>
                <c:pt idx="0">
                  <c:v>0.758555216536589</c:v>
                </c:pt>
                <c:pt idx="1">
                  <c:v>2.676101217759623</c:v>
                </c:pt>
                <c:pt idx="2">
                  <c:v>0.014124786866762662</c:v>
                </c:pt>
                <c:pt idx="3">
                  <c:v>-0.694948677103362</c:v>
                </c:pt>
                <c:pt idx="4">
                  <c:v>0.5450314922480572</c:v>
                </c:pt>
                <c:pt idx="5">
                  <c:v>0.15968199767712576</c:v>
                </c:pt>
                <c:pt idx="6">
                  <c:v>1.4418892361111162</c:v>
                </c:pt>
                <c:pt idx="7">
                  <c:v>5.947790804597702</c:v>
                </c:pt>
                <c:pt idx="8">
                  <c:v>1.3443909030544532</c:v>
                </c:pt>
                <c:pt idx="9">
                  <c:v>1.1812546583850896</c:v>
                </c:pt>
                <c:pt idx="10">
                  <c:v>-0.10148042024832904</c:v>
                </c:pt>
                <c:pt idx="11">
                  <c:v>0.163885742971885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63</c:v>
                </c:pt>
                <c:pt idx="2">
                  <c:v>Av Price/Unit 25.02</c:v>
                </c:pt>
                <c:pt idx="3">
                  <c:v>Av Price/Unit 30.46</c:v>
                </c:pt>
                <c:pt idx="4">
                  <c:v>Av Price/Unit 22.26</c:v>
                </c:pt>
                <c:pt idx="5">
                  <c:v>Av Price/Unit 45.43</c:v>
                </c:pt>
                <c:pt idx="6">
                  <c:v>Av Price/Unit 37.22</c:v>
                </c:pt>
                <c:pt idx="7">
                  <c:v>Av Price/Unit 88.06</c:v>
                </c:pt>
                <c:pt idx="8">
                  <c:v>Av Price/Unit 23.05</c:v>
                </c:pt>
                <c:pt idx="9">
                  <c:v>Av Price/Unit 36.22</c:v>
                </c:pt>
                <c:pt idx="10">
                  <c:v>Av Price/Unit 46.50</c:v>
                </c:pt>
                <c:pt idx="11">
                  <c:v>Av Price/Unit 31.85</c:v>
                </c:pt>
              </c:strCache>
            </c:strRef>
          </c:cat>
          <c:val>
            <c:numRef>
              <c:f>Sheet1!$E$2:$E$13</c:f>
              <c:numCache>
                <c:formatCode>General</c:formatCode>
                <c:ptCount val="12"/>
                <c:pt idx="0">
                  <c:v>3.5536191451542654</c:v>
                </c:pt>
                <c:pt idx="1">
                  <c:v>6.438242190454582</c:v>
                </c:pt>
                <c:pt idx="2">
                  <c:v>4.169484957373352</c:v>
                </c:pt>
                <c:pt idx="3">
                  <c:v>5.075894900668313</c:v>
                </c:pt>
                <c:pt idx="4">
                  <c:v>3.709786821705426</c:v>
                </c:pt>
                <c:pt idx="5">
                  <c:v>7.572009291521482</c:v>
                </c:pt>
                <c:pt idx="6">
                  <c:v>6.203993055555553</c:v>
                </c:pt>
                <c:pt idx="7">
                  <c:v>14.676436781609187</c:v>
                </c:pt>
                <c:pt idx="8">
                  <c:v>3.8409694555112868</c:v>
                </c:pt>
                <c:pt idx="9">
                  <c:v>6.037267080745342</c:v>
                </c:pt>
                <c:pt idx="10">
                  <c:v>7.729703915950332</c:v>
                </c:pt>
                <c:pt idx="11">
                  <c:v>5.308232931726907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0</c:v>
                </c:pt>
                <c:pt idx="1">
                  <c:v>Av Price/Unit 38.63</c:v>
                </c:pt>
                <c:pt idx="2">
                  <c:v>Av Price/Unit 24.83</c:v>
                </c:pt>
                <c:pt idx="3">
                  <c:v>Av Price/Unit 29.64</c:v>
                </c:pt>
                <c:pt idx="4">
                  <c:v>Av Price/Unit 45.24</c:v>
                </c:pt>
                <c:pt idx="5">
                  <c:v>Av Price/Unit 22.28</c:v>
                </c:pt>
                <c:pt idx="6">
                  <c:v>Av Price/Unit 31.12</c:v>
                </c:pt>
                <c:pt idx="7">
                  <c:v>Av Price/Unit 36.79</c:v>
                </c:pt>
                <c:pt idx="8">
                  <c:v>Av Price/Unit 89.37</c:v>
                </c:pt>
                <c:pt idx="9">
                  <c:v>Av Price/Unit 36.47</c:v>
                </c:pt>
                <c:pt idx="10">
                  <c:v>Av Price/Unit 23.29</c:v>
                </c:pt>
                <c:pt idx="11">
                  <c:v>Av Price/Unit 24.25</c:v>
                </c:pt>
              </c:strCache>
            </c:strRef>
          </c:cat>
          <c:val>
            <c:numRef>
              <c:f>Sheet1!$B$2:$B$13</c:f>
              <c:numCache>
                <c:formatCode>General</c:formatCode>
                <c:ptCount val="12"/>
                <c:pt idx="0">
                  <c:v>3.6054031585779196</c:v>
                </c:pt>
                <c:pt idx="1">
                  <c:v>13.317240000000002</c:v>
                </c:pt>
                <c:pt idx="2">
                  <c:v>5.343593413173653</c:v>
                </c:pt>
                <c:pt idx="3">
                  <c:v>11.740262325581394</c:v>
                </c:pt>
                <c:pt idx="4">
                  <c:v>10.715112500000002</c:v>
                </c:pt>
                <c:pt idx="5">
                  <c:v>9.177394206549119</c:v>
                </c:pt>
                <c:pt idx="6">
                  <c:v>12.083528388746803</c:v>
                </c:pt>
                <c:pt idx="7">
                  <c:v>14.03298192419825</c:v>
                </c:pt>
                <c:pt idx="8">
                  <c:v>32.528791549295775</c:v>
                </c:pt>
                <c:pt idx="9">
                  <c:v>13.165323404255318</c:v>
                </c:pt>
                <c:pt idx="10">
                  <c:v>9.352741685649203</c:v>
                </c:pt>
                <c:pt idx="11">
                  <c:v>9.3733999999999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0</c:v>
                </c:pt>
                <c:pt idx="1">
                  <c:v>Av Price/Unit 38.63</c:v>
                </c:pt>
                <c:pt idx="2">
                  <c:v>Av Price/Unit 24.83</c:v>
                </c:pt>
                <c:pt idx="3">
                  <c:v>Av Price/Unit 29.64</c:v>
                </c:pt>
                <c:pt idx="4">
                  <c:v>Av Price/Unit 45.24</c:v>
                </c:pt>
                <c:pt idx="5">
                  <c:v>Av Price/Unit 22.28</c:v>
                </c:pt>
                <c:pt idx="6">
                  <c:v>Av Price/Unit 31.12</c:v>
                </c:pt>
                <c:pt idx="7">
                  <c:v>Av Price/Unit 36.79</c:v>
                </c:pt>
                <c:pt idx="8">
                  <c:v>Av Price/Unit 89.37</c:v>
                </c:pt>
                <c:pt idx="9">
                  <c:v>Av Price/Unit 36.47</c:v>
                </c:pt>
                <c:pt idx="10">
                  <c:v>Av Price/Unit 23.29</c:v>
                </c:pt>
                <c:pt idx="11">
                  <c:v>Av Price/Unit 24.25</c:v>
                </c:pt>
              </c:strCache>
            </c:strRef>
          </c:cat>
          <c:val>
            <c:numRef>
              <c:f>Sheet1!$C$2:$C$13</c:f>
              <c:numCache>
                <c:formatCode>General</c:formatCode>
                <c:ptCount val="12"/>
                <c:pt idx="0">
                  <c:v>13.401637996682771</c:v>
                </c:pt>
                <c:pt idx="1">
                  <c:v>16.205999999999996</c:v>
                </c:pt>
                <c:pt idx="2">
                  <c:v>15.489706586826347</c:v>
                </c:pt>
                <c:pt idx="3">
                  <c:v>14.306874108527131</c:v>
                </c:pt>
                <c:pt idx="4">
                  <c:v>26.994239182692304</c:v>
                </c:pt>
                <c:pt idx="5">
                  <c:v>8.80165491183879</c:v>
                </c:pt>
                <c:pt idx="6">
                  <c:v>14.288093350383633</c:v>
                </c:pt>
                <c:pt idx="7">
                  <c:v>15.348693877551023</c:v>
                </c:pt>
                <c:pt idx="8">
                  <c:v>34.927</c:v>
                </c:pt>
                <c:pt idx="9">
                  <c:v>16.068489361702127</c:v>
                </c:pt>
                <c:pt idx="10">
                  <c:v>8.54062687927107</c:v>
                </c:pt>
                <c:pt idx="11">
                  <c:v>9.05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0</c:v>
                </c:pt>
                <c:pt idx="1">
                  <c:v>Av Price/Unit 38.63</c:v>
                </c:pt>
                <c:pt idx="2">
                  <c:v>Av Price/Unit 24.83</c:v>
                </c:pt>
                <c:pt idx="3">
                  <c:v>Av Price/Unit 29.64</c:v>
                </c:pt>
                <c:pt idx="4">
                  <c:v>Av Price/Unit 45.24</c:v>
                </c:pt>
                <c:pt idx="5">
                  <c:v>Av Price/Unit 22.28</c:v>
                </c:pt>
                <c:pt idx="6">
                  <c:v>Av Price/Unit 31.12</c:v>
                </c:pt>
                <c:pt idx="7">
                  <c:v>Av Price/Unit 36.79</c:v>
                </c:pt>
                <c:pt idx="8">
                  <c:v>Av Price/Unit 89.37</c:v>
                </c:pt>
                <c:pt idx="9">
                  <c:v>Av Price/Unit 36.47</c:v>
                </c:pt>
                <c:pt idx="10">
                  <c:v>Av Price/Unit 23.29</c:v>
                </c:pt>
                <c:pt idx="11">
                  <c:v>Av Price/Unit 24.25</c:v>
                </c:pt>
              </c:strCache>
            </c:strRef>
          </c:cat>
          <c:val>
            <c:numRef>
              <c:f>Sheet1!$D$2:$D$13</c:f>
              <c:numCache>
                <c:formatCode>General</c:formatCode>
                <c:ptCount val="12"/>
                <c:pt idx="0">
                  <c:v>0.6632672507872357</c:v>
                </c:pt>
                <c:pt idx="1">
                  <c:v>2.6677674374577514</c:v>
                </c:pt>
                <c:pt idx="2">
                  <c:v>-0.14405349301397052</c:v>
                </c:pt>
                <c:pt idx="3">
                  <c:v>-1.343432730404821</c:v>
                </c:pt>
                <c:pt idx="4">
                  <c:v>-0.013037580128205661</c:v>
                </c:pt>
                <c:pt idx="5">
                  <c:v>0.590430310663308</c:v>
                </c:pt>
                <c:pt idx="6">
                  <c:v>-0.4423804774083493</c:v>
                </c:pt>
                <c:pt idx="7">
                  <c:v>1.276730417881435</c:v>
                </c:pt>
                <c:pt idx="8">
                  <c:v>7.016039436619721</c:v>
                </c:pt>
                <c:pt idx="9">
                  <c:v>1.1592132387706897</c:v>
                </c:pt>
                <c:pt idx="10">
                  <c:v>1.5143298405466972</c:v>
                </c:pt>
                <c:pt idx="11">
                  <c:v>1.75970275689223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0</c:v>
                </c:pt>
                <c:pt idx="1">
                  <c:v>Av Price/Unit 38.63</c:v>
                </c:pt>
                <c:pt idx="2">
                  <c:v>Av Price/Unit 24.83</c:v>
                </c:pt>
                <c:pt idx="3">
                  <c:v>Av Price/Unit 29.64</c:v>
                </c:pt>
                <c:pt idx="4">
                  <c:v>Av Price/Unit 45.24</c:v>
                </c:pt>
                <c:pt idx="5">
                  <c:v>Av Price/Unit 22.28</c:v>
                </c:pt>
                <c:pt idx="6">
                  <c:v>Av Price/Unit 31.12</c:v>
                </c:pt>
                <c:pt idx="7">
                  <c:v>Av Price/Unit 36.79</c:v>
                </c:pt>
                <c:pt idx="8">
                  <c:v>Av Price/Unit 89.37</c:v>
                </c:pt>
                <c:pt idx="9">
                  <c:v>Av Price/Unit 36.47</c:v>
                </c:pt>
                <c:pt idx="10">
                  <c:v>Av Price/Unit 23.29</c:v>
                </c:pt>
                <c:pt idx="11">
                  <c:v>Av Price/Unit 24.25</c:v>
                </c:pt>
              </c:strCache>
            </c:strRef>
          </c:cat>
          <c:val>
            <c:numRef>
              <c:f>Sheet1!$E$2:$E$13</c:f>
              <c:numCache>
                <c:formatCode>General</c:formatCode>
                <c:ptCount val="12"/>
                <c:pt idx="0">
                  <c:v>3.5340616812095864</c:v>
                </c:pt>
                <c:pt idx="1">
                  <c:v>6.438201487491544</c:v>
                </c:pt>
                <c:pt idx="2">
                  <c:v>4.137849301397204</c:v>
                </c:pt>
                <c:pt idx="3">
                  <c:v>4.940740740740738</c:v>
                </c:pt>
                <c:pt idx="4">
                  <c:v>7.539262820512818</c:v>
                </c:pt>
                <c:pt idx="5">
                  <c:v>3.713895885810242</c:v>
                </c:pt>
                <c:pt idx="6">
                  <c:v>5.185848252344415</c:v>
                </c:pt>
                <c:pt idx="7">
                  <c:v>6.131681243926145</c:v>
                </c:pt>
                <c:pt idx="8">
                  <c:v>14.894366197183086</c:v>
                </c:pt>
                <c:pt idx="9">
                  <c:v>6.078605200945624</c:v>
                </c:pt>
                <c:pt idx="10">
                  <c:v>3.8815489749430525</c:v>
                </c:pt>
                <c:pt idx="11">
                  <c:v>4.03822055137844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21.11</c:v>
                </c:pt>
                <c:pt idx="1">
                  <c:v>Av Price/Unit 25.15</c:v>
                </c:pt>
                <c:pt idx="2">
                  <c:v>Av Price/Unit 30.75</c:v>
                </c:pt>
                <c:pt idx="3">
                  <c:v>Av Price/Unit 39.25</c:v>
                </c:pt>
                <c:pt idx="4">
                  <c:v>Av Price/Unit 23.20</c:v>
                </c:pt>
                <c:pt idx="5">
                  <c:v>Av Price/Unit 47.69</c:v>
                </c:pt>
                <c:pt idx="6">
                  <c:v>Av Price/Unit 37.60</c:v>
                </c:pt>
                <c:pt idx="7">
                  <c:v>Av Price/Unit 33.82</c:v>
                </c:pt>
                <c:pt idx="8">
                  <c:v>Av Price/Unit 91.31</c:v>
                </c:pt>
              </c:strCache>
            </c:strRef>
          </c:cat>
          <c:val>
            <c:numRef>
              <c:f>Sheet1!$B$2:$B$10</c:f>
              <c:numCache>
                <c:formatCode>General</c:formatCode>
                <c:ptCount val="9"/>
                <c:pt idx="0">
                  <c:v>3.6190399051403666</c:v>
                </c:pt>
                <c:pt idx="1">
                  <c:v>5.35227091722595</c:v>
                </c:pt>
                <c:pt idx="2">
                  <c:v>11.741148554913295</c:v>
                </c:pt>
                <c:pt idx="3">
                  <c:v>13.331232</c:v>
                </c:pt>
                <c:pt idx="4">
                  <c:v>9.053024844720497</c:v>
                </c:pt>
                <c:pt idx="5">
                  <c:v>10.759057142857142</c:v>
                </c:pt>
                <c:pt idx="6">
                  <c:v>14.115179999999999</c:v>
                </c:pt>
                <c:pt idx="7">
                  <c:v>12.09955294117647</c:v>
                </c:pt>
                <c:pt idx="8">
                  <c:v>32.805824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21.11</c:v>
                </c:pt>
                <c:pt idx="1">
                  <c:v>Av Price/Unit 25.15</c:v>
                </c:pt>
                <c:pt idx="2">
                  <c:v>Av Price/Unit 30.75</c:v>
                </c:pt>
                <c:pt idx="3">
                  <c:v>Av Price/Unit 39.25</c:v>
                </c:pt>
                <c:pt idx="4">
                  <c:v>Av Price/Unit 23.20</c:v>
                </c:pt>
                <c:pt idx="5">
                  <c:v>Av Price/Unit 47.69</c:v>
                </c:pt>
                <c:pt idx="6">
                  <c:v>Av Price/Unit 37.60</c:v>
                </c:pt>
                <c:pt idx="7">
                  <c:v>Av Price/Unit 33.82</c:v>
                </c:pt>
                <c:pt idx="8">
                  <c:v>Av Price/Unit 91.31</c:v>
                </c:pt>
              </c:strCache>
            </c:strRef>
          </c:cat>
          <c:val>
            <c:numRef>
              <c:f>Sheet1!$C$2:$C$10</c:f>
              <c:numCache>
                <c:formatCode>General</c:formatCode>
                <c:ptCount val="9"/>
                <c:pt idx="0">
                  <c:v>13.380128688629663</c:v>
                </c:pt>
                <c:pt idx="1">
                  <c:v>15.48102908277405</c:v>
                </c:pt>
                <c:pt idx="2">
                  <c:v>14.307058959537573</c:v>
                </c:pt>
                <c:pt idx="3">
                  <c:v>16.205999999999996</c:v>
                </c:pt>
                <c:pt idx="4">
                  <c:v>8.82744099378882</c:v>
                </c:pt>
                <c:pt idx="5">
                  <c:v>26.859999999999996</c:v>
                </c:pt>
                <c:pt idx="6">
                  <c:v>15.343800000000002</c:v>
                </c:pt>
                <c:pt idx="7">
                  <c:v>14.28684705882353</c:v>
                </c:pt>
                <c:pt idx="8">
                  <c:v>34.927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21.11</c:v>
                </c:pt>
                <c:pt idx="1">
                  <c:v>Av Price/Unit 25.15</c:v>
                </c:pt>
                <c:pt idx="2">
                  <c:v>Av Price/Unit 30.75</c:v>
                </c:pt>
                <c:pt idx="3">
                  <c:v>Av Price/Unit 39.25</c:v>
                </c:pt>
                <c:pt idx="4">
                  <c:v>Av Price/Unit 23.20</c:v>
                </c:pt>
                <c:pt idx="5">
                  <c:v>Av Price/Unit 47.69</c:v>
                </c:pt>
                <c:pt idx="6">
                  <c:v>Av Price/Unit 37.60</c:v>
                </c:pt>
                <c:pt idx="7">
                  <c:v>Av Price/Unit 33.82</c:v>
                </c:pt>
                <c:pt idx="8">
                  <c:v>Av Price/Unit 91.31</c:v>
                </c:pt>
              </c:strCache>
            </c:strRef>
          </c:cat>
          <c:val>
            <c:numRef>
              <c:f>Sheet1!$D$2:$D$10</c:f>
              <c:numCache>
                <c:formatCode>General</c:formatCode>
                <c:ptCount val="9"/>
                <c:pt idx="0">
                  <c:v>0.5957978635217707</c:v>
                </c:pt>
                <c:pt idx="1">
                  <c:v>0.1268043997017152</c:v>
                </c:pt>
                <c:pt idx="2">
                  <c:v>-0.4244117533718672</c:v>
                </c:pt>
                <c:pt idx="3">
                  <c:v>3.1701754074074167</c:v>
                </c:pt>
                <c:pt idx="4">
                  <c:v>1.451832298136651</c:v>
                </c:pt>
                <c:pt idx="5">
                  <c:v>2.119038095238089</c:v>
                </c:pt>
                <c:pt idx="6">
                  <c:v>1.8743533333333389</c:v>
                </c:pt>
                <c:pt idx="7">
                  <c:v>1.7998745098039173</c:v>
                </c:pt>
                <c:pt idx="8">
                  <c:v>8.36092500000002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21.11</c:v>
                </c:pt>
                <c:pt idx="1">
                  <c:v>Av Price/Unit 25.15</c:v>
                </c:pt>
                <c:pt idx="2">
                  <c:v>Av Price/Unit 30.75</c:v>
                </c:pt>
                <c:pt idx="3">
                  <c:v>Av Price/Unit 39.25</c:v>
                </c:pt>
                <c:pt idx="4">
                  <c:v>Av Price/Unit 23.20</c:v>
                </c:pt>
                <c:pt idx="5">
                  <c:v>Av Price/Unit 47.69</c:v>
                </c:pt>
                <c:pt idx="6">
                  <c:v>Av Price/Unit 37.60</c:v>
                </c:pt>
                <c:pt idx="7">
                  <c:v>Av Price/Unit 33.82</c:v>
                </c:pt>
                <c:pt idx="8">
                  <c:v>Av Price/Unit 91.31</c:v>
                </c:pt>
              </c:strCache>
            </c:strRef>
          </c:cat>
          <c:val>
            <c:numRef>
              <c:f>Sheet1!$E$2:$E$10</c:f>
              <c:numCache>
                <c:formatCode>General</c:formatCode>
                <c:ptCount val="9"/>
                <c:pt idx="0">
                  <c:v>3.518993291458359</c:v>
                </c:pt>
                <c:pt idx="1">
                  <c:v>4.1920208799403404</c:v>
                </c:pt>
                <c:pt idx="2">
                  <c:v>5.124759152215798</c:v>
                </c:pt>
                <c:pt idx="3">
                  <c:v>6.541481481481476</c:v>
                </c:pt>
                <c:pt idx="4">
                  <c:v>3.86645962732919</c:v>
                </c:pt>
                <c:pt idx="5">
                  <c:v>7.94761904761905</c:v>
                </c:pt>
                <c:pt idx="6">
                  <c:v>6.266666666666665</c:v>
                </c:pt>
                <c:pt idx="7">
                  <c:v>5.637254901960785</c:v>
                </c:pt>
                <c:pt idx="8">
                  <c:v>15.21874999999998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3</c:v>
                </c:pt>
                <c:pt idx="1">
                  <c:v>Av Price/Unit 38.53</c:v>
                </c:pt>
                <c:pt idx="2">
                  <c:v>Av Price/Unit 24.90</c:v>
                </c:pt>
                <c:pt idx="3">
                  <c:v>Av Price/Unit 30.44</c:v>
                </c:pt>
                <c:pt idx="4">
                  <c:v>Av Price/Unit 45.36</c:v>
                </c:pt>
                <c:pt idx="5">
                  <c:v>Av Price/Unit 22.28</c:v>
                </c:pt>
                <c:pt idx="6">
                  <c:v>Av Price/Unit 36.52</c:v>
                </c:pt>
                <c:pt idx="7">
                  <c:v>Av Price/Unit 88.19</c:v>
                </c:pt>
                <c:pt idx="8">
                  <c:v>Av Price/Unit 23.13</c:v>
                </c:pt>
                <c:pt idx="9">
                  <c:v>Av Price/Unit 36.17</c:v>
                </c:pt>
                <c:pt idx="10">
                  <c:v>Av Price/Unit 46.78</c:v>
                </c:pt>
                <c:pt idx="11">
                  <c:v>Av Price/Unit 24.15</c:v>
                </c:pt>
              </c:strCache>
            </c:strRef>
          </c:cat>
          <c:val>
            <c:numRef>
              <c:f>Sheet1!$B$2:$B$13</c:f>
              <c:numCache>
                <c:formatCode>General</c:formatCode>
                <c:ptCount val="12"/>
                <c:pt idx="0">
                  <c:v>3.603543958853247</c:v>
                </c:pt>
                <c:pt idx="1">
                  <c:v>13.300317242607766</c:v>
                </c:pt>
                <c:pt idx="2">
                  <c:v>5.345732174505794</c:v>
                </c:pt>
                <c:pt idx="3">
                  <c:v>11.754125167336012</c:v>
                </c:pt>
                <c:pt idx="4">
                  <c:v>10.718704081632653</c:v>
                </c:pt>
                <c:pt idx="5">
                  <c:v>9.24218927125506</c:v>
                </c:pt>
                <c:pt idx="6">
                  <c:v>14.086165632458234</c:v>
                </c:pt>
                <c:pt idx="7">
                  <c:v>32.45134395604396</c:v>
                </c:pt>
                <c:pt idx="8">
                  <c:v>9.330984771573604</c:v>
                </c:pt>
                <c:pt idx="9">
                  <c:v>13.074546308724832</c:v>
                </c:pt>
                <c:pt idx="10">
                  <c:v>17.406</c:v>
                </c:pt>
                <c:pt idx="11">
                  <c:v>9.3733999999999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3</c:v>
                </c:pt>
                <c:pt idx="1">
                  <c:v>Av Price/Unit 38.53</c:v>
                </c:pt>
                <c:pt idx="2">
                  <c:v>Av Price/Unit 24.90</c:v>
                </c:pt>
                <c:pt idx="3">
                  <c:v>Av Price/Unit 30.44</c:v>
                </c:pt>
                <c:pt idx="4">
                  <c:v>Av Price/Unit 45.36</c:v>
                </c:pt>
                <c:pt idx="5">
                  <c:v>Av Price/Unit 22.28</c:v>
                </c:pt>
                <c:pt idx="6">
                  <c:v>Av Price/Unit 36.52</c:v>
                </c:pt>
                <c:pt idx="7">
                  <c:v>Av Price/Unit 88.19</c:v>
                </c:pt>
                <c:pt idx="8">
                  <c:v>Av Price/Unit 23.13</c:v>
                </c:pt>
                <c:pt idx="9">
                  <c:v>Av Price/Unit 36.17</c:v>
                </c:pt>
                <c:pt idx="10">
                  <c:v>Av Price/Unit 46.78</c:v>
                </c:pt>
                <c:pt idx="11">
                  <c:v>Av Price/Unit 24.15</c:v>
                </c:pt>
              </c:strCache>
            </c:strRef>
          </c:cat>
          <c:val>
            <c:numRef>
              <c:f>Sheet1!$C$2:$C$13</c:f>
              <c:numCache>
                <c:formatCode>General</c:formatCode>
                <c:ptCount val="12"/>
                <c:pt idx="0">
                  <c:v>13.404570521638567</c:v>
                </c:pt>
                <c:pt idx="1">
                  <c:v>16.206</c:v>
                </c:pt>
                <c:pt idx="2">
                  <c:v>15.487567825494208</c:v>
                </c:pt>
                <c:pt idx="3">
                  <c:v>14.309765640339133</c:v>
                </c:pt>
                <c:pt idx="4">
                  <c:v>26.983267857142856</c:v>
                </c:pt>
                <c:pt idx="5">
                  <c:v>8.788220647773278</c:v>
                </c:pt>
                <c:pt idx="6">
                  <c:v>15.345527446300718</c:v>
                </c:pt>
                <c:pt idx="7">
                  <c:v>34.927</c:v>
                </c:pt>
                <c:pt idx="8">
                  <c:v>8.542310659898476</c:v>
                </c:pt>
                <c:pt idx="9">
                  <c:v>16.075120805369128</c:v>
                </c:pt>
                <c:pt idx="10">
                  <c:v>21.344</c:v>
                </c:pt>
                <c:pt idx="11">
                  <c:v>9.05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3</c:v>
                </c:pt>
                <c:pt idx="1">
                  <c:v>Av Price/Unit 38.53</c:v>
                </c:pt>
                <c:pt idx="2">
                  <c:v>Av Price/Unit 24.90</c:v>
                </c:pt>
                <c:pt idx="3">
                  <c:v>Av Price/Unit 30.44</c:v>
                </c:pt>
                <c:pt idx="4">
                  <c:v>Av Price/Unit 45.36</c:v>
                </c:pt>
                <c:pt idx="5">
                  <c:v>Av Price/Unit 22.28</c:v>
                </c:pt>
                <c:pt idx="6">
                  <c:v>Av Price/Unit 36.52</c:v>
                </c:pt>
                <c:pt idx="7">
                  <c:v>Av Price/Unit 88.19</c:v>
                </c:pt>
                <c:pt idx="8">
                  <c:v>Av Price/Unit 23.13</c:v>
                </c:pt>
                <c:pt idx="9">
                  <c:v>Av Price/Unit 36.17</c:v>
                </c:pt>
                <c:pt idx="10">
                  <c:v>Av Price/Unit 46.78</c:v>
                </c:pt>
                <c:pt idx="11">
                  <c:v>Av Price/Unit 24.15</c:v>
                </c:pt>
              </c:strCache>
            </c:strRef>
          </c:cat>
          <c:val>
            <c:numRef>
              <c:f>Sheet1!$D$2:$D$13</c:f>
              <c:numCache>
                <c:formatCode>General</c:formatCode>
                <c:ptCount val="12"/>
                <c:pt idx="0">
                  <c:v>0.6826389974367792</c:v>
                </c:pt>
                <c:pt idx="1">
                  <c:v>2.6029928155800874</c:v>
                </c:pt>
                <c:pt idx="2">
                  <c:v>-0.08006209952283783</c:v>
                </c:pt>
                <c:pt idx="3">
                  <c:v>-0.7013294511378874</c:v>
                </c:pt>
                <c:pt idx="4">
                  <c:v>0.09564710884354355</c:v>
                </c:pt>
                <c:pt idx="5">
                  <c:v>0.538247300944672</c:v>
                </c:pt>
                <c:pt idx="6">
                  <c:v>0.9979011933174213</c:v>
                </c:pt>
                <c:pt idx="7">
                  <c:v>6.115245787545803</c:v>
                </c:pt>
                <c:pt idx="8">
                  <c:v>1.401894867456292</c:v>
                </c:pt>
                <c:pt idx="9">
                  <c:v>0.9957467561521192</c:v>
                </c:pt>
                <c:pt idx="10">
                  <c:v>0.11968085106382631</c:v>
                </c:pt>
                <c:pt idx="11">
                  <c:v>1.64818801498127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3</c:v>
                </c:pt>
                <c:pt idx="1">
                  <c:v>Av Price/Unit 38.53</c:v>
                </c:pt>
                <c:pt idx="2">
                  <c:v>Av Price/Unit 24.90</c:v>
                </c:pt>
                <c:pt idx="3">
                  <c:v>Av Price/Unit 30.44</c:v>
                </c:pt>
                <c:pt idx="4">
                  <c:v>Av Price/Unit 45.36</c:v>
                </c:pt>
                <c:pt idx="5">
                  <c:v>Av Price/Unit 22.28</c:v>
                </c:pt>
                <c:pt idx="6">
                  <c:v>Av Price/Unit 36.52</c:v>
                </c:pt>
                <c:pt idx="7">
                  <c:v>Av Price/Unit 88.19</c:v>
                </c:pt>
                <c:pt idx="8">
                  <c:v>Av Price/Unit 23.13</c:v>
                </c:pt>
                <c:pt idx="9">
                  <c:v>Av Price/Unit 36.17</c:v>
                </c:pt>
                <c:pt idx="10">
                  <c:v>Av Price/Unit 46.78</c:v>
                </c:pt>
                <c:pt idx="11">
                  <c:v>Av Price/Unit 24.15</c:v>
                </c:pt>
              </c:strCache>
            </c:strRef>
          </c:cat>
          <c:val>
            <c:numRef>
              <c:f>Sheet1!$E$2:$E$13</c:f>
              <c:numCache>
                <c:formatCode>General</c:formatCode>
                <c:ptCount val="12"/>
                <c:pt idx="0">
                  <c:v>3.5381506955857174</c:v>
                </c:pt>
                <c:pt idx="1">
                  <c:v>6.421862011637574</c:v>
                </c:pt>
                <c:pt idx="2">
                  <c:v>4.150647580095433</c:v>
                </c:pt>
                <c:pt idx="3">
                  <c:v>5.072512271307452</c:v>
                </c:pt>
                <c:pt idx="4">
                  <c:v>7.559523809523809</c:v>
                </c:pt>
                <c:pt idx="5">
                  <c:v>3.7137314439945994</c:v>
                </c:pt>
                <c:pt idx="6">
                  <c:v>6.085918854415274</c:v>
                </c:pt>
                <c:pt idx="7">
                  <c:v>14.698717948717945</c:v>
                </c:pt>
                <c:pt idx="8">
                  <c:v>3.8550479413423555</c:v>
                </c:pt>
                <c:pt idx="9">
                  <c:v>6.029082774049221</c:v>
                </c:pt>
                <c:pt idx="10">
                  <c:v>7.773936170212766</c:v>
                </c:pt>
                <c:pt idx="11">
                  <c:v>4.01591760299625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6</c:v>
                </c:pt>
                <c:pt idx="1">
                  <c:v>Av Price/Unit 38.61</c:v>
                </c:pt>
                <c:pt idx="2">
                  <c:v>Av Price/Unit 30.45</c:v>
                </c:pt>
                <c:pt idx="3">
                  <c:v>Av Price/Unit 25.04</c:v>
                </c:pt>
                <c:pt idx="4">
                  <c:v>Av Price/Unit 22.30</c:v>
                </c:pt>
                <c:pt idx="5">
                  <c:v>Av Price/Unit 45.48</c:v>
                </c:pt>
                <c:pt idx="6">
                  <c:v>Av Price/Unit 37.74</c:v>
                </c:pt>
                <c:pt idx="7">
                  <c:v>Av Price/Unit 89.20</c:v>
                </c:pt>
                <c:pt idx="8">
                  <c:v>Av Price/Unit 23.11</c:v>
                </c:pt>
                <c:pt idx="9">
                  <c:v>Av Price/Unit 36.59</c:v>
                </c:pt>
                <c:pt idx="10">
                  <c:v>Av Price/Unit 24.21</c:v>
                </c:pt>
                <c:pt idx="11">
                  <c:v>Av Price/Unit 33.45</c:v>
                </c:pt>
              </c:strCache>
            </c:strRef>
          </c:cat>
          <c:val>
            <c:numRef>
              <c:f>Sheet1!$B$2:$B$13</c:f>
              <c:numCache>
                <c:formatCode>General</c:formatCode>
                <c:ptCount val="12"/>
                <c:pt idx="0">
                  <c:v>3.6059014807193344</c:v>
                </c:pt>
                <c:pt idx="1">
                  <c:v>13.306992886645252</c:v>
                </c:pt>
                <c:pt idx="2">
                  <c:v>11.75174040609137</c:v>
                </c:pt>
                <c:pt idx="3">
                  <c:v>5.335092240300376</c:v>
                </c:pt>
                <c:pt idx="4">
                  <c:v>9.238772859922177</c:v>
                </c:pt>
                <c:pt idx="5">
                  <c:v>10.726680824742266</c:v>
                </c:pt>
                <c:pt idx="6">
                  <c:v>14.19354396355353</c:v>
                </c:pt>
                <c:pt idx="7">
                  <c:v>32.86283768115941</c:v>
                </c:pt>
                <c:pt idx="8">
                  <c:v>9.289431325301205</c:v>
                </c:pt>
                <c:pt idx="9">
                  <c:v>13.016915789473684</c:v>
                </c:pt>
                <c:pt idx="10">
                  <c:v>9.3734</c:v>
                </c:pt>
                <c:pt idx="11">
                  <c:v>11.940399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6</c:v>
                </c:pt>
                <c:pt idx="1">
                  <c:v>Av Price/Unit 38.61</c:v>
                </c:pt>
                <c:pt idx="2">
                  <c:v>Av Price/Unit 30.45</c:v>
                </c:pt>
                <c:pt idx="3">
                  <c:v>Av Price/Unit 25.04</c:v>
                </c:pt>
                <c:pt idx="4">
                  <c:v>Av Price/Unit 22.30</c:v>
                </c:pt>
                <c:pt idx="5">
                  <c:v>Av Price/Unit 45.48</c:v>
                </c:pt>
                <c:pt idx="6">
                  <c:v>Av Price/Unit 37.74</c:v>
                </c:pt>
                <c:pt idx="7">
                  <c:v>Av Price/Unit 89.20</c:v>
                </c:pt>
                <c:pt idx="8">
                  <c:v>Av Price/Unit 23.11</c:v>
                </c:pt>
                <c:pt idx="9">
                  <c:v>Av Price/Unit 36.59</c:v>
                </c:pt>
                <c:pt idx="10">
                  <c:v>Av Price/Unit 24.21</c:v>
                </c:pt>
                <c:pt idx="11">
                  <c:v>Av Price/Unit 33.45</c:v>
                </c:pt>
              </c:strCache>
            </c:strRef>
          </c:cat>
          <c:val>
            <c:numRef>
              <c:f>Sheet1!$C$2:$C$13</c:f>
              <c:numCache>
                <c:formatCode>General</c:formatCode>
                <c:ptCount val="12"/>
                <c:pt idx="0">
                  <c:v>13.400851990695177</c:v>
                </c:pt>
                <c:pt idx="1">
                  <c:v>16.206</c:v>
                </c:pt>
                <c:pt idx="2">
                  <c:v>14.309268223350253</c:v>
                </c:pt>
                <c:pt idx="3">
                  <c:v>15.498207759699623</c:v>
                </c:pt>
                <c:pt idx="4">
                  <c:v>8.788928988326848</c:v>
                </c:pt>
                <c:pt idx="5">
                  <c:v>26.958901030927834</c:v>
                </c:pt>
                <c:pt idx="6">
                  <c:v>15.339134396355355</c:v>
                </c:pt>
                <c:pt idx="7">
                  <c:v>34.927</c:v>
                </c:pt>
                <c:pt idx="8">
                  <c:v>8.545526506024096</c:v>
                </c:pt>
                <c:pt idx="9">
                  <c:v>16.07933082706767</c:v>
                </c:pt>
                <c:pt idx="10">
                  <c:v>9.058000000000002</c:v>
                </c:pt>
                <c:pt idx="11">
                  <c:v>14.2992250000000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6</c:v>
                </c:pt>
                <c:pt idx="1">
                  <c:v>Av Price/Unit 38.61</c:v>
                </c:pt>
                <c:pt idx="2">
                  <c:v>Av Price/Unit 30.45</c:v>
                </c:pt>
                <c:pt idx="3">
                  <c:v>Av Price/Unit 25.04</c:v>
                </c:pt>
                <c:pt idx="4">
                  <c:v>Av Price/Unit 22.30</c:v>
                </c:pt>
                <c:pt idx="5">
                  <c:v>Av Price/Unit 45.48</c:v>
                </c:pt>
                <c:pt idx="6">
                  <c:v>Av Price/Unit 37.74</c:v>
                </c:pt>
                <c:pt idx="7">
                  <c:v>Av Price/Unit 89.20</c:v>
                </c:pt>
                <c:pt idx="8">
                  <c:v>Av Price/Unit 23.11</c:v>
                </c:pt>
                <c:pt idx="9">
                  <c:v>Av Price/Unit 36.59</c:v>
                </c:pt>
                <c:pt idx="10">
                  <c:v>Av Price/Unit 24.21</c:v>
                </c:pt>
                <c:pt idx="11">
                  <c:v>Av Price/Unit 33.45</c:v>
                </c:pt>
              </c:strCache>
            </c:strRef>
          </c:cat>
          <c:val>
            <c:numRef>
              <c:f>Sheet1!$D$2:$D$13</c:f>
              <c:numCache>
                <c:formatCode>General</c:formatCode>
                <c:ptCount val="12"/>
                <c:pt idx="0">
                  <c:v>0.7092779621842453</c:v>
                </c:pt>
                <c:pt idx="1">
                  <c:v>2.658110065779404</c:v>
                </c:pt>
                <c:pt idx="2">
                  <c:v>-0.6819900169204729</c:v>
                </c:pt>
                <c:pt idx="3">
                  <c:v>0.03271307189542583</c:v>
                </c:pt>
                <c:pt idx="4">
                  <c:v>0.5520646887159586</c:v>
                </c:pt>
                <c:pt idx="5">
                  <c:v>0.2130435738831693</c:v>
                </c:pt>
                <c:pt idx="6">
                  <c:v>1.9175873955960547</c:v>
                </c:pt>
                <c:pt idx="7">
                  <c:v>6.539872463768106</c:v>
                </c:pt>
                <c:pt idx="8">
                  <c:v>1.420341900937089</c:v>
                </c:pt>
                <c:pt idx="9">
                  <c:v>1.3987408521303308</c:v>
                </c:pt>
                <c:pt idx="10">
                  <c:v>1.7844634538152633</c:v>
                </c:pt>
                <c:pt idx="11">
                  <c:v>1.636119047619047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6</c:v>
                </c:pt>
                <c:pt idx="1">
                  <c:v>Av Price/Unit 38.61</c:v>
                </c:pt>
                <c:pt idx="2">
                  <c:v>Av Price/Unit 30.45</c:v>
                </c:pt>
                <c:pt idx="3">
                  <c:v>Av Price/Unit 25.04</c:v>
                </c:pt>
                <c:pt idx="4">
                  <c:v>Av Price/Unit 22.30</c:v>
                </c:pt>
                <c:pt idx="5">
                  <c:v>Av Price/Unit 45.48</c:v>
                </c:pt>
                <c:pt idx="6">
                  <c:v>Av Price/Unit 37.74</c:v>
                </c:pt>
                <c:pt idx="7">
                  <c:v>Av Price/Unit 89.20</c:v>
                </c:pt>
                <c:pt idx="8">
                  <c:v>Av Price/Unit 23.11</c:v>
                </c:pt>
                <c:pt idx="9">
                  <c:v>Av Price/Unit 36.59</c:v>
                </c:pt>
                <c:pt idx="10">
                  <c:v>Av Price/Unit 24.21</c:v>
                </c:pt>
                <c:pt idx="11">
                  <c:v>Av Price/Unit 33.45</c:v>
                </c:pt>
              </c:strCache>
            </c:strRef>
          </c:cat>
          <c:val>
            <c:numRef>
              <c:f>Sheet1!$E$2:$E$13</c:f>
              <c:numCache>
                <c:formatCode>General</c:formatCode>
                <c:ptCount val="12"/>
                <c:pt idx="0">
                  <c:v>3.543206286719751</c:v>
                </c:pt>
                <c:pt idx="1">
                  <c:v>6.4342205904849346</c:v>
                </c:pt>
                <c:pt idx="2">
                  <c:v>5.075803722504228</c:v>
                </c:pt>
                <c:pt idx="3">
                  <c:v>4.173202614379084</c:v>
                </c:pt>
                <c:pt idx="4">
                  <c:v>3.7159533073929962</c:v>
                </c:pt>
                <c:pt idx="5">
                  <c:v>7.579725085910648</c:v>
                </c:pt>
                <c:pt idx="6">
                  <c:v>6.2900531511009845</c:v>
                </c:pt>
                <c:pt idx="7">
                  <c:v>14.865942028985508</c:v>
                </c:pt>
                <c:pt idx="8">
                  <c:v>3.8510709504685385</c:v>
                </c:pt>
                <c:pt idx="9">
                  <c:v>6.098997493734331</c:v>
                </c:pt>
                <c:pt idx="10">
                  <c:v>4.043172690763051</c:v>
                </c:pt>
                <c:pt idx="11">
                  <c:v>5.57514880952380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4</c:v>
                </c:pt>
                <c:pt idx="1">
                  <c:v>Av Price/Unit 38.80</c:v>
                </c:pt>
                <c:pt idx="2">
                  <c:v>Av Price/Unit 25.05</c:v>
                </c:pt>
                <c:pt idx="3">
                  <c:v>Av Price/Unit 30.62</c:v>
                </c:pt>
                <c:pt idx="4">
                  <c:v>Av Price/Unit 22.28</c:v>
                </c:pt>
                <c:pt idx="5">
                  <c:v>Av Price/Unit 45.96</c:v>
                </c:pt>
                <c:pt idx="6">
                  <c:v>Av Price/Unit 37.53</c:v>
                </c:pt>
                <c:pt idx="7">
                  <c:v>Av Price/Unit 32.54</c:v>
                </c:pt>
                <c:pt idx="8">
                  <c:v>Av Price/Unit 47.11</c:v>
                </c:pt>
                <c:pt idx="9">
                  <c:v>Av Price/Unit 89.76</c:v>
                </c:pt>
                <c:pt idx="10">
                  <c:v>Av Price/Unit 23.38</c:v>
                </c:pt>
                <c:pt idx="11">
                  <c:v>Av Price/Unit 37.17</c:v>
                </c:pt>
              </c:strCache>
            </c:strRef>
          </c:cat>
          <c:val>
            <c:numRef>
              <c:f>Sheet1!$B$2:$B$13</c:f>
              <c:numCache>
                <c:formatCode>General</c:formatCode>
                <c:ptCount val="12"/>
                <c:pt idx="0">
                  <c:v>3.6061959679541538</c:v>
                </c:pt>
                <c:pt idx="1">
                  <c:v>13.328177029464824</c:v>
                </c:pt>
                <c:pt idx="2">
                  <c:v>5.345538883632923</c:v>
                </c:pt>
                <c:pt idx="3">
                  <c:v>11.779357468879665</c:v>
                </c:pt>
                <c:pt idx="4">
                  <c:v>9.161441383352873</c:v>
                </c:pt>
                <c:pt idx="5">
                  <c:v>10.711285106382977</c:v>
                </c:pt>
                <c:pt idx="6">
                  <c:v>14.3275756097561</c:v>
                </c:pt>
                <c:pt idx="7">
                  <c:v>11.92705</c:v>
                </c:pt>
                <c:pt idx="8">
                  <c:v>17.406</c:v>
                </c:pt>
                <c:pt idx="9">
                  <c:v>32.89324444444445</c:v>
                </c:pt>
                <c:pt idx="10">
                  <c:v>9.329856891495602</c:v>
                </c:pt>
                <c:pt idx="11">
                  <c:v>12.95745301204819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4</c:v>
                </c:pt>
                <c:pt idx="1">
                  <c:v>Av Price/Unit 38.80</c:v>
                </c:pt>
                <c:pt idx="2">
                  <c:v>Av Price/Unit 25.05</c:v>
                </c:pt>
                <c:pt idx="3">
                  <c:v>Av Price/Unit 30.62</c:v>
                </c:pt>
                <c:pt idx="4">
                  <c:v>Av Price/Unit 22.28</c:v>
                </c:pt>
                <c:pt idx="5">
                  <c:v>Av Price/Unit 45.96</c:v>
                </c:pt>
                <c:pt idx="6">
                  <c:v>Av Price/Unit 37.53</c:v>
                </c:pt>
                <c:pt idx="7">
                  <c:v>Av Price/Unit 32.54</c:v>
                </c:pt>
                <c:pt idx="8">
                  <c:v>Av Price/Unit 47.11</c:v>
                </c:pt>
                <c:pt idx="9">
                  <c:v>Av Price/Unit 89.76</c:v>
                </c:pt>
                <c:pt idx="10">
                  <c:v>Av Price/Unit 23.38</c:v>
                </c:pt>
                <c:pt idx="11">
                  <c:v>Av Price/Unit 37.17</c:v>
                </c:pt>
              </c:strCache>
            </c:strRef>
          </c:cat>
          <c:val>
            <c:numRef>
              <c:f>Sheet1!$C$2:$C$13</c:f>
              <c:numCache>
                <c:formatCode>General</c:formatCode>
                <c:ptCount val="12"/>
                <c:pt idx="0">
                  <c:v>13.400387494517704</c:v>
                </c:pt>
                <c:pt idx="1">
                  <c:v>16.205999999999996</c:v>
                </c:pt>
                <c:pt idx="2">
                  <c:v>15.487761116367075</c:v>
                </c:pt>
                <c:pt idx="3">
                  <c:v>14.315028630705394</c:v>
                </c:pt>
                <c:pt idx="4">
                  <c:v>8.804962485345838</c:v>
                </c:pt>
                <c:pt idx="5">
                  <c:v>27.00593085106383</c:v>
                </c:pt>
                <c:pt idx="6">
                  <c:v>15.331154471544716</c:v>
                </c:pt>
                <c:pt idx="7">
                  <c:v>14.300263281250002</c:v>
                </c:pt>
                <c:pt idx="8">
                  <c:v>21.344</c:v>
                </c:pt>
                <c:pt idx="9">
                  <c:v>34.927</c:v>
                </c:pt>
                <c:pt idx="10">
                  <c:v>8.542397947214075</c:v>
                </c:pt>
                <c:pt idx="11">
                  <c:v>16.08367469879518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4</c:v>
                </c:pt>
                <c:pt idx="1">
                  <c:v>Av Price/Unit 38.80</c:v>
                </c:pt>
                <c:pt idx="2">
                  <c:v>Av Price/Unit 25.05</c:v>
                </c:pt>
                <c:pt idx="3">
                  <c:v>Av Price/Unit 30.62</c:v>
                </c:pt>
                <c:pt idx="4">
                  <c:v>Av Price/Unit 22.28</c:v>
                </c:pt>
                <c:pt idx="5">
                  <c:v>Av Price/Unit 45.96</c:v>
                </c:pt>
                <c:pt idx="6">
                  <c:v>Av Price/Unit 37.53</c:v>
                </c:pt>
                <c:pt idx="7">
                  <c:v>Av Price/Unit 32.54</c:v>
                </c:pt>
                <c:pt idx="8">
                  <c:v>Av Price/Unit 47.11</c:v>
                </c:pt>
                <c:pt idx="9">
                  <c:v>Av Price/Unit 89.76</c:v>
                </c:pt>
                <c:pt idx="10">
                  <c:v>Av Price/Unit 23.38</c:v>
                </c:pt>
                <c:pt idx="11">
                  <c:v>Av Price/Unit 37.17</c:v>
                </c:pt>
              </c:strCache>
            </c:strRef>
          </c:cat>
          <c:val>
            <c:numRef>
              <c:f>Sheet1!$D$2:$D$13</c:f>
              <c:numCache>
                <c:formatCode>General</c:formatCode>
                <c:ptCount val="12"/>
                <c:pt idx="0">
                  <c:v>0.7809324971004727</c:v>
                </c:pt>
                <c:pt idx="1">
                  <c:v>2.8019624774503953</c:v>
                </c:pt>
                <c:pt idx="2">
                  <c:v>0.0433950488804804</c:v>
                </c:pt>
                <c:pt idx="3">
                  <c:v>-0.5780191101890217</c:v>
                </c:pt>
                <c:pt idx="4">
                  <c:v>0.6023729972645597</c:v>
                </c:pt>
                <c:pt idx="5">
                  <c:v>0.5828726950354621</c:v>
                </c:pt>
                <c:pt idx="6">
                  <c:v>1.6127242999096723</c:v>
                </c:pt>
                <c:pt idx="7">
                  <c:v>0.8885721354166662</c:v>
                </c:pt>
                <c:pt idx="8">
                  <c:v>0.3497942386831312</c:v>
                </c:pt>
                <c:pt idx="9">
                  <c:v>6.9760518518518495</c:v>
                </c:pt>
                <c:pt idx="10">
                  <c:v>1.609611534701859</c:v>
                </c:pt>
                <c:pt idx="11">
                  <c:v>1.932767871485939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4</c:v>
                </c:pt>
                <c:pt idx="1">
                  <c:v>Av Price/Unit 38.80</c:v>
                </c:pt>
                <c:pt idx="2">
                  <c:v>Av Price/Unit 25.05</c:v>
                </c:pt>
                <c:pt idx="3">
                  <c:v>Av Price/Unit 30.62</c:v>
                </c:pt>
                <c:pt idx="4">
                  <c:v>Av Price/Unit 22.28</c:v>
                </c:pt>
                <c:pt idx="5">
                  <c:v>Av Price/Unit 45.96</c:v>
                </c:pt>
                <c:pt idx="6">
                  <c:v>Av Price/Unit 37.53</c:v>
                </c:pt>
                <c:pt idx="7">
                  <c:v>Av Price/Unit 32.54</c:v>
                </c:pt>
                <c:pt idx="8">
                  <c:v>Av Price/Unit 47.11</c:v>
                </c:pt>
                <c:pt idx="9">
                  <c:v>Av Price/Unit 89.76</c:v>
                </c:pt>
                <c:pt idx="10">
                  <c:v>Av Price/Unit 23.38</c:v>
                </c:pt>
                <c:pt idx="11">
                  <c:v>Av Price/Unit 37.17</c:v>
                </c:pt>
              </c:strCache>
            </c:strRef>
          </c:cat>
          <c:val>
            <c:numRef>
              <c:f>Sheet1!$E$2:$E$13</c:f>
              <c:numCache>
                <c:formatCode>General</c:formatCode>
                <c:ptCount val="12"/>
                <c:pt idx="0">
                  <c:v>3.5575031919144653</c:v>
                </c:pt>
                <c:pt idx="1">
                  <c:v>6.467227901383039</c:v>
                </c:pt>
                <c:pt idx="2">
                  <c:v>4.175339009776095</c:v>
                </c:pt>
                <c:pt idx="3">
                  <c:v>5.103273397879204</c:v>
                </c:pt>
                <c:pt idx="4">
                  <c:v>3.713755373192652</c:v>
                </c:pt>
                <c:pt idx="5">
                  <c:v>7.660017730496447</c:v>
                </c:pt>
                <c:pt idx="6">
                  <c:v>6.254290876242092</c:v>
                </c:pt>
                <c:pt idx="7">
                  <c:v>5.423177083333332</c:v>
                </c:pt>
                <c:pt idx="8">
                  <c:v>7.819958847736624</c:v>
                </c:pt>
                <c:pt idx="9">
                  <c:v>14.959259259259246</c:v>
                </c:pt>
                <c:pt idx="10">
                  <c:v>3.8963831867057657</c:v>
                </c:pt>
                <c:pt idx="11">
                  <c:v>6.19477911646586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72</c:v>
                </c:pt>
                <c:pt idx="2">
                  <c:v>Av Price/Unit 25.01</c:v>
                </c:pt>
                <c:pt idx="3">
                  <c:v>Av Price/Unit 30.60</c:v>
                </c:pt>
                <c:pt idx="4">
                  <c:v>Av Price/Unit 45.77</c:v>
                </c:pt>
                <c:pt idx="5">
                  <c:v>Av Price/Unit 22.37</c:v>
                </c:pt>
                <c:pt idx="6">
                  <c:v>Av Price/Unit 31.16</c:v>
                </c:pt>
                <c:pt idx="7">
                  <c:v>Av Price/Unit 88.34</c:v>
                </c:pt>
                <c:pt idx="8">
                  <c:v>Av Price/Unit 23.47</c:v>
                </c:pt>
                <c:pt idx="9">
                  <c:v>Av Price/Unit 37.63</c:v>
                </c:pt>
                <c:pt idx="10">
                  <c:v>Av Price/Unit 46.98</c:v>
                </c:pt>
                <c:pt idx="11">
                  <c:v>Av Price/Unit 24.25</c:v>
                </c:pt>
              </c:strCache>
            </c:strRef>
          </c:cat>
          <c:val>
            <c:numRef>
              <c:f>Sheet1!$B$2:$B$13</c:f>
              <c:numCache>
                <c:formatCode>General</c:formatCode>
                <c:ptCount val="12"/>
                <c:pt idx="0">
                  <c:v>3.6029380697050937</c:v>
                </c:pt>
                <c:pt idx="1">
                  <c:v>13.334985188916876</c:v>
                </c:pt>
                <c:pt idx="2">
                  <c:v>5.344332273152478</c:v>
                </c:pt>
                <c:pt idx="3">
                  <c:v>11.750790025359256</c:v>
                </c:pt>
                <c:pt idx="4">
                  <c:v>10.72500824742268</c:v>
                </c:pt>
                <c:pt idx="5">
                  <c:v>9.19734498094028</c:v>
                </c:pt>
                <c:pt idx="6">
                  <c:v>12.052182555780933</c:v>
                </c:pt>
                <c:pt idx="7">
                  <c:v>32.69028461538461</c:v>
                </c:pt>
                <c:pt idx="8">
                  <c:v>9.39390909090909</c:v>
                </c:pt>
                <c:pt idx="9">
                  <c:v>14.316624884792628</c:v>
                </c:pt>
                <c:pt idx="10">
                  <c:v>17.406</c:v>
                </c:pt>
                <c:pt idx="11">
                  <c:v>9.373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72</c:v>
                </c:pt>
                <c:pt idx="2">
                  <c:v>Av Price/Unit 25.01</c:v>
                </c:pt>
                <c:pt idx="3">
                  <c:v>Av Price/Unit 30.60</c:v>
                </c:pt>
                <c:pt idx="4">
                  <c:v>Av Price/Unit 45.77</c:v>
                </c:pt>
                <c:pt idx="5">
                  <c:v>Av Price/Unit 22.37</c:v>
                </c:pt>
                <c:pt idx="6">
                  <c:v>Av Price/Unit 31.16</c:v>
                </c:pt>
                <c:pt idx="7">
                  <c:v>Av Price/Unit 88.34</c:v>
                </c:pt>
                <c:pt idx="8">
                  <c:v>Av Price/Unit 23.47</c:v>
                </c:pt>
                <c:pt idx="9">
                  <c:v>Av Price/Unit 37.63</c:v>
                </c:pt>
                <c:pt idx="10">
                  <c:v>Av Price/Unit 46.98</c:v>
                </c:pt>
                <c:pt idx="11">
                  <c:v>Av Price/Unit 24.25</c:v>
                </c:pt>
              </c:strCache>
            </c:strRef>
          </c:cat>
          <c:val>
            <c:numRef>
              <c:f>Sheet1!$C$2:$C$13</c:f>
              <c:numCache>
                <c:formatCode>General</c:formatCode>
                <c:ptCount val="12"/>
                <c:pt idx="0">
                  <c:v>13.405526193599911</c:v>
                </c:pt>
                <c:pt idx="1">
                  <c:v>16.206</c:v>
                </c:pt>
                <c:pt idx="2">
                  <c:v>15.488967726847521</c:v>
                </c:pt>
                <c:pt idx="3">
                  <c:v>14.309069991546913</c:v>
                </c:pt>
                <c:pt idx="4">
                  <c:v>26.96401030927835</c:v>
                </c:pt>
                <c:pt idx="5">
                  <c:v>8.797518424396442</c:v>
                </c:pt>
                <c:pt idx="6">
                  <c:v>14.290531237322515</c:v>
                </c:pt>
                <c:pt idx="7">
                  <c:v>34.927</c:v>
                </c:pt>
                <c:pt idx="8">
                  <c:v>8.53744090909091</c:v>
                </c:pt>
                <c:pt idx="9">
                  <c:v>15.331806451612904</c:v>
                </c:pt>
                <c:pt idx="10">
                  <c:v>21.344</c:v>
                </c:pt>
                <c:pt idx="11">
                  <c:v>9.05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72</c:v>
                </c:pt>
                <c:pt idx="2">
                  <c:v>Av Price/Unit 25.01</c:v>
                </c:pt>
                <c:pt idx="3">
                  <c:v>Av Price/Unit 30.60</c:v>
                </c:pt>
                <c:pt idx="4">
                  <c:v>Av Price/Unit 45.77</c:v>
                </c:pt>
                <c:pt idx="5">
                  <c:v>Av Price/Unit 22.37</c:v>
                </c:pt>
                <c:pt idx="6">
                  <c:v>Av Price/Unit 31.16</c:v>
                </c:pt>
                <c:pt idx="7">
                  <c:v>Av Price/Unit 88.34</c:v>
                </c:pt>
                <c:pt idx="8">
                  <c:v>Av Price/Unit 23.47</c:v>
                </c:pt>
                <c:pt idx="9">
                  <c:v>Av Price/Unit 37.63</c:v>
                </c:pt>
                <c:pt idx="10">
                  <c:v>Av Price/Unit 46.98</c:v>
                </c:pt>
                <c:pt idx="11">
                  <c:v>Av Price/Unit 24.25</c:v>
                </c:pt>
              </c:strCache>
            </c:strRef>
          </c:cat>
          <c:val>
            <c:numRef>
              <c:f>Sheet1!$D$2:$D$13</c:f>
              <c:numCache>
                <c:formatCode>General</c:formatCode>
                <c:ptCount val="12"/>
                <c:pt idx="0">
                  <c:v>0.760511646036548</c:v>
                </c:pt>
                <c:pt idx="1">
                  <c:v>2.72517769941226</c:v>
                </c:pt>
                <c:pt idx="2">
                  <c:v>0.005490146554414821</c:v>
                </c:pt>
                <c:pt idx="3">
                  <c:v>-0.5618324034939448</c:v>
                </c:pt>
                <c:pt idx="4">
                  <c:v>0.4553113402061868</c:v>
                </c:pt>
                <c:pt idx="5">
                  <c:v>0.6455432020330392</c:v>
                </c:pt>
                <c:pt idx="6">
                  <c:v>-0.3724636240703205</c:v>
                </c:pt>
                <c:pt idx="7">
                  <c:v>5.995768997669018</c:v>
                </c:pt>
                <c:pt idx="8">
                  <c:v>1.6245855218855247</c:v>
                </c:pt>
                <c:pt idx="9">
                  <c:v>1.7071754224270386</c:v>
                </c:pt>
                <c:pt idx="10">
                  <c:v>0.41015625</c:v>
                </c:pt>
                <c:pt idx="11">
                  <c:v>1.725462745098042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72</c:v>
                </c:pt>
                <c:pt idx="2">
                  <c:v>Av Price/Unit 25.01</c:v>
                </c:pt>
                <c:pt idx="3">
                  <c:v>Av Price/Unit 30.60</c:v>
                </c:pt>
                <c:pt idx="4">
                  <c:v>Av Price/Unit 45.77</c:v>
                </c:pt>
                <c:pt idx="5">
                  <c:v>Av Price/Unit 22.37</c:v>
                </c:pt>
                <c:pt idx="6">
                  <c:v>Av Price/Unit 31.16</c:v>
                </c:pt>
                <c:pt idx="7">
                  <c:v>Av Price/Unit 88.34</c:v>
                </c:pt>
                <c:pt idx="8">
                  <c:v>Av Price/Unit 23.47</c:v>
                </c:pt>
                <c:pt idx="9">
                  <c:v>Av Price/Unit 37.63</c:v>
                </c:pt>
                <c:pt idx="10">
                  <c:v>Av Price/Unit 46.98</c:v>
                </c:pt>
                <c:pt idx="11">
                  <c:v>Av Price/Unit 24.25</c:v>
                </c:pt>
              </c:strCache>
            </c:strRef>
          </c:cat>
          <c:val>
            <c:numRef>
              <c:f>Sheet1!$E$2:$E$13</c:f>
              <c:numCache>
                <c:formatCode>General</c:formatCode>
                <c:ptCount val="12"/>
                <c:pt idx="0">
                  <c:v>3.5537951818683085</c:v>
                </c:pt>
                <c:pt idx="1">
                  <c:v>6.453232577665826</c:v>
                </c:pt>
                <c:pt idx="2">
                  <c:v>4.167758029310878</c:v>
                </c:pt>
                <c:pt idx="3">
                  <c:v>5.099605522682444</c:v>
                </c:pt>
                <c:pt idx="4">
                  <c:v>7.628865979381444</c:v>
                </c:pt>
                <c:pt idx="5">
                  <c:v>3.728081321473947</c:v>
                </c:pt>
                <c:pt idx="6">
                  <c:v>5.194050033806625</c:v>
                </c:pt>
                <c:pt idx="7">
                  <c:v>14.722610722610714</c:v>
                </c:pt>
                <c:pt idx="8">
                  <c:v>3.9111952861952832</c:v>
                </c:pt>
                <c:pt idx="9">
                  <c:v>6.271121351766512</c:v>
                </c:pt>
                <c:pt idx="10">
                  <c:v>7.83203125</c:v>
                </c:pt>
                <c:pt idx="11">
                  <c:v>4.03137254901960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8</c:v>
                </c:pt>
                <c:pt idx="1">
                  <c:v>Av Price/Unit 38.77</c:v>
                </c:pt>
                <c:pt idx="2">
                  <c:v>Av Price/Unit 25.04</c:v>
                </c:pt>
                <c:pt idx="3">
                  <c:v>Av Price/Unit 30.55</c:v>
                </c:pt>
                <c:pt idx="4">
                  <c:v>Av Price/Unit 22.42</c:v>
                </c:pt>
                <c:pt idx="5">
                  <c:v>Av Price/Unit 45.89</c:v>
                </c:pt>
                <c:pt idx="6">
                  <c:v>Av Price/Unit 37.76</c:v>
                </c:pt>
                <c:pt idx="7">
                  <c:v>Av Price/Unit 90.51</c:v>
                </c:pt>
                <c:pt idx="8">
                  <c:v>Av Price/Unit 23.42</c:v>
                </c:pt>
                <c:pt idx="9">
                  <c:v>Av Price/Unit 32.56</c:v>
                </c:pt>
                <c:pt idx="10">
                  <c:v>Av Price/Unit 36.56</c:v>
                </c:pt>
                <c:pt idx="11">
                  <c:v>Av Price/Unit 47.33</c:v>
                </c:pt>
              </c:strCache>
            </c:strRef>
          </c:cat>
          <c:val>
            <c:numRef>
              <c:f>Sheet1!$B$2:$B$13</c:f>
              <c:numCache>
                <c:formatCode>General</c:formatCode>
                <c:ptCount val="12"/>
                <c:pt idx="0">
                  <c:v>3.6043271779713746</c:v>
                </c:pt>
                <c:pt idx="1">
                  <c:v>13.315306860395443</c:v>
                </c:pt>
                <c:pt idx="2">
                  <c:v>5.342034748965269</c:v>
                </c:pt>
                <c:pt idx="3">
                  <c:v>11.757022388059704</c:v>
                </c:pt>
                <c:pt idx="4">
                  <c:v>9.209940947585256</c:v>
                </c:pt>
                <c:pt idx="5">
                  <c:v>10.720181925343805</c:v>
                </c:pt>
                <c:pt idx="6">
                  <c:v>14.214928786964405</c:v>
                </c:pt>
                <c:pt idx="7">
                  <c:v>32.586317241379305</c:v>
                </c:pt>
                <c:pt idx="8">
                  <c:v>9.33206746069557</c:v>
                </c:pt>
                <c:pt idx="9">
                  <c:v>12.031080871670705</c:v>
                </c:pt>
                <c:pt idx="10">
                  <c:v>13.021737682570597</c:v>
                </c:pt>
                <c:pt idx="11">
                  <c:v>17.40600000000001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8</c:v>
                </c:pt>
                <c:pt idx="1">
                  <c:v>Av Price/Unit 38.77</c:v>
                </c:pt>
                <c:pt idx="2">
                  <c:v>Av Price/Unit 25.04</c:v>
                </c:pt>
                <c:pt idx="3">
                  <c:v>Av Price/Unit 30.55</c:v>
                </c:pt>
                <c:pt idx="4">
                  <c:v>Av Price/Unit 22.42</c:v>
                </c:pt>
                <c:pt idx="5">
                  <c:v>Av Price/Unit 45.89</c:v>
                </c:pt>
                <c:pt idx="6">
                  <c:v>Av Price/Unit 37.76</c:v>
                </c:pt>
                <c:pt idx="7">
                  <c:v>Av Price/Unit 90.51</c:v>
                </c:pt>
                <c:pt idx="8">
                  <c:v>Av Price/Unit 23.42</c:v>
                </c:pt>
                <c:pt idx="9">
                  <c:v>Av Price/Unit 32.56</c:v>
                </c:pt>
                <c:pt idx="10">
                  <c:v>Av Price/Unit 36.56</c:v>
                </c:pt>
                <c:pt idx="11">
                  <c:v>Av Price/Unit 47.33</c:v>
                </c:pt>
              </c:strCache>
            </c:strRef>
          </c:cat>
          <c:val>
            <c:numRef>
              <c:f>Sheet1!$C$2:$C$13</c:f>
              <c:numCache>
                <c:formatCode>General</c:formatCode>
                <c:ptCount val="12"/>
                <c:pt idx="0">
                  <c:v>13.403335146235221</c:v>
                </c:pt>
                <c:pt idx="1">
                  <c:v>16.205999999999996</c:v>
                </c:pt>
                <c:pt idx="2">
                  <c:v>15.491265251034731</c:v>
                </c:pt>
                <c:pt idx="3">
                  <c:v>14.310369946875793</c:v>
                </c:pt>
                <c:pt idx="4">
                  <c:v>8.79490684367132</c:v>
                </c:pt>
                <c:pt idx="5">
                  <c:v>26.97875343811395</c:v>
                </c:pt>
                <c:pt idx="6">
                  <c:v>15.337861194930603</c:v>
                </c:pt>
                <c:pt idx="7">
                  <c:v>34.926999999999985</c:v>
                </c:pt>
                <c:pt idx="8">
                  <c:v>8.54222686993806</c:v>
                </c:pt>
                <c:pt idx="9">
                  <c:v>14.29217239709444</c:v>
                </c:pt>
                <c:pt idx="10">
                  <c:v>16.078978578383644</c:v>
                </c:pt>
                <c:pt idx="11">
                  <c:v>21.34399999999998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8</c:v>
                </c:pt>
                <c:pt idx="1">
                  <c:v>Av Price/Unit 38.77</c:v>
                </c:pt>
                <c:pt idx="2">
                  <c:v>Av Price/Unit 25.04</c:v>
                </c:pt>
                <c:pt idx="3">
                  <c:v>Av Price/Unit 30.55</c:v>
                </c:pt>
                <c:pt idx="4">
                  <c:v>Av Price/Unit 22.42</c:v>
                </c:pt>
                <c:pt idx="5">
                  <c:v>Av Price/Unit 45.89</c:v>
                </c:pt>
                <c:pt idx="6">
                  <c:v>Av Price/Unit 37.76</c:v>
                </c:pt>
                <c:pt idx="7">
                  <c:v>Av Price/Unit 90.51</c:v>
                </c:pt>
                <c:pt idx="8">
                  <c:v>Av Price/Unit 23.42</c:v>
                </c:pt>
                <c:pt idx="9">
                  <c:v>Av Price/Unit 32.56</c:v>
                </c:pt>
                <c:pt idx="10">
                  <c:v>Av Price/Unit 36.56</c:v>
                </c:pt>
                <c:pt idx="11">
                  <c:v>Av Price/Unit 47.33</c:v>
                </c:pt>
              </c:strCache>
            </c:strRef>
          </c:cat>
          <c:val>
            <c:numRef>
              <c:f>Sheet1!$D$2:$D$13</c:f>
              <c:numCache>
                <c:formatCode>General</c:formatCode>
                <c:ptCount val="12"/>
                <c:pt idx="0">
                  <c:v>0.724321876858184</c:v>
                </c:pt>
                <c:pt idx="1">
                  <c:v>2.7901238033420093</c:v>
                </c:pt>
                <c:pt idx="2">
                  <c:v>0.031000281926701234</c:v>
                </c:pt>
                <c:pt idx="3">
                  <c:v>-0.610777105995453</c:v>
                </c:pt>
                <c:pt idx="4">
                  <c:v>0.679824521248193</c:v>
                </c:pt>
                <c:pt idx="5">
                  <c:v>0.5463986247544099</c:v>
                </c:pt>
                <c:pt idx="6">
                  <c:v>1.9177390867028699</c:v>
                </c:pt>
                <c:pt idx="7">
                  <c:v>7.9124925809821605</c:v>
                </c:pt>
                <c:pt idx="8">
                  <c:v>1.6452689217087446</c:v>
                </c:pt>
                <c:pt idx="9">
                  <c:v>0.811532849071849</c:v>
                </c:pt>
                <c:pt idx="10">
                  <c:v>1.3699101590392573</c:v>
                </c:pt>
                <c:pt idx="11">
                  <c:v>0.530303030303031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8</c:v>
                </c:pt>
                <c:pt idx="1">
                  <c:v>Av Price/Unit 38.77</c:v>
                </c:pt>
                <c:pt idx="2">
                  <c:v>Av Price/Unit 25.04</c:v>
                </c:pt>
                <c:pt idx="3">
                  <c:v>Av Price/Unit 30.55</c:v>
                </c:pt>
                <c:pt idx="4">
                  <c:v>Av Price/Unit 22.42</c:v>
                </c:pt>
                <c:pt idx="5">
                  <c:v>Av Price/Unit 45.89</c:v>
                </c:pt>
                <c:pt idx="6">
                  <c:v>Av Price/Unit 37.76</c:v>
                </c:pt>
                <c:pt idx="7">
                  <c:v>Av Price/Unit 90.51</c:v>
                </c:pt>
                <c:pt idx="8">
                  <c:v>Av Price/Unit 23.42</c:v>
                </c:pt>
                <c:pt idx="9">
                  <c:v>Av Price/Unit 32.56</c:v>
                </c:pt>
                <c:pt idx="10">
                  <c:v>Av Price/Unit 36.56</c:v>
                </c:pt>
                <c:pt idx="11">
                  <c:v>Av Price/Unit 47.33</c:v>
                </c:pt>
              </c:strCache>
            </c:strRef>
          </c:cat>
          <c:val>
            <c:numRef>
              <c:f>Sheet1!$E$2:$E$13</c:f>
              <c:numCache>
                <c:formatCode>General</c:formatCode>
                <c:ptCount val="12"/>
                <c:pt idx="0">
                  <c:v>3.546396840212961</c:v>
                </c:pt>
                <c:pt idx="1">
                  <c:v>6.462286132747473</c:v>
                </c:pt>
                <c:pt idx="2">
                  <c:v>4.172860056385342</c:v>
                </c:pt>
                <c:pt idx="3">
                  <c:v>5.0913230457880125</c:v>
                </c:pt>
                <c:pt idx="4">
                  <c:v>3.736934462500948</c:v>
                </c:pt>
                <c:pt idx="5">
                  <c:v>7.649066797642436</c:v>
                </c:pt>
                <c:pt idx="6">
                  <c:v>6.294105813719571</c:v>
                </c:pt>
                <c:pt idx="7">
                  <c:v>15.085161964472325</c:v>
                </c:pt>
                <c:pt idx="8">
                  <c:v>3.9039225027791025</c:v>
                </c:pt>
                <c:pt idx="9">
                  <c:v>5.4269572235673875</c:v>
                </c:pt>
                <c:pt idx="10">
                  <c:v>6.09412528399871</c:v>
                </c:pt>
                <c:pt idx="11">
                  <c:v>7.85606060606060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0</c:v>
                </c:pt>
                <c:pt idx="1">
                  <c:v>Av Price/Unit 38.63</c:v>
                </c:pt>
                <c:pt idx="2">
                  <c:v>Av Price/Unit 24.83</c:v>
                </c:pt>
                <c:pt idx="3">
                  <c:v>Av Price/Unit 29.64</c:v>
                </c:pt>
                <c:pt idx="4">
                  <c:v>Av Price/Unit 45.24</c:v>
                </c:pt>
                <c:pt idx="5">
                  <c:v>Av Price/Unit 22.28</c:v>
                </c:pt>
                <c:pt idx="6">
                  <c:v>Av Price/Unit 31.12</c:v>
                </c:pt>
                <c:pt idx="7">
                  <c:v>Av Price/Unit 36.79</c:v>
                </c:pt>
                <c:pt idx="8">
                  <c:v>Av Price/Unit 89.37</c:v>
                </c:pt>
                <c:pt idx="9">
                  <c:v>Av Price/Unit 36.47</c:v>
                </c:pt>
                <c:pt idx="10">
                  <c:v>Av Price/Unit 23.29</c:v>
                </c:pt>
                <c:pt idx="11">
                  <c:v>Av Price/Unit 24.25</c:v>
                </c:pt>
              </c:strCache>
            </c:strRef>
          </c:cat>
          <c:val>
            <c:numRef>
              <c:f>Sheet1!$B$2:$B$13</c:f>
              <c:numCache>
                <c:formatCode>General</c:formatCode>
                <c:ptCount val="12"/>
                <c:pt idx="0">
                  <c:v>3.6054031585779196</c:v>
                </c:pt>
                <c:pt idx="1">
                  <c:v>13.317240000000002</c:v>
                </c:pt>
                <c:pt idx="2">
                  <c:v>5.343593413173653</c:v>
                </c:pt>
                <c:pt idx="3">
                  <c:v>11.740262325581394</c:v>
                </c:pt>
                <c:pt idx="4">
                  <c:v>10.715112500000002</c:v>
                </c:pt>
                <c:pt idx="5">
                  <c:v>9.177394206549119</c:v>
                </c:pt>
                <c:pt idx="6">
                  <c:v>12.083528388746803</c:v>
                </c:pt>
                <c:pt idx="7">
                  <c:v>14.03298192419825</c:v>
                </c:pt>
                <c:pt idx="8">
                  <c:v>32.528791549295775</c:v>
                </c:pt>
                <c:pt idx="9">
                  <c:v>13.165323404255318</c:v>
                </c:pt>
                <c:pt idx="10">
                  <c:v>9.352741685649203</c:v>
                </c:pt>
                <c:pt idx="11">
                  <c:v>9.3733999999999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0</c:v>
                </c:pt>
                <c:pt idx="1">
                  <c:v>Av Price/Unit 38.63</c:v>
                </c:pt>
                <c:pt idx="2">
                  <c:v>Av Price/Unit 24.83</c:v>
                </c:pt>
                <c:pt idx="3">
                  <c:v>Av Price/Unit 29.64</c:v>
                </c:pt>
                <c:pt idx="4">
                  <c:v>Av Price/Unit 45.24</c:v>
                </c:pt>
                <c:pt idx="5">
                  <c:v>Av Price/Unit 22.28</c:v>
                </c:pt>
                <c:pt idx="6">
                  <c:v>Av Price/Unit 31.12</c:v>
                </c:pt>
                <c:pt idx="7">
                  <c:v>Av Price/Unit 36.79</c:v>
                </c:pt>
                <c:pt idx="8">
                  <c:v>Av Price/Unit 89.37</c:v>
                </c:pt>
                <c:pt idx="9">
                  <c:v>Av Price/Unit 36.47</c:v>
                </c:pt>
                <c:pt idx="10">
                  <c:v>Av Price/Unit 23.29</c:v>
                </c:pt>
                <c:pt idx="11">
                  <c:v>Av Price/Unit 24.25</c:v>
                </c:pt>
              </c:strCache>
            </c:strRef>
          </c:cat>
          <c:val>
            <c:numRef>
              <c:f>Sheet1!$C$2:$C$13</c:f>
              <c:numCache>
                <c:formatCode>General</c:formatCode>
                <c:ptCount val="12"/>
                <c:pt idx="0">
                  <c:v>13.401637996682771</c:v>
                </c:pt>
                <c:pt idx="1">
                  <c:v>16.205999999999996</c:v>
                </c:pt>
                <c:pt idx="2">
                  <c:v>15.489706586826347</c:v>
                </c:pt>
                <c:pt idx="3">
                  <c:v>14.306874108527131</c:v>
                </c:pt>
                <c:pt idx="4">
                  <c:v>26.994239182692304</c:v>
                </c:pt>
                <c:pt idx="5">
                  <c:v>8.80165491183879</c:v>
                </c:pt>
                <c:pt idx="6">
                  <c:v>14.288093350383633</c:v>
                </c:pt>
                <c:pt idx="7">
                  <c:v>15.348693877551023</c:v>
                </c:pt>
                <c:pt idx="8">
                  <c:v>34.927</c:v>
                </c:pt>
                <c:pt idx="9">
                  <c:v>16.068489361702127</c:v>
                </c:pt>
                <c:pt idx="10">
                  <c:v>8.54062687927107</c:v>
                </c:pt>
                <c:pt idx="11">
                  <c:v>9.05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0</c:v>
                </c:pt>
                <c:pt idx="1">
                  <c:v>Av Price/Unit 38.63</c:v>
                </c:pt>
                <c:pt idx="2">
                  <c:v>Av Price/Unit 24.83</c:v>
                </c:pt>
                <c:pt idx="3">
                  <c:v>Av Price/Unit 29.64</c:v>
                </c:pt>
                <c:pt idx="4">
                  <c:v>Av Price/Unit 45.24</c:v>
                </c:pt>
                <c:pt idx="5">
                  <c:v>Av Price/Unit 22.28</c:v>
                </c:pt>
                <c:pt idx="6">
                  <c:v>Av Price/Unit 31.12</c:v>
                </c:pt>
                <c:pt idx="7">
                  <c:v>Av Price/Unit 36.79</c:v>
                </c:pt>
                <c:pt idx="8">
                  <c:v>Av Price/Unit 89.37</c:v>
                </c:pt>
                <c:pt idx="9">
                  <c:v>Av Price/Unit 36.47</c:v>
                </c:pt>
                <c:pt idx="10">
                  <c:v>Av Price/Unit 23.29</c:v>
                </c:pt>
                <c:pt idx="11">
                  <c:v>Av Price/Unit 24.25</c:v>
                </c:pt>
              </c:strCache>
            </c:strRef>
          </c:cat>
          <c:val>
            <c:numRef>
              <c:f>Sheet1!$D$2:$D$13</c:f>
              <c:numCache>
                <c:formatCode>General</c:formatCode>
                <c:ptCount val="12"/>
                <c:pt idx="0">
                  <c:v>0.6632672507872357</c:v>
                </c:pt>
                <c:pt idx="1">
                  <c:v>2.6677674374577514</c:v>
                </c:pt>
                <c:pt idx="2">
                  <c:v>-0.14405349301397052</c:v>
                </c:pt>
                <c:pt idx="3">
                  <c:v>-1.343432730404821</c:v>
                </c:pt>
                <c:pt idx="4">
                  <c:v>-0.013037580128205661</c:v>
                </c:pt>
                <c:pt idx="5">
                  <c:v>0.590430310663308</c:v>
                </c:pt>
                <c:pt idx="6">
                  <c:v>-0.4423804774083493</c:v>
                </c:pt>
                <c:pt idx="7">
                  <c:v>1.276730417881435</c:v>
                </c:pt>
                <c:pt idx="8">
                  <c:v>7.016039436619721</c:v>
                </c:pt>
                <c:pt idx="9">
                  <c:v>1.1592132387706897</c:v>
                </c:pt>
                <c:pt idx="10">
                  <c:v>1.5143298405466972</c:v>
                </c:pt>
                <c:pt idx="11">
                  <c:v>1.75970275689223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0</c:v>
                </c:pt>
                <c:pt idx="1">
                  <c:v>Av Price/Unit 38.63</c:v>
                </c:pt>
                <c:pt idx="2">
                  <c:v>Av Price/Unit 24.83</c:v>
                </c:pt>
                <c:pt idx="3">
                  <c:v>Av Price/Unit 29.64</c:v>
                </c:pt>
                <c:pt idx="4">
                  <c:v>Av Price/Unit 45.24</c:v>
                </c:pt>
                <c:pt idx="5">
                  <c:v>Av Price/Unit 22.28</c:v>
                </c:pt>
                <c:pt idx="6">
                  <c:v>Av Price/Unit 31.12</c:v>
                </c:pt>
                <c:pt idx="7">
                  <c:v>Av Price/Unit 36.79</c:v>
                </c:pt>
                <c:pt idx="8">
                  <c:v>Av Price/Unit 89.37</c:v>
                </c:pt>
                <c:pt idx="9">
                  <c:v>Av Price/Unit 36.47</c:v>
                </c:pt>
                <c:pt idx="10">
                  <c:v>Av Price/Unit 23.29</c:v>
                </c:pt>
                <c:pt idx="11">
                  <c:v>Av Price/Unit 24.25</c:v>
                </c:pt>
              </c:strCache>
            </c:strRef>
          </c:cat>
          <c:val>
            <c:numRef>
              <c:f>Sheet1!$E$2:$E$13</c:f>
              <c:numCache>
                <c:formatCode>General</c:formatCode>
                <c:ptCount val="12"/>
                <c:pt idx="0">
                  <c:v>3.5340616812095864</c:v>
                </c:pt>
                <c:pt idx="1">
                  <c:v>6.438201487491544</c:v>
                </c:pt>
                <c:pt idx="2">
                  <c:v>4.137849301397204</c:v>
                </c:pt>
                <c:pt idx="3">
                  <c:v>4.940740740740738</c:v>
                </c:pt>
                <c:pt idx="4">
                  <c:v>7.539262820512818</c:v>
                </c:pt>
                <c:pt idx="5">
                  <c:v>3.713895885810242</c:v>
                </c:pt>
                <c:pt idx="6">
                  <c:v>5.185848252344415</c:v>
                </c:pt>
                <c:pt idx="7">
                  <c:v>6.131681243926145</c:v>
                </c:pt>
                <c:pt idx="8">
                  <c:v>14.894366197183086</c:v>
                </c:pt>
                <c:pt idx="9">
                  <c:v>6.078605200945624</c:v>
                </c:pt>
                <c:pt idx="10">
                  <c:v>3.8815489749430525</c:v>
                </c:pt>
                <c:pt idx="11">
                  <c:v>4.03822055137844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1.25</c:v>
                </c:pt>
                <c:pt idx="1">
                  <c:v>Av Price/Unit 39.13</c:v>
                </c:pt>
                <c:pt idx="2">
                  <c:v>Av Price/Unit 25.23</c:v>
                </c:pt>
                <c:pt idx="3">
                  <c:v>Av Price/Unit 31.40</c:v>
                </c:pt>
                <c:pt idx="4">
                  <c:v>Av Price/Unit 47.23</c:v>
                </c:pt>
                <c:pt idx="5">
                  <c:v>Av Price/Unit 92.71</c:v>
                </c:pt>
                <c:pt idx="6">
                  <c:v>Av Price/Unit 37.36</c:v>
                </c:pt>
                <c:pt idx="7">
                  <c:v>Av Price/Unit 23.27</c:v>
                </c:pt>
                <c:pt idx="8">
                  <c:v>Av Price/Unit 24.94</c:v>
                </c:pt>
                <c:pt idx="9">
                  <c:v>Av Price/Unit 37.44</c:v>
                </c:pt>
                <c:pt idx="10">
                  <c:v>Av Price/Unit 24.84</c:v>
                </c:pt>
              </c:strCache>
            </c:strRef>
          </c:cat>
          <c:val>
            <c:numRef>
              <c:f>Sheet1!$B$2:$B$12</c:f>
              <c:numCache>
                <c:formatCode>General</c:formatCode>
                <c:ptCount val="11"/>
                <c:pt idx="0">
                  <c:v>3.6134988670970882</c:v>
                </c:pt>
                <c:pt idx="1">
                  <c:v>13.3454</c:v>
                </c:pt>
                <c:pt idx="2">
                  <c:v>5.366390566037736</c:v>
                </c:pt>
                <c:pt idx="3">
                  <c:v>11.747198466257668</c:v>
                </c:pt>
                <c:pt idx="4">
                  <c:v>10.73075172413793</c:v>
                </c:pt>
                <c:pt idx="5">
                  <c:v>32.59877894736843</c:v>
                </c:pt>
                <c:pt idx="6">
                  <c:v>14.107096875</c:v>
                </c:pt>
                <c:pt idx="7">
                  <c:v>8.978691176470585</c:v>
                </c:pt>
                <c:pt idx="8">
                  <c:v>9.375662650602411</c:v>
                </c:pt>
                <c:pt idx="9">
                  <c:v>13.322600000000001</c:v>
                </c:pt>
                <c:pt idx="10">
                  <c:v>9.3733999999999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1.25</c:v>
                </c:pt>
                <c:pt idx="1">
                  <c:v>Av Price/Unit 39.13</c:v>
                </c:pt>
                <c:pt idx="2">
                  <c:v>Av Price/Unit 25.23</c:v>
                </c:pt>
                <c:pt idx="3">
                  <c:v>Av Price/Unit 31.40</c:v>
                </c:pt>
                <c:pt idx="4">
                  <c:v>Av Price/Unit 47.23</c:v>
                </c:pt>
                <c:pt idx="5">
                  <c:v>Av Price/Unit 92.71</c:v>
                </c:pt>
                <c:pt idx="6">
                  <c:v>Av Price/Unit 37.36</c:v>
                </c:pt>
                <c:pt idx="7">
                  <c:v>Av Price/Unit 23.27</c:v>
                </c:pt>
                <c:pt idx="8">
                  <c:v>Av Price/Unit 24.94</c:v>
                </c:pt>
                <c:pt idx="9">
                  <c:v>Av Price/Unit 37.44</c:v>
                </c:pt>
                <c:pt idx="10">
                  <c:v>Av Price/Unit 24.84</c:v>
                </c:pt>
              </c:strCache>
            </c:strRef>
          </c:cat>
          <c:val>
            <c:numRef>
              <c:f>Sheet1!$C$2:$C$12</c:f>
              <c:numCache>
                <c:formatCode>General</c:formatCode>
                <c:ptCount val="11"/>
                <c:pt idx="0">
                  <c:v>13.388868595444023</c:v>
                </c:pt>
                <c:pt idx="1">
                  <c:v>16.206</c:v>
                </c:pt>
                <c:pt idx="2">
                  <c:v>15.466909433962263</c:v>
                </c:pt>
                <c:pt idx="3">
                  <c:v>14.308320858895705</c:v>
                </c:pt>
                <c:pt idx="4">
                  <c:v>26.946465517241382</c:v>
                </c:pt>
                <c:pt idx="5">
                  <c:v>34.927</c:v>
                </c:pt>
                <c:pt idx="6">
                  <c:v>15.344281249999998</c:v>
                </c:pt>
                <c:pt idx="7">
                  <c:v>8.84285294117647</c:v>
                </c:pt>
                <c:pt idx="8">
                  <c:v>8.538853012048193</c:v>
                </c:pt>
                <c:pt idx="9">
                  <c:v>16.057</c:v>
                </c:pt>
                <c:pt idx="10">
                  <c:v>9.05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1.25</c:v>
                </c:pt>
                <c:pt idx="1">
                  <c:v>Av Price/Unit 39.13</c:v>
                </c:pt>
                <c:pt idx="2">
                  <c:v>Av Price/Unit 25.23</c:v>
                </c:pt>
                <c:pt idx="3">
                  <c:v>Av Price/Unit 31.40</c:v>
                </c:pt>
                <c:pt idx="4">
                  <c:v>Av Price/Unit 47.23</c:v>
                </c:pt>
                <c:pt idx="5">
                  <c:v>Av Price/Unit 92.71</c:v>
                </c:pt>
                <c:pt idx="6">
                  <c:v>Av Price/Unit 37.36</c:v>
                </c:pt>
                <c:pt idx="7">
                  <c:v>Av Price/Unit 23.27</c:v>
                </c:pt>
                <c:pt idx="8">
                  <c:v>Av Price/Unit 24.94</c:v>
                </c:pt>
                <c:pt idx="9">
                  <c:v>Av Price/Unit 37.44</c:v>
                </c:pt>
                <c:pt idx="10">
                  <c:v>Av Price/Unit 24.84</c:v>
                </c:pt>
              </c:strCache>
            </c:strRef>
          </c:cat>
          <c:val>
            <c:numRef>
              <c:f>Sheet1!$D$2:$D$12</c:f>
              <c:numCache>
                <c:formatCode>General</c:formatCode>
                <c:ptCount val="11"/>
                <c:pt idx="0">
                  <c:v>0.7075647257075524</c:v>
                </c:pt>
                <c:pt idx="1">
                  <c:v>3.0575324618736346</c:v>
                </c:pt>
                <c:pt idx="2">
                  <c:v>0.19342955974842724</c:v>
                </c:pt>
                <c:pt idx="3">
                  <c:v>0.11523732106339324</c:v>
                </c:pt>
                <c:pt idx="4">
                  <c:v>1.6810203065134104</c:v>
                </c:pt>
                <c:pt idx="5">
                  <c:v>9.732992982456125</c:v>
                </c:pt>
                <c:pt idx="6">
                  <c:v>1.6814343750000056</c:v>
                </c:pt>
                <c:pt idx="7">
                  <c:v>1.5738807189542463</c:v>
                </c:pt>
                <c:pt idx="8">
                  <c:v>2.868573493975905</c:v>
                </c:pt>
                <c:pt idx="9">
                  <c:v>1.818316666666668</c:v>
                </c:pt>
                <c:pt idx="10">
                  <c:v>2.16582222222222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1.25</c:v>
                </c:pt>
                <c:pt idx="1">
                  <c:v>Av Price/Unit 39.13</c:v>
                </c:pt>
                <c:pt idx="2">
                  <c:v>Av Price/Unit 25.23</c:v>
                </c:pt>
                <c:pt idx="3">
                  <c:v>Av Price/Unit 31.40</c:v>
                </c:pt>
                <c:pt idx="4">
                  <c:v>Av Price/Unit 47.23</c:v>
                </c:pt>
                <c:pt idx="5">
                  <c:v>Av Price/Unit 92.71</c:v>
                </c:pt>
                <c:pt idx="6">
                  <c:v>Av Price/Unit 37.36</c:v>
                </c:pt>
                <c:pt idx="7">
                  <c:v>Av Price/Unit 23.27</c:v>
                </c:pt>
                <c:pt idx="8">
                  <c:v>Av Price/Unit 24.94</c:v>
                </c:pt>
                <c:pt idx="9">
                  <c:v>Av Price/Unit 37.44</c:v>
                </c:pt>
                <c:pt idx="10">
                  <c:v>Av Price/Unit 24.84</c:v>
                </c:pt>
              </c:strCache>
            </c:strRef>
          </c:cat>
          <c:val>
            <c:numRef>
              <c:f>Sheet1!$E$2:$E$12</c:f>
              <c:numCache>
                <c:formatCode>General</c:formatCode>
                <c:ptCount val="11"/>
                <c:pt idx="0">
                  <c:v>3.5419864376497365</c:v>
                </c:pt>
                <c:pt idx="1">
                  <c:v>6.521786492374732</c:v>
                </c:pt>
                <c:pt idx="2">
                  <c:v>4.205345911949683</c:v>
                </c:pt>
                <c:pt idx="3">
                  <c:v>5.23415132924335</c:v>
                </c:pt>
                <c:pt idx="4">
                  <c:v>7.8716475095785405</c:v>
                </c:pt>
                <c:pt idx="5">
                  <c:v>15.45175438596491</c:v>
                </c:pt>
                <c:pt idx="6">
                  <c:v>6.2265624999999964</c:v>
                </c:pt>
                <c:pt idx="7">
                  <c:v>3.87908496732026</c:v>
                </c:pt>
                <c:pt idx="8">
                  <c:v>4.156626506024097</c:v>
                </c:pt>
                <c:pt idx="9">
                  <c:v>6.239583333333333</c:v>
                </c:pt>
                <c:pt idx="10">
                  <c:v>4.11944444444444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BDDDC67-2FEF-496C-A80D-AAF0EDAB3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DCBBBA7-6B31-4147-BC5D-7E6354777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3532D8C-780F-466A-BB1C-B4B58EF8B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D8BAB85-4899-4B28-AEE6-2A4635E8B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3163C63-40DD-4448-B686-EC21BF848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16D15CE-7AB3-4F3D-945D-07F2F36F0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12A3225-E201-4462-A9A8-5781EA52E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0C529FE-4F17-400E-A9CD-88E88B848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78.5621</c:v>
                </c:pt>
                <c:pt idx="1">
                  <c:v>79.2963</c:v>
                </c:pt>
                <c:pt idx="2">
                  <c:v>79.1485</c:v>
                </c:pt>
                <c:pt idx="3">
                  <c:v>85.446</c:v>
                </c:pt>
                <c:pt idx="4">
                  <c:v>75.3639</c:v>
                </c:pt>
              </c:numCache>
            </c:numRef>
          </c:xVal>
          <c:yVal>
            <c:numRef>
              <c:f>Sheet1!$B$2:$B$6</c:f>
              <c:numCache>
                <c:formatCode>General</c:formatCode>
                <c:ptCount val="5"/>
                <c:pt idx="0">
                  <c:v>0.4027</c:v>
                </c:pt>
                <c:pt idx="1">
                  <c:v>0.4043</c:v>
                </c:pt>
                <c:pt idx="2">
                  <c:v>0.4042</c:v>
                </c:pt>
                <c:pt idx="3">
                  <c:v>0.4015</c:v>
                </c:pt>
                <c:pt idx="4">
                  <c:v>0.406</c:v>
                </c:pt>
              </c:numCache>
            </c:numRef>
          </c:yVal>
          <c:bubbleSize>
            <c:numRef>
              <c:f>Sheet1!$C$2:$C$6</c:f>
              <c:numCache>
                <c:formatCode>General</c:formatCode>
                <c:ptCount val="5"/>
                <c:pt idx="0">
                  <c:v>1401312.8086999997</c:v>
                </c:pt>
                <c:pt idx="1">
                  <c:v>805888.1331000006</c:v>
                </c:pt>
                <c:pt idx="2">
                  <c:v>1110690.3508000015</c:v>
                </c:pt>
                <c:pt idx="3">
                  <c:v>2246888.146200001</c:v>
                </c:pt>
                <c:pt idx="4">
                  <c:v>1006108.158600000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02.53519999999999"/>
          <c:min val="60.29112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32447281868764"/>
        <c:crossBetween val="midCat"/>
      </c:valAx>
      <c:valAx>
        <c:axId val="1011451359"/>
        <c:scaling>
          <c:orientation val="minMax"/>
          <c:max val="0.8472"/>
          <c:min val="0.081200000000000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0.6154923135683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67</c:v>
                </c:pt>
                <c:pt idx="2">
                  <c:v>Av Price/Unit 25.10</c:v>
                </c:pt>
                <c:pt idx="3">
                  <c:v>Av Price/Unit 31.63</c:v>
                </c:pt>
                <c:pt idx="4">
                  <c:v>Av Price/Unit 22.47</c:v>
                </c:pt>
                <c:pt idx="5">
                  <c:v>Av Price/Unit 46.30</c:v>
                </c:pt>
                <c:pt idx="6">
                  <c:v>Av Price/Unit 39.11</c:v>
                </c:pt>
                <c:pt idx="7">
                  <c:v>Av Price/Unit 23.43</c:v>
                </c:pt>
                <c:pt idx="8">
                  <c:v>Av Price/Unit 47.07</c:v>
                </c:pt>
                <c:pt idx="9">
                  <c:v>Av Price/Unit 92.19</c:v>
                </c:pt>
                <c:pt idx="10">
                  <c:v>Av Price/Unit 34.70</c:v>
                </c:pt>
                <c:pt idx="11">
                  <c:v>Av Price/Unit 24.39</c:v>
                </c:pt>
              </c:strCache>
            </c:strRef>
          </c:cat>
          <c:val>
            <c:numRef>
              <c:f>Sheet1!$B$2:$B$13</c:f>
              <c:numCache>
                <c:formatCode>General</c:formatCode>
                <c:ptCount val="12"/>
                <c:pt idx="0">
                  <c:v>3.603317908750651</c:v>
                </c:pt>
                <c:pt idx="1">
                  <c:v>13.308875510204084</c:v>
                </c:pt>
                <c:pt idx="2">
                  <c:v>5.354659464627152</c:v>
                </c:pt>
                <c:pt idx="3">
                  <c:v>11.829621929824562</c:v>
                </c:pt>
                <c:pt idx="4">
                  <c:v>9.349110749185666</c:v>
                </c:pt>
                <c:pt idx="5">
                  <c:v>10.713611764705881</c:v>
                </c:pt>
                <c:pt idx="6">
                  <c:v>14.302295744680851</c:v>
                </c:pt>
                <c:pt idx="7">
                  <c:v>9.335096393442623</c:v>
                </c:pt>
                <c:pt idx="8">
                  <c:v>17.406</c:v>
                </c:pt>
                <c:pt idx="9">
                  <c:v>32.42700740740741</c:v>
                </c:pt>
                <c:pt idx="10">
                  <c:v>11.773234782608695</c:v>
                </c:pt>
                <c:pt idx="11">
                  <c:v>9.373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67</c:v>
                </c:pt>
                <c:pt idx="2">
                  <c:v>Av Price/Unit 25.10</c:v>
                </c:pt>
                <c:pt idx="3">
                  <c:v>Av Price/Unit 31.63</c:v>
                </c:pt>
                <c:pt idx="4">
                  <c:v>Av Price/Unit 22.47</c:v>
                </c:pt>
                <c:pt idx="5">
                  <c:v>Av Price/Unit 46.30</c:v>
                </c:pt>
                <c:pt idx="6">
                  <c:v>Av Price/Unit 39.11</c:v>
                </c:pt>
                <c:pt idx="7">
                  <c:v>Av Price/Unit 23.43</c:v>
                </c:pt>
                <c:pt idx="8">
                  <c:v>Av Price/Unit 47.07</c:v>
                </c:pt>
                <c:pt idx="9">
                  <c:v>Av Price/Unit 92.19</c:v>
                </c:pt>
                <c:pt idx="10">
                  <c:v>Av Price/Unit 34.70</c:v>
                </c:pt>
                <c:pt idx="11">
                  <c:v>Av Price/Unit 24.39</c:v>
                </c:pt>
              </c:strCache>
            </c:strRef>
          </c:cat>
          <c:val>
            <c:numRef>
              <c:f>Sheet1!$C$2:$C$13</c:f>
              <c:numCache>
                <c:formatCode>General</c:formatCode>
                <c:ptCount val="12"/>
                <c:pt idx="0">
                  <c:v>13.404927071587625</c:v>
                </c:pt>
                <c:pt idx="1">
                  <c:v>16.206</c:v>
                </c:pt>
                <c:pt idx="2">
                  <c:v>15.47864053537285</c:v>
                </c:pt>
                <c:pt idx="3">
                  <c:v>14.325512865497075</c:v>
                </c:pt>
                <c:pt idx="4">
                  <c:v>8.766052117263843</c:v>
                </c:pt>
                <c:pt idx="5">
                  <c:v>26.998823529411762</c:v>
                </c:pt>
                <c:pt idx="6">
                  <c:v>15.332659574468085</c:v>
                </c:pt>
                <c:pt idx="7">
                  <c:v>8.541992459016395</c:v>
                </c:pt>
                <c:pt idx="8">
                  <c:v>21.344</c:v>
                </c:pt>
                <c:pt idx="9">
                  <c:v>34.927</c:v>
                </c:pt>
                <c:pt idx="10">
                  <c:v>14.312226086956521</c:v>
                </c:pt>
                <c:pt idx="11">
                  <c:v>9.05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67</c:v>
                </c:pt>
                <c:pt idx="2">
                  <c:v>Av Price/Unit 25.10</c:v>
                </c:pt>
                <c:pt idx="3">
                  <c:v>Av Price/Unit 31.63</c:v>
                </c:pt>
                <c:pt idx="4">
                  <c:v>Av Price/Unit 22.47</c:v>
                </c:pt>
                <c:pt idx="5">
                  <c:v>Av Price/Unit 46.30</c:v>
                </c:pt>
                <c:pt idx="6">
                  <c:v>Av Price/Unit 39.11</c:v>
                </c:pt>
                <c:pt idx="7">
                  <c:v>Av Price/Unit 23.43</c:v>
                </c:pt>
                <c:pt idx="8">
                  <c:v>Av Price/Unit 47.07</c:v>
                </c:pt>
                <c:pt idx="9">
                  <c:v>Av Price/Unit 92.19</c:v>
                </c:pt>
                <c:pt idx="10">
                  <c:v>Av Price/Unit 34.70</c:v>
                </c:pt>
                <c:pt idx="11">
                  <c:v>Av Price/Unit 24.39</c:v>
                </c:pt>
              </c:strCache>
            </c:strRef>
          </c:cat>
          <c:val>
            <c:numRef>
              <c:f>Sheet1!$D$2:$D$13</c:f>
              <c:numCache>
                <c:formatCode>General</c:formatCode>
                <c:ptCount val="12"/>
                <c:pt idx="0">
                  <c:v>0.7623998294404721</c:v>
                </c:pt>
                <c:pt idx="1">
                  <c:v>2.706012845138055</c:v>
                </c:pt>
                <c:pt idx="2">
                  <c:v>0.08049859783301727</c:v>
                </c:pt>
                <c:pt idx="3">
                  <c:v>0.20329600389863245</c:v>
                </c:pt>
                <c:pt idx="4">
                  <c:v>0.6090499457111846</c:v>
                </c:pt>
                <c:pt idx="5">
                  <c:v>0.8700810457516397</c:v>
                </c:pt>
                <c:pt idx="6">
                  <c:v>2.9536971631205766</c:v>
                </c:pt>
                <c:pt idx="7">
                  <c:v>1.6447202185792378</c:v>
                </c:pt>
                <c:pt idx="8">
                  <c:v>0.6515151515151558</c:v>
                </c:pt>
                <c:pt idx="9">
                  <c:v>9.466980246913593</c:v>
                </c:pt>
                <c:pt idx="10">
                  <c:v>2.8348289855072473</c:v>
                </c:pt>
                <c:pt idx="11">
                  <c:v>1.836089711934157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67</c:v>
                </c:pt>
                <c:pt idx="2">
                  <c:v>Av Price/Unit 25.10</c:v>
                </c:pt>
                <c:pt idx="3">
                  <c:v>Av Price/Unit 31.63</c:v>
                </c:pt>
                <c:pt idx="4">
                  <c:v>Av Price/Unit 22.47</c:v>
                </c:pt>
                <c:pt idx="5">
                  <c:v>Av Price/Unit 46.30</c:v>
                </c:pt>
                <c:pt idx="6">
                  <c:v>Av Price/Unit 39.11</c:v>
                </c:pt>
                <c:pt idx="7">
                  <c:v>Av Price/Unit 23.43</c:v>
                </c:pt>
                <c:pt idx="8">
                  <c:v>Av Price/Unit 47.07</c:v>
                </c:pt>
                <c:pt idx="9">
                  <c:v>Av Price/Unit 92.19</c:v>
                </c:pt>
                <c:pt idx="10">
                  <c:v>Av Price/Unit 34.70</c:v>
                </c:pt>
                <c:pt idx="11">
                  <c:v>Av Price/Unit 24.39</c:v>
                </c:pt>
              </c:strCache>
            </c:strRef>
          </c:cat>
          <c:val>
            <c:numRef>
              <c:f>Sheet1!$E$2:$E$13</c:f>
              <c:numCache>
                <c:formatCode>General</c:formatCode>
                <c:ptCount val="12"/>
                <c:pt idx="0">
                  <c:v>3.5541289619557466</c:v>
                </c:pt>
                <c:pt idx="1">
                  <c:v>6.444177671068427</c:v>
                </c:pt>
                <c:pt idx="2">
                  <c:v>4.182759719566601</c:v>
                </c:pt>
                <c:pt idx="3">
                  <c:v>5.2716861598440525</c:v>
                </c:pt>
                <c:pt idx="4">
                  <c:v>3.7448425624321398</c:v>
                </c:pt>
                <c:pt idx="5">
                  <c:v>7.716503267973853</c:v>
                </c:pt>
                <c:pt idx="6">
                  <c:v>6.517730496453894</c:v>
                </c:pt>
                <c:pt idx="7">
                  <c:v>3.9043715846994496</c:v>
                </c:pt>
                <c:pt idx="8">
                  <c:v>7.880303030303027</c:v>
                </c:pt>
                <c:pt idx="9">
                  <c:v>15.364197530864187</c:v>
                </c:pt>
                <c:pt idx="10">
                  <c:v>5.784057971014492</c:v>
                </c:pt>
                <c:pt idx="11">
                  <c:v>4.0534979423868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55</c:v>
                </c:pt>
                <c:pt idx="2">
                  <c:v>Av Price/Unit 25.02</c:v>
                </c:pt>
                <c:pt idx="3">
                  <c:v>Av Price/Unit 30.17</c:v>
                </c:pt>
                <c:pt idx="4">
                  <c:v>Av Price/Unit 22.24</c:v>
                </c:pt>
                <c:pt idx="5">
                  <c:v>Av Price/Unit 45.45</c:v>
                </c:pt>
                <c:pt idx="6">
                  <c:v>Av Price/Unit 37.23</c:v>
                </c:pt>
                <c:pt idx="7">
                  <c:v>Av Price/Unit 87.29</c:v>
                </c:pt>
                <c:pt idx="8">
                  <c:v>Av Price/Unit 23.01</c:v>
                </c:pt>
                <c:pt idx="9">
                  <c:v>Av Price/Unit 36.13</c:v>
                </c:pt>
                <c:pt idx="10">
                  <c:v>Av Price/Unit 32.02</c:v>
                </c:pt>
                <c:pt idx="11">
                  <c:v>Av Price/Unit 46.35</c:v>
                </c:pt>
              </c:strCache>
            </c:strRef>
          </c:cat>
          <c:val>
            <c:numRef>
              <c:f>Sheet1!$B$2:$B$13</c:f>
              <c:numCache>
                <c:formatCode>General</c:formatCode>
                <c:ptCount val="12"/>
                <c:pt idx="0">
                  <c:v>3.599331757082627</c:v>
                </c:pt>
                <c:pt idx="1">
                  <c:v>13.304264445399827</c:v>
                </c:pt>
                <c:pt idx="2">
                  <c:v>5.332121458983821</c:v>
                </c:pt>
                <c:pt idx="3">
                  <c:v>11.748371183533449</c:v>
                </c:pt>
                <c:pt idx="4">
                  <c:v>9.25948137059215</c:v>
                </c:pt>
                <c:pt idx="5">
                  <c:v>10.708149462365592</c:v>
                </c:pt>
                <c:pt idx="6">
                  <c:v>14.223794805194805</c:v>
                </c:pt>
                <c:pt idx="7">
                  <c:v>32.502628780487804</c:v>
                </c:pt>
                <c:pt idx="8">
                  <c:v>9.299364577656677</c:v>
                </c:pt>
                <c:pt idx="9">
                  <c:v>12.933075471698114</c:v>
                </c:pt>
                <c:pt idx="10">
                  <c:v>12.045812987012987</c:v>
                </c:pt>
                <c:pt idx="11">
                  <c:v>17.40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55</c:v>
                </c:pt>
                <c:pt idx="2">
                  <c:v>Av Price/Unit 25.02</c:v>
                </c:pt>
                <c:pt idx="3">
                  <c:v>Av Price/Unit 30.17</c:v>
                </c:pt>
                <c:pt idx="4">
                  <c:v>Av Price/Unit 22.24</c:v>
                </c:pt>
                <c:pt idx="5">
                  <c:v>Av Price/Unit 45.45</c:v>
                </c:pt>
                <c:pt idx="6">
                  <c:v>Av Price/Unit 37.23</c:v>
                </c:pt>
                <c:pt idx="7">
                  <c:v>Av Price/Unit 87.29</c:v>
                </c:pt>
                <c:pt idx="8">
                  <c:v>Av Price/Unit 23.01</c:v>
                </c:pt>
                <c:pt idx="9">
                  <c:v>Av Price/Unit 36.13</c:v>
                </c:pt>
                <c:pt idx="10">
                  <c:v>Av Price/Unit 32.02</c:v>
                </c:pt>
                <c:pt idx="11">
                  <c:v>Av Price/Unit 46.35</c:v>
                </c:pt>
              </c:strCache>
            </c:strRef>
          </c:cat>
          <c:val>
            <c:numRef>
              <c:f>Sheet1!$C$2:$C$13</c:f>
              <c:numCache>
                <c:formatCode>General</c:formatCode>
                <c:ptCount val="12"/>
                <c:pt idx="0">
                  <c:v>13.411214448403008</c:v>
                </c:pt>
                <c:pt idx="1">
                  <c:v>16.206</c:v>
                </c:pt>
                <c:pt idx="2">
                  <c:v>15.50117854101618</c:v>
                </c:pt>
                <c:pt idx="3">
                  <c:v>14.30856546598056</c:v>
                </c:pt>
                <c:pt idx="4">
                  <c:v>8.784635395874917</c:v>
                </c:pt>
                <c:pt idx="5">
                  <c:v>27.01550940860215</c:v>
                </c:pt>
                <c:pt idx="6">
                  <c:v>15.337333333333332</c:v>
                </c:pt>
                <c:pt idx="7">
                  <c:v>34.92700000000001</c:v>
                </c:pt>
                <c:pt idx="8">
                  <c:v>8.544757765667576</c:v>
                </c:pt>
                <c:pt idx="9">
                  <c:v>16.08545552560647</c:v>
                </c:pt>
                <c:pt idx="10">
                  <c:v>14.291026623376624</c:v>
                </c:pt>
                <c:pt idx="11">
                  <c:v>21.34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55</c:v>
                </c:pt>
                <c:pt idx="2">
                  <c:v>Av Price/Unit 25.02</c:v>
                </c:pt>
                <c:pt idx="3">
                  <c:v>Av Price/Unit 30.17</c:v>
                </c:pt>
                <c:pt idx="4">
                  <c:v>Av Price/Unit 22.24</c:v>
                </c:pt>
                <c:pt idx="5">
                  <c:v>Av Price/Unit 45.45</c:v>
                </c:pt>
                <c:pt idx="6">
                  <c:v>Av Price/Unit 37.23</c:v>
                </c:pt>
                <c:pt idx="7">
                  <c:v>Av Price/Unit 87.29</c:v>
                </c:pt>
                <c:pt idx="8">
                  <c:v>Av Price/Unit 23.01</c:v>
                </c:pt>
                <c:pt idx="9">
                  <c:v>Av Price/Unit 36.13</c:v>
                </c:pt>
                <c:pt idx="10">
                  <c:v>Av Price/Unit 32.02</c:v>
                </c:pt>
                <c:pt idx="11">
                  <c:v>Av Price/Unit 46.35</c:v>
                </c:pt>
              </c:strCache>
            </c:strRef>
          </c:cat>
          <c:val>
            <c:numRef>
              <c:f>Sheet1!$D$2:$D$13</c:f>
              <c:numCache>
                <c:formatCode>General</c:formatCode>
                <c:ptCount val="12"/>
                <c:pt idx="0">
                  <c:v>0.7539729848935082</c:v>
                </c:pt>
                <c:pt idx="1">
                  <c:v>2.614628073946694</c:v>
                </c:pt>
                <c:pt idx="2">
                  <c:v>0.017064272873501096</c:v>
                </c:pt>
                <c:pt idx="3">
                  <c:v>-0.919238917476644</c:v>
                </c:pt>
                <c:pt idx="4">
                  <c:v>0.48576790862718866</c:v>
                </c:pt>
                <c:pt idx="5">
                  <c:v>0.1541786439665458</c:v>
                </c:pt>
                <c:pt idx="6">
                  <c:v>1.4597953823953915</c:v>
                </c:pt>
                <c:pt idx="7">
                  <c:v>5.312241138211391</c:v>
                </c:pt>
                <c:pt idx="8">
                  <c:v>1.329302633969121</c:v>
                </c:pt>
                <c:pt idx="9">
                  <c:v>1.0904088050314478</c:v>
                </c:pt>
                <c:pt idx="10">
                  <c:v>0.35038982683982667</c:v>
                </c:pt>
                <c:pt idx="11">
                  <c:v>-0.1429063360881457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55</c:v>
                </c:pt>
                <c:pt idx="2">
                  <c:v>Av Price/Unit 25.02</c:v>
                </c:pt>
                <c:pt idx="3">
                  <c:v>Av Price/Unit 30.17</c:v>
                </c:pt>
                <c:pt idx="4">
                  <c:v>Av Price/Unit 22.24</c:v>
                </c:pt>
                <c:pt idx="5">
                  <c:v>Av Price/Unit 45.45</c:v>
                </c:pt>
                <c:pt idx="6">
                  <c:v>Av Price/Unit 37.23</c:v>
                </c:pt>
                <c:pt idx="7">
                  <c:v>Av Price/Unit 87.29</c:v>
                </c:pt>
                <c:pt idx="8">
                  <c:v>Av Price/Unit 23.01</c:v>
                </c:pt>
                <c:pt idx="9">
                  <c:v>Av Price/Unit 36.13</c:v>
                </c:pt>
                <c:pt idx="10">
                  <c:v>Av Price/Unit 32.02</c:v>
                </c:pt>
                <c:pt idx="11">
                  <c:v>Av Price/Unit 46.35</c:v>
                </c:pt>
              </c:strCache>
            </c:strRef>
          </c:cat>
          <c:val>
            <c:numRef>
              <c:f>Sheet1!$E$2:$E$13</c:f>
              <c:numCache>
                <c:formatCode>General</c:formatCode>
                <c:ptCount val="12"/>
                <c:pt idx="0">
                  <c:v>3.552903838075828</c:v>
                </c:pt>
                <c:pt idx="1">
                  <c:v>6.4249785038692995</c:v>
                </c:pt>
                <c:pt idx="2">
                  <c:v>4.170072854574697</c:v>
                </c:pt>
                <c:pt idx="3">
                  <c:v>5.027539546407465</c:v>
                </c:pt>
                <c:pt idx="4">
                  <c:v>3.7059769350188505</c:v>
                </c:pt>
                <c:pt idx="5">
                  <c:v>7.575567502986853</c:v>
                </c:pt>
                <c:pt idx="6">
                  <c:v>6.2041847041847</c:v>
                </c:pt>
                <c:pt idx="7">
                  <c:v>14.548373983739834</c:v>
                </c:pt>
                <c:pt idx="8">
                  <c:v>3.834695731153496</c:v>
                </c:pt>
                <c:pt idx="9">
                  <c:v>6.021787960467202</c:v>
                </c:pt>
                <c:pt idx="10">
                  <c:v>5.337445887445885</c:v>
                </c:pt>
                <c:pt idx="11">
                  <c:v>7.721418732782364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6</c:v>
                </c:pt>
                <c:pt idx="1">
                  <c:v>Av Price/Unit 25.17</c:v>
                </c:pt>
                <c:pt idx="2">
                  <c:v>Av Price/Unit 32.29</c:v>
                </c:pt>
                <c:pt idx="3">
                  <c:v>Av Price/Unit 39.20</c:v>
                </c:pt>
                <c:pt idx="4">
                  <c:v>Av Price/Unit 46.06</c:v>
                </c:pt>
                <c:pt idx="5">
                  <c:v>Av Price/Unit 22.75</c:v>
                </c:pt>
                <c:pt idx="6">
                  <c:v>Av Price/Unit 92.43</c:v>
                </c:pt>
                <c:pt idx="7">
                  <c:v>Av Price/Unit 35.72</c:v>
                </c:pt>
                <c:pt idx="8">
                  <c:v>Av Price/Unit 37.74</c:v>
                </c:pt>
                <c:pt idx="9">
                  <c:v>Av Price/Unit 24.44</c:v>
                </c:pt>
                <c:pt idx="10">
                  <c:v>Av Price/Unit 35.62</c:v>
                </c:pt>
                <c:pt idx="11">
                  <c:v>Av Price/Unit 48.75</c:v>
                </c:pt>
              </c:strCache>
            </c:strRef>
          </c:cat>
          <c:val>
            <c:numRef>
              <c:f>Sheet1!$B$2:$B$13</c:f>
              <c:numCache>
                <c:formatCode>General</c:formatCode>
                <c:ptCount val="12"/>
                <c:pt idx="0">
                  <c:v>3.614221763445979</c:v>
                </c:pt>
                <c:pt idx="1">
                  <c:v>5.361568328445747</c:v>
                </c:pt>
                <c:pt idx="2">
                  <c:v>11.804665922920892</c:v>
                </c:pt>
                <c:pt idx="3">
                  <c:v>13.301770960187355</c:v>
                </c:pt>
                <c:pt idx="4">
                  <c:v>10.71755</c:v>
                </c:pt>
                <c:pt idx="5">
                  <c:v>9.09778076923077</c:v>
                </c:pt>
                <c:pt idx="6">
                  <c:v>32.58315283018868</c:v>
                </c:pt>
                <c:pt idx="7">
                  <c:v>13.964295</c:v>
                </c:pt>
                <c:pt idx="8">
                  <c:v>13.021444444444443</c:v>
                </c:pt>
                <c:pt idx="9">
                  <c:v>9.416963779527558</c:v>
                </c:pt>
                <c:pt idx="10">
                  <c:v>11.82797894736842</c:v>
                </c:pt>
                <c:pt idx="11">
                  <c:v>17.40599999999999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6</c:v>
                </c:pt>
                <c:pt idx="1">
                  <c:v>Av Price/Unit 25.17</c:v>
                </c:pt>
                <c:pt idx="2">
                  <c:v>Av Price/Unit 32.29</c:v>
                </c:pt>
                <c:pt idx="3">
                  <c:v>Av Price/Unit 39.20</c:v>
                </c:pt>
                <c:pt idx="4">
                  <c:v>Av Price/Unit 46.06</c:v>
                </c:pt>
                <c:pt idx="5">
                  <c:v>Av Price/Unit 22.75</c:v>
                </c:pt>
                <c:pt idx="6">
                  <c:v>Av Price/Unit 92.43</c:v>
                </c:pt>
                <c:pt idx="7">
                  <c:v>Av Price/Unit 35.72</c:v>
                </c:pt>
                <c:pt idx="8">
                  <c:v>Av Price/Unit 37.74</c:v>
                </c:pt>
                <c:pt idx="9">
                  <c:v>Av Price/Unit 24.44</c:v>
                </c:pt>
                <c:pt idx="10">
                  <c:v>Av Price/Unit 35.62</c:v>
                </c:pt>
                <c:pt idx="11">
                  <c:v>Av Price/Unit 48.75</c:v>
                </c:pt>
              </c:strCache>
            </c:strRef>
          </c:cat>
          <c:val>
            <c:numRef>
              <c:f>Sheet1!$C$2:$C$13</c:f>
              <c:numCache>
                <c:formatCode>General</c:formatCode>
                <c:ptCount val="12"/>
                <c:pt idx="0">
                  <c:v>13.387728367444076</c:v>
                </c:pt>
                <c:pt idx="1">
                  <c:v>15.471731671554252</c:v>
                </c:pt>
                <c:pt idx="2">
                  <c:v>14.320307505070994</c:v>
                </c:pt>
                <c:pt idx="3">
                  <c:v>16.206</c:v>
                </c:pt>
                <c:pt idx="4">
                  <c:v>26.986793269230766</c:v>
                </c:pt>
                <c:pt idx="5">
                  <c:v>8.818161538461538</c:v>
                </c:pt>
                <c:pt idx="6">
                  <c:v>34.92700000000001</c:v>
                </c:pt>
                <c:pt idx="7">
                  <c:v>15.352783333333333</c:v>
                </c:pt>
                <c:pt idx="8">
                  <c:v>16.079</c:v>
                </c:pt>
                <c:pt idx="9">
                  <c:v>8.535656692913387</c:v>
                </c:pt>
                <c:pt idx="10">
                  <c:v>14.307968421052632</c:v>
                </c:pt>
                <c:pt idx="11">
                  <c:v>21.34400000000000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6</c:v>
                </c:pt>
                <c:pt idx="1">
                  <c:v>Av Price/Unit 25.17</c:v>
                </c:pt>
                <c:pt idx="2">
                  <c:v>Av Price/Unit 32.29</c:v>
                </c:pt>
                <c:pt idx="3">
                  <c:v>Av Price/Unit 39.20</c:v>
                </c:pt>
                <c:pt idx="4">
                  <c:v>Av Price/Unit 46.06</c:v>
                </c:pt>
                <c:pt idx="5">
                  <c:v>Av Price/Unit 22.75</c:v>
                </c:pt>
                <c:pt idx="6">
                  <c:v>Av Price/Unit 92.43</c:v>
                </c:pt>
                <c:pt idx="7">
                  <c:v>Av Price/Unit 35.72</c:v>
                </c:pt>
                <c:pt idx="8">
                  <c:v>Av Price/Unit 37.74</c:v>
                </c:pt>
                <c:pt idx="9">
                  <c:v>Av Price/Unit 24.44</c:v>
                </c:pt>
                <c:pt idx="10">
                  <c:v>Av Price/Unit 35.62</c:v>
                </c:pt>
                <c:pt idx="11">
                  <c:v>Av Price/Unit 48.75</c:v>
                </c:pt>
              </c:strCache>
            </c:strRef>
          </c:cat>
          <c:val>
            <c:numRef>
              <c:f>Sheet1!$D$2:$D$13</c:f>
              <c:numCache>
                <c:formatCode>General</c:formatCode>
                <c:ptCount val="12"/>
                <c:pt idx="0">
                  <c:v>0.7952297834364543</c:v>
                </c:pt>
                <c:pt idx="1">
                  <c:v>0.1429952101661769</c:v>
                </c:pt>
                <c:pt idx="2">
                  <c:v>0.7867912778904653</c:v>
                </c:pt>
                <c:pt idx="3">
                  <c:v>3.156163466042152</c:v>
                </c:pt>
                <c:pt idx="4">
                  <c:v>0.6810733974359025</c:v>
                </c:pt>
                <c:pt idx="5">
                  <c:v>1.0423910256410274</c:v>
                </c:pt>
                <c:pt idx="6">
                  <c:v>9.518149056603761</c:v>
                </c:pt>
                <c:pt idx="7">
                  <c:v>0.4468105555555617</c:v>
                </c:pt>
                <c:pt idx="8">
                  <c:v>2.3501728395061683</c:v>
                </c:pt>
                <c:pt idx="9">
                  <c:v>2.414795800524935</c:v>
                </c:pt>
                <c:pt idx="10">
                  <c:v>3.546070175438601</c:v>
                </c:pt>
                <c:pt idx="11">
                  <c:v>1.371527777777785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6</c:v>
                </c:pt>
                <c:pt idx="1">
                  <c:v>Av Price/Unit 25.17</c:v>
                </c:pt>
                <c:pt idx="2">
                  <c:v>Av Price/Unit 32.29</c:v>
                </c:pt>
                <c:pt idx="3">
                  <c:v>Av Price/Unit 39.20</c:v>
                </c:pt>
                <c:pt idx="4">
                  <c:v>Av Price/Unit 46.06</c:v>
                </c:pt>
                <c:pt idx="5">
                  <c:v>Av Price/Unit 22.75</c:v>
                </c:pt>
                <c:pt idx="6">
                  <c:v>Av Price/Unit 92.43</c:v>
                </c:pt>
                <c:pt idx="7">
                  <c:v>Av Price/Unit 35.72</c:v>
                </c:pt>
                <c:pt idx="8">
                  <c:v>Av Price/Unit 37.74</c:v>
                </c:pt>
                <c:pt idx="9">
                  <c:v>Av Price/Unit 24.44</c:v>
                </c:pt>
                <c:pt idx="10">
                  <c:v>Av Price/Unit 35.62</c:v>
                </c:pt>
                <c:pt idx="11">
                  <c:v>Av Price/Unit 48.75</c:v>
                </c:pt>
              </c:strCache>
            </c:strRef>
          </c:cat>
          <c:val>
            <c:numRef>
              <c:f>Sheet1!$E$2:$E$13</c:f>
              <c:numCache>
                <c:formatCode>General</c:formatCode>
                <c:ptCount val="12"/>
                <c:pt idx="0">
                  <c:v>3.559435982865302</c:v>
                </c:pt>
                <c:pt idx="1">
                  <c:v>4.195259042033232</c:v>
                </c:pt>
                <c:pt idx="2">
                  <c:v>5.382352941176467</c:v>
                </c:pt>
                <c:pt idx="3">
                  <c:v>6.532786885245898</c:v>
                </c:pt>
                <c:pt idx="4">
                  <c:v>7.677083333333328</c:v>
                </c:pt>
                <c:pt idx="5">
                  <c:v>3.791666666666669</c:v>
                </c:pt>
                <c:pt idx="6">
                  <c:v>15.40566037735849</c:v>
                </c:pt>
                <c:pt idx="7">
                  <c:v>5.952777777777775</c:v>
                </c:pt>
                <c:pt idx="8">
                  <c:v>6.290123456790123</c:v>
                </c:pt>
                <c:pt idx="9">
                  <c:v>4.0734908136482915</c:v>
                </c:pt>
                <c:pt idx="10">
                  <c:v>5.936403508771928</c:v>
                </c:pt>
                <c:pt idx="11">
                  <c:v>8.02430555555554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21.11</c:v>
                </c:pt>
                <c:pt idx="1">
                  <c:v>Av Price/Unit 25.15</c:v>
                </c:pt>
                <c:pt idx="2">
                  <c:v>Av Price/Unit 30.75</c:v>
                </c:pt>
                <c:pt idx="3">
                  <c:v>Av Price/Unit 39.25</c:v>
                </c:pt>
                <c:pt idx="4">
                  <c:v>Av Price/Unit 23.20</c:v>
                </c:pt>
                <c:pt idx="5">
                  <c:v>Av Price/Unit 47.69</c:v>
                </c:pt>
                <c:pt idx="6">
                  <c:v>Av Price/Unit 37.60</c:v>
                </c:pt>
                <c:pt idx="7">
                  <c:v>Av Price/Unit 33.82</c:v>
                </c:pt>
                <c:pt idx="8">
                  <c:v>Av Price/Unit 91.31</c:v>
                </c:pt>
              </c:strCache>
            </c:strRef>
          </c:cat>
          <c:val>
            <c:numRef>
              <c:f>Sheet1!$B$2:$B$10</c:f>
              <c:numCache>
                <c:formatCode>General</c:formatCode>
                <c:ptCount val="9"/>
                <c:pt idx="0">
                  <c:v>3.6190399051403666</c:v>
                </c:pt>
                <c:pt idx="1">
                  <c:v>5.35227091722595</c:v>
                </c:pt>
                <c:pt idx="2">
                  <c:v>11.741148554913295</c:v>
                </c:pt>
                <c:pt idx="3">
                  <c:v>13.331232</c:v>
                </c:pt>
                <c:pt idx="4">
                  <c:v>9.053024844720497</c:v>
                </c:pt>
                <c:pt idx="5">
                  <c:v>10.759057142857142</c:v>
                </c:pt>
                <c:pt idx="6">
                  <c:v>14.115179999999999</c:v>
                </c:pt>
                <c:pt idx="7">
                  <c:v>12.09955294117647</c:v>
                </c:pt>
                <c:pt idx="8">
                  <c:v>32.805824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21.11</c:v>
                </c:pt>
                <c:pt idx="1">
                  <c:v>Av Price/Unit 25.15</c:v>
                </c:pt>
                <c:pt idx="2">
                  <c:v>Av Price/Unit 30.75</c:v>
                </c:pt>
                <c:pt idx="3">
                  <c:v>Av Price/Unit 39.25</c:v>
                </c:pt>
                <c:pt idx="4">
                  <c:v>Av Price/Unit 23.20</c:v>
                </c:pt>
                <c:pt idx="5">
                  <c:v>Av Price/Unit 47.69</c:v>
                </c:pt>
                <c:pt idx="6">
                  <c:v>Av Price/Unit 37.60</c:v>
                </c:pt>
                <c:pt idx="7">
                  <c:v>Av Price/Unit 33.82</c:v>
                </c:pt>
                <c:pt idx="8">
                  <c:v>Av Price/Unit 91.31</c:v>
                </c:pt>
              </c:strCache>
            </c:strRef>
          </c:cat>
          <c:val>
            <c:numRef>
              <c:f>Sheet1!$C$2:$C$10</c:f>
              <c:numCache>
                <c:formatCode>General</c:formatCode>
                <c:ptCount val="9"/>
                <c:pt idx="0">
                  <c:v>13.380128688629663</c:v>
                </c:pt>
                <c:pt idx="1">
                  <c:v>15.48102908277405</c:v>
                </c:pt>
                <c:pt idx="2">
                  <c:v>14.307058959537573</c:v>
                </c:pt>
                <c:pt idx="3">
                  <c:v>16.205999999999996</c:v>
                </c:pt>
                <c:pt idx="4">
                  <c:v>8.82744099378882</c:v>
                </c:pt>
                <c:pt idx="5">
                  <c:v>26.859999999999996</c:v>
                </c:pt>
                <c:pt idx="6">
                  <c:v>15.343800000000002</c:v>
                </c:pt>
                <c:pt idx="7">
                  <c:v>14.28684705882353</c:v>
                </c:pt>
                <c:pt idx="8">
                  <c:v>34.927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21.11</c:v>
                </c:pt>
                <c:pt idx="1">
                  <c:v>Av Price/Unit 25.15</c:v>
                </c:pt>
                <c:pt idx="2">
                  <c:v>Av Price/Unit 30.75</c:v>
                </c:pt>
                <c:pt idx="3">
                  <c:v>Av Price/Unit 39.25</c:v>
                </c:pt>
                <c:pt idx="4">
                  <c:v>Av Price/Unit 23.20</c:v>
                </c:pt>
                <c:pt idx="5">
                  <c:v>Av Price/Unit 47.69</c:v>
                </c:pt>
                <c:pt idx="6">
                  <c:v>Av Price/Unit 37.60</c:v>
                </c:pt>
                <c:pt idx="7">
                  <c:v>Av Price/Unit 33.82</c:v>
                </c:pt>
                <c:pt idx="8">
                  <c:v>Av Price/Unit 91.31</c:v>
                </c:pt>
              </c:strCache>
            </c:strRef>
          </c:cat>
          <c:val>
            <c:numRef>
              <c:f>Sheet1!$D$2:$D$10</c:f>
              <c:numCache>
                <c:formatCode>General</c:formatCode>
                <c:ptCount val="9"/>
                <c:pt idx="0">
                  <c:v>0.5957978635217707</c:v>
                </c:pt>
                <c:pt idx="1">
                  <c:v>0.1268043997017152</c:v>
                </c:pt>
                <c:pt idx="2">
                  <c:v>-0.4244117533718672</c:v>
                </c:pt>
                <c:pt idx="3">
                  <c:v>3.1701754074074167</c:v>
                </c:pt>
                <c:pt idx="4">
                  <c:v>1.451832298136651</c:v>
                </c:pt>
                <c:pt idx="5">
                  <c:v>2.119038095238089</c:v>
                </c:pt>
                <c:pt idx="6">
                  <c:v>1.8743533333333389</c:v>
                </c:pt>
                <c:pt idx="7">
                  <c:v>1.7998745098039173</c:v>
                </c:pt>
                <c:pt idx="8">
                  <c:v>8.36092500000002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v Price/Unit 21.11</c:v>
                </c:pt>
                <c:pt idx="1">
                  <c:v>Av Price/Unit 25.15</c:v>
                </c:pt>
                <c:pt idx="2">
                  <c:v>Av Price/Unit 30.75</c:v>
                </c:pt>
                <c:pt idx="3">
                  <c:v>Av Price/Unit 39.25</c:v>
                </c:pt>
                <c:pt idx="4">
                  <c:v>Av Price/Unit 23.20</c:v>
                </c:pt>
                <c:pt idx="5">
                  <c:v>Av Price/Unit 47.69</c:v>
                </c:pt>
                <c:pt idx="6">
                  <c:v>Av Price/Unit 37.60</c:v>
                </c:pt>
                <c:pt idx="7">
                  <c:v>Av Price/Unit 33.82</c:v>
                </c:pt>
                <c:pt idx="8">
                  <c:v>Av Price/Unit 91.31</c:v>
                </c:pt>
              </c:strCache>
            </c:strRef>
          </c:cat>
          <c:val>
            <c:numRef>
              <c:f>Sheet1!$E$2:$E$10</c:f>
              <c:numCache>
                <c:formatCode>General</c:formatCode>
                <c:ptCount val="9"/>
                <c:pt idx="0">
                  <c:v>3.518993291458359</c:v>
                </c:pt>
                <c:pt idx="1">
                  <c:v>4.1920208799403404</c:v>
                </c:pt>
                <c:pt idx="2">
                  <c:v>5.124759152215798</c:v>
                </c:pt>
                <c:pt idx="3">
                  <c:v>6.541481481481476</c:v>
                </c:pt>
                <c:pt idx="4">
                  <c:v>3.86645962732919</c:v>
                </c:pt>
                <c:pt idx="5">
                  <c:v>7.94761904761905</c:v>
                </c:pt>
                <c:pt idx="6">
                  <c:v>6.266666666666665</c:v>
                </c:pt>
                <c:pt idx="7">
                  <c:v>5.637254901960785</c:v>
                </c:pt>
                <c:pt idx="8">
                  <c:v>15.21874999999998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3</c:v>
                </c:pt>
                <c:pt idx="1">
                  <c:v>Av Price/Unit 38.53</c:v>
                </c:pt>
                <c:pt idx="2">
                  <c:v>Av Price/Unit 24.90</c:v>
                </c:pt>
                <c:pt idx="3">
                  <c:v>Av Price/Unit 30.44</c:v>
                </c:pt>
                <c:pt idx="4">
                  <c:v>Av Price/Unit 45.36</c:v>
                </c:pt>
                <c:pt idx="5">
                  <c:v>Av Price/Unit 22.28</c:v>
                </c:pt>
                <c:pt idx="6">
                  <c:v>Av Price/Unit 36.52</c:v>
                </c:pt>
                <c:pt idx="7">
                  <c:v>Av Price/Unit 88.19</c:v>
                </c:pt>
                <c:pt idx="8">
                  <c:v>Av Price/Unit 23.13</c:v>
                </c:pt>
                <c:pt idx="9">
                  <c:v>Av Price/Unit 36.17</c:v>
                </c:pt>
                <c:pt idx="10">
                  <c:v>Av Price/Unit 46.78</c:v>
                </c:pt>
                <c:pt idx="11">
                  <c:v>Av Price/Unit 24.15</c:v>
                </c:pt>
              </c:strCache>
            </c:strRef>
          </c:cat>
          <c:val>
            <c:numRef>
              <c:f>Sheet1!$B$2:$B$13</c:f>
              <c:numCache>
                <c:formatCode>General</c:formatCode>
                <c:ptCount val="12"/>
                <c:pt idx="0">
                  <c:v>3.603543958853247</c:v>
                </c:pt>
                <c:pt idx="1">
                  <c:v>13.300317242607766</c:v>
                </c:pt>
                <c:pt idx="2">
                  <c:v>5.345732174505794</c:v>
                </c:pt>
                <c:pt idx="3">
                  <c:v>11.754125167336012</c:v>
                </c:pt>
                <c:pt idx="4">
                  <c:v>10.718704081632653</c:v>
                </c:pt>
                <c:pt idx="5">
                  <c:v>9.24218927125506</c:v>
                </c:pt>
                <c:pt idx="6">
                  <c:v>14.086165632458234</c:v>
                </c:pt>
                <c:pt idx="7">
                  <c:v>32.45134395604396</c:v>
                </c:pt>
                <c:pt idx="8">
                  <c:v>9.330984771573604</c:v>
                </c:pt>
                <c:pt idx="9">
                  <c:v>13.074546308724832</c:v>
                </c:pt>
                <c:pt idx="10">
                  <c:v>17.406</c:v>
                </c:pt>
                <c:pt idx="11">
                  <c:v>9.3733999999999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3</c:v>
                </c:pt>
                <c:pt idx="1">
                  <c:v>Av Price/Unit 38.53</c:v>
                </c:pt>
                <c:pt idx="2">
                  <c:v>Av Price/Unit 24.90</c:v>
                </c:pt>
                <c:pt idx="3">
                  <c:v>Av Price/Unit 30.44</c:v>
                </c:pt>
                <c:pt idx="4">
                  <c:v>Av Price/Unit 45.36</c:v>
                </c:pt>
                <c:pt idx="5">
                  <c:v>Av Price/Unit 22.28</c:v>
                </c:pt>
                <c:pt idx="6">
                  <c:v>Av Price/Unit 36.52</c:v>
                </c:pt>
                <c:pt idx="7">
                  <c:v>Av Price/Unit 88.19</c:v>
                </c:pt>
                <c:pt idx="8">
                  <c:v>Av Price/Unit 23.13</c:v>
                </c:pt>
                <c:pt idx="9">
                  <c:v>Av Price/Unit 36.17</c:v>
                </c:pt>
                <c:pt idx="10">
                  <c:v>Av Price/Unit 46.78</c:v>
                </c:pt>
                <c:pt idx="11">
                  <c:v>Av Price/Unit 24.15</c:v>
                </c:pt>
              </c:strCache>
            </c:strRef>
          </c:cat>
          <c:val>
            <c:numRef>
              <c:f>Sheet1!$C$2:$C$13</c:f>
              <c:numCache>
                <c:formatCode>General</c:formatCode>
                <c:ptCount val="12"/>
                <c:pt idx="0">
                  <c:v>13.404570521638567</c:v>
                </c:pt>
                <c:pt idx="1">
                  <c:v>16.206</c:v>
                </c:pt>
                <c:pt idx="2">
                  <c:v>15.487567825494208</c:v>
                </c:pt>
                <c:pt idx="3">
                  <c:v>14.309765640339133</c:v>
                </c:pt>
                <c:pt idx="4">
                  <c:v>26.983267857142856</c:v>
                </c:pt>
                <c:pt idx="5">
                  <c:v>8.788220647773278</c:v>
                </c:pt>
                <c:pt idx="6">
                  <c:v>15.345527446300718</c:v>
                </c:pt>
                <c:pt idx="7">
                  <c:v>34.927</c:v>
                </c:pt>
                <c:pt idx="8">
                  <c:v>8.542310659898476</c:v>
                </c:pt>
                <c:pt idx="9">
                  <c:v>16.075120805369128</c:v>
                </c:pt>
                <c:pt idx="10">
                  <c:v>21.344</c:v>
                </c:pt>
                <c:pt idx="11">
                  <c:v>9.05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3</c:v>
                </c:pt>
                <c:pt idx="1">
                  <c:v>Av Price/Unit 38.53</c:v>
                </c:pt>
                <c:pt idx="2">
                  <c:v>Av Price/Unit 24.90</c:v>
                </c:pt>
                <c:pt idx="3">
                  <c:v>Av Price/Unit 30.44</c:v>
                </c:pt>
                <c:pt idx="4">
                  <c:v>Av Price/Unit 45.36</c:v>
                </c:pt>
                <c:pt idx="5">
                  <c:v>Av Price/Unit 22.28</c:v>
                </c:pt>
                <c:pt idx="6">
                  <c:v>Av Price/Unit 36.52</c:v>
                </c:pt>
                <c:pt idx="7">
                  <c:v>Av Price/Unit 88.19</c:v>
                </c:pt>
                <c:pt idx="8">
                  <c:v>Av Price/Unit 23.13</c:v>
                </c:pt>
                <c:pt idx="9">
                  <c:v>Av Price/Unit 36.17</c:v>
                </c:pt>
                <c:pt idx="10">
                  <c:v>Av Price/Unit 46.78</c:v>
                </c:pt>
                <c:pt idx="11">
                  <c:v>Av Price/Unit 24.15</c:v>
                </c:pt>
              </c:strCache>
            </c:strRef>
          </c:cat>
          <c:val>
            <c:numRef>
              <c:f>Sheet1!$D$2:$D$13</c:f>
              <c:numCache>
                <c:formatCode>General</c:formatCode>
                <c:ptCount val="12"/>
                <c:pt idx="0">
                  <c:v>0.6826389974367792</c:v>
                </c:pt>
                <c:pt idx="1">
                  <c:v>2.6029928155800874</c:v>
                </c:pt>
                <c:pt idx="2">
                  <c:v>-0.08006209952283783</c:v>
                </c:pt>
                <c:pt idx="3">
                  <c:v>-0.7013294511378874</c:v>
                </c:pt>
                <c:pt idx="4">
                  <c:v>0.09564710884354355</c:v>
                </c:pt>
                <c:pt idx="5">
                  <c:v>0.538247300944672</c:v>
                </c:pt>
                <c:pt idx="6">
                  <c:v>0.9979011933174213</c:v>
                </c:pt>
                <c:pt idx="7">
                  <c:v>6.115245787545803</c:v>
                </c:pt>
                <c:pt idx="8">
                  <c:v>1.401894867456292</c:v>
                </c:pt>
                <c:pt idx="9">
                  <c:v>0.9957467561521192</c:v>
                </c:pt>
                <c:pt idx="10">
                  <c:v>0.11968085106382631</c:v>
                </c:pt>
                <c:pt idx="11">
                  <c:v>1.64818801498127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3</c:v>
                </c:pt>
                <c:pt idx="1">
                  <c:v>Av Price/Unit 38.53</c:v>
                </c:pt>
                <c:pt idx="2">
                  <c:v>Av Price/Unit 24.90</c:v>
                </c:pt>
                <c:pt idx="3">
                  <c:v>Av Price/Unit 30.44</c:v>
                </c:pt>
                <c:pt idx="4">
                  <c:v>Av Price/Unit 45.36</c:v>
                </c:pt>
                <c:pt idx="5">
                  <c:v>Av Price/Unit 22.28</c:v>
                </c:pt>
                <c:pt idx="6">
                  <c:v>Av Price/Unit 36.52</c:v>
                </c:pt>
                <c:pt idx="7">
                  <c:v>Av Price/Unit 88.19</c:v>
                </c:pt>
                <c:pt idx="8">
                  <c:v>Av Price/Unit 23.13</c:v>
                </c:pt>
                <c:pt idx="9">
                  <c:v>Av Price/Unit 36.17</c:v>
                </c:pt>
                <c:pt idx="10">
                  <c:v>Av Price/Unit 46.78</c:v>
                </c:pt>
                <c:pt idx="11">
                  <c:v>Av Price/Unit 24.15</c:v>
                </c:pt>
              </c:strCache>
            </c:strRef>
          </c:cat>
          <c:val>
            <c:numRef>
              <c:f>Sheet1!$E$2:$E$13</c:f>
              <c:numCache>
                <c:formatCode>General</c:formatCode>
                <c:ptCount val="12"/>
                <c:pt idx="0">
                  <c:v>3.5381506955857174</c:v>
                </c:pt>
                <c:pt idx="1">
                  <c:v>6.421862011637574</c:v>
                </c:pt>
                <c:pt idx="2">
                  <c:v>4.150647580095433</c:v>
                </c:pt>
                <c:pt idx="3">
                  <c:v>5.072512271307452</c:v>
                </c:pt>
                <c:pt idx="4">
                  <c:v>7.559523809523809</c:v>
                </c:pt>
                <c:pt idx="5">
                  <c:v>3.7137314439945994</c:v>
                </c:pt>
                <c:pt idx="6">
                  <c:v>6.085918854415274</c:v>
                </c:pt>
                <c:pt idx="7">
                  <c:v>14.698717948717945</c:v>
                </c:pt>
                <c:pt idx="8">
                  <c:v>3.8550479413423555</c:v>
                </c:pt>
                <c:pt idx="9">
                  <c:v>6.029082774049221</c:v>
                </c:pt>
                <c:pt idx="10">
                  <c:v>7.773936170212766</c:v>
                </c:pt>
                <c:pt idx="11">
                  <c:v>4.01591760299625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5</c:v>
                </c:pt>
                <c:pt idx="1">
                  <c:v>Av Price/Unit 38.64</c:v>
                </c:pt>
                <c:pt idx="2">
                  <c:v>Av Price/Unit 25.08</c:v>
                </c:pt>
                <c:pt idx="3">
                  <c:v>Av Price/Unit 30.34</c:v>
                </c:pt>
                <c:pt idx="4">
                  <c:v>Av Price/Unit 22.31</c:v>
                </c:pt>
                <c:pt idx="5">
                  <c:v>Av Price/Unit 46.35</c:v>
                </c:pt>
                <c:pt idx="6">
                  <c:v>Av Price/Unit 38.20</c:v>
                </c:pt>
                <c:pt idx="7">
                  <c:v>Av Price/Unit 89.48</c:v>
                </c:pt>
                <c:pt idx="8">
                  <c:v>Av Price/Unit 23.48</c:v>
                </c:pt>
                <c:pt idx="9">
                  <c:v>Av Price/Unit 36.63</c:v>
                </c:pt>
                <c:pt idx="10">
                  <c:v>Av Price/Unit 33.39</c:v>
                </c:pt>
                <c:pt idx="11">
                  <c:v>Av Price/Unit 47.65</c:v>
                </c:pt>
              </c:strCache>
            </c:strRef>
          </c:cat>
          <c:val>
            <c:numRef>
              <c:f>Sheet1!$B$2:$B$13</c:f>
              <c:numCache>
                <c:formatCode>General</c:formatCode>
                <c:ptCount val="12"/>
                <c:pt idx="0">
                  <c:v>3.602728967194838</c:v>
                </c:pt>
                <c:pt idx="1">
                  <c:v>13.315374823196604</c:v>
                </c:pt>
                <c:pt idx="2">
                  <c:v>5.338142173350582</c:v>
                </c:pt>
                <c:pt idx="3">
                  <c:v>11.750505817174515</c:v>
                </c:pt>
                <c:pt idx="4">
                  <c:v>9.199557065217391</c:v>
                </c:pt>
                <c:pt idx="5">
                  <c:v>10.714144497607654</c:v>
                </c:pt>
                <c:pt idx="6">
                  <c:v>14.258123684210528</c:v>
                </c:pt>
                <c:pt idx="7">
                  <c:v>32.13260515463917</c:v>
                </c:pt>
                <c:pt idx="8">
                  <c:v>9.33046968641115</c:v>
                </c:pt>
                <c:pt idx="9">
                  <c:v>12.930371428571428</c:v>
                </c:pt>
                <c:pt idx="10">
                  <c:v>11.652093103448276</c:v>
                </c:pt>
                <c:pt idx="11">
                  <c:v>17.40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5</c:v>
                </c:pt>
                <c:pt idx="1">
                  <c:v>Av Price/Unit 38.64</c:v>
                </c:pt>
                <c:pt idx="2">
                  <c:v>Av Price/Unit 25.08</c:v>
                </c:pt>
                <c:pt idx="3">
                  <c:v>Av Price/Unit 30.34</c:v>
                </c:pt>
                <c:pt idx="4">
                  <c:v>Av Price/Unit 22.31</c:v>
                </c:pt>
                <c:pt idx="5">
                  <c:v>Av Price/Unit 46.35</c:v>
                </c:pt>
                <c:pt idx="6">
                  <c:v>Av Price/Unit 38.20</c:v>
                </c:pt>
                <c:pt idx="7">
                  <c:v>Av Price/Unit 89.48</c:v>
                </c:pt>
                <c:pt idx="8">
                  <c:v>Av Price/Unit 23.48</c:v>
                </c:pt>
                <c:pt idx="9">
                  <c:v>Av Price/Unit 36.63</c:v>
                </c:pt>
                <c:pt idx="10">
                  <c:v>Av Price/Unit 33.39</c:v>
                </c:pt>
                <c:pt idx="11">
                  <c:v>Av Price/Unit 47.65</c:v>
                </c:pt>
              </c:strCache>
            </c:strRef>
          </c:cat>
          <c:val>
            <c:numRef>
              <c:f>Sheet1!$C$2:$C$13</c:f>
              <c:numCache>
                <c:formatCode>General</c:formatCode>
                <c:ptCount val="12"/>
                <c:pt idx="0">
                  <c:v>13.405856012027433</c:v>
                </c:pt>
                <c:pt idx="1">
                  <c:v>16.206</c:v>
                </c:pt>
                <c:pt idx="2">
                  <c:v>15.495157826649415</c:v>
                </c:pt>
                <c:pt idx="3">
                  <c:v>14.309010710987994</c:v>
                </c:pt>
                <c:pt idx="4">
                  <c:v>8.797059782608697</c:v>
                </c:pt>
                <c:pt idx="5">
                  <c:v>26.9971961722488</c:v>
                </c:pt>
                <c:pt idx="6">
                  <c:v>15.33528947368421</c:v>
                </c:pt>
                <c:pt idx="7">
                  <c:v>34.927</c:v>
                </c:pt>
                <c:pt idx="8">
                  <c:v>8.542350522648084</c:v>
                </c:pt>
                <c:pt idx="9">
                  <c:v>16.08565306122449</c:v>
                </c:pt>
                <c:pt idx="10">
                  <c:v>14.273586206896553</c:v>
                </c:pt>
                <c:pt idx="11">
                  <c:v>21.34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5</c:v>
                </c:pt>
                <c:pt idx="1">
                  <c:v>Av Price/Unit 38.64</c:v>
                </c:pt>
                <c:pt idx="2">
                  <c:v>Av Price/Unit 25.08</c:v>
                </c:pt>
                <c:pt idx="3">
                  <c:v>Av Price/Unit 30.34</c:v>
                </c:pt>
                <c:pt idx="4">
                  <c:v>Av Price/Unit 22.31</c:v>
                </c:pt>
                <c:pt idx="5">
                  <c:v>Av Price/Unit 46.35</c:v>
                </c:pt>
                <c:pt idx="6">
                  <c:v>Av Price/Unit 38.20</c:v>
                </c:pt>
                <c:pt idx="7">
                  <c:v>Av Price/Unit 89.48</c:v>
                </c:pt>
                <c:pt idx="8">
                  <c:v>Av Price/Unit 23.48</c:v>
                </c:pt>
                <c:pt idx="9">
                  <c:v>Av Price/Unit 36.63</c:v>
                </c:pt>
                <c:pt idx="10">
                  <c:v>Av Price/Unit 33.39</c:v>
                </c:pt>
                <c:pt idx="11">
                  <c:v>Av Price/Unit 47.65</c:v>
                </c:pt>
              </c:strCache>
            </c:strRef>
          </c:cat>
          <c:val>
            <c:numRef>
              <c:f>Sheet1!$D$2:$D$13</c:f>
              <c:numCache>
                <c:formatCode>General</c:formatCode>
                <c:ptCount val="12"/>
                <c:pt idx="0">
                  <c:v>0.6986010743606208</c:v>
                </c:pt>
                <c:pt idx="1">
                  <c:v>2.6810061291843432</c:v>
                </c:pt>
                <c:pt idx="2">
                  <c:v>0.06417736093143844</c:v>
                </c:pt>
                <c:pt idx="3">
                  <c:v>-0.7794303477993196</c:v>
                </c:pt>
                <c:pt idx="4">
                  <c:v>0.5982653985507227</c:v>
                </c:pt>
                <c:pt idx="5">
                  <c:v>0.913061244019147</c:v>
                </c:pt>
                <c:pt idx="6">
                  <c:v>2.241382163742692</c:v>
                </c:pt>
                <c:pt idx="7">
                  <c:v>7.510841580756008</c:v>
                </c:pt>
                <c:pt idx="8">
                  <c:v>1.6973974448315907</c:v>
                </c:pt>
                <c:pt idx="9">
                  <c:v>1.5055174603174564</c:v>
                </c:pt>
                <c:pt idx="10">
                  <c:v>1.901906896551722</c:v>
                </c:pt>
                <c:pt idx="11">
                  <c:v>0.557017543859650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25</c:v>
                </c:pt>
                <c:pt idx="1">
                  <c:v>Av Price/Unit 38.64</c:v>
                </c:pt>
                <c:pt idx="2">
                  <c:v>Av Price/Unit 25.08</c:v>
                </c:pt>
                <c:pt idx="3">
                  <c:v>Av Price/Unit 30.34</c:v>
                </c:pt>
                <c:pt idx="4">
                  <c:v>Av Price/Unit 22.31</c:v>
                </c:pt>
                <c:pt idx="5">
                  <c:v>Av Price/Unit 46.35</c:v>
                </c:pt>
                <c:pt idx="6">
                  <c:v>Av Price/Unit 38.20</c:v>
                </c:pt>
                <c:pt idx="7">
                  <c:v>Av Price/Unit 89.48</c:v>
                </c:pt>
                <c:pt idx="8">
                  <c:v>Av Price/Unit 23.48</c:v>
                </c:pt>
                <c:pt idx="9">
                  <c:v>Av Price/Unit 36.63</c:v>
                </c:pt>
                <c:pt idx="10">
                  <c:v>Av Price/Unit 33.39</c:v>
                </c:pt>
                <c:pt idx="11">
                  <c:v>Av Price/Unit 47.65</c:v>
                </c:pt>
              </c:strCache>
            </c:strRef>
          </c:cat>
          <c:val>
            <c:numRef>
              <c:f>Sheet1!$E$2:$E$13</c:f>
              <c:numCache>
                <c:formatCode>General</c:formatCode>
                <c:ptCount val="12"/>
                <c:pt idx="0">
                  <c:v>3.5414372107165764</c:v>
                </c:pt>
                <c:pt idx="1">
                  <c:v>6.4404761904761925</c:v>
                </c:pt>
                <c:pt idx="2">
                  <c:v>4.179495472186285</c:v>
                </c:pt>
                <c:pt idx="3">
                  <c:v>5.056017236072636</c:v>
                </c:pt>
                <c:pt idx="4">
                  <c:v>3.7189764492753614</c:v>
                </c:pt>
                <c:pt idx="5">
                  <c:v>7.724880382775111</c:v>
                </c:pt>
                <c:pt idx="6">
                  <c:v>6.3669590643274825</c:v>
                </c:pt>
                <c:pt idx="7">
                  <c:v>14.914089347079031</c:v>
                </c:pt>
                <c:pt idx="8">
                  <c:v>3.914053426248547</c:v>
                </c:pt>
                <c:pt idx="9">
                  <c:v>6.1043083900226796</c:v>
                </c:pt>
                <c:pt idx="10">
                  <c:v>5.565517241379314</c:v>
                </c:pt>
                <c:pt idx="11">
                  <c:v>7.86140350877192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3B52F8A-9575-4004-99C8-23B21E620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147B16F-2B9C-41A5-9196-DF9AF99C8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70A183B-4399-44DE-8722-28845AD4A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7A71562-EB77-4A83-8511-33781D154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E19831C-23D8-4835-B81B-752256F41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019A49C-46D5-4EB5-ACCE-78F7FF257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EC731BB-7FC6-4A22-9B4D-67D792173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BE62DDE-245A-4DD4-8DAB-63FD7E945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3.4181</c:v>
                </c:pt>
                <c:pt idx="1">
                  <c:v>33.4182</c:v>
                </c:pt>
                <c:pt idx="2">
                  <c:v>33.3992</c:v>
                </c:pt>
                <c:pt idx="3">
                  <c:v>33.4393</c:v>
                </c:pt>
                <c:pt idx="4">
                  <c:v>33.4428</c:v>
                </c:pt>
              </c:numCache>
            </c:numRef>
          </c:xVal>
          <c:yVal>
            <c:numRef>
              <c:f>Sheet1!$B$2:$B$6</c:f>
              <c:numCache>
                <c:formatCode>General</c:formatCode>
                <c:ptCount val="5"/>
                <c:pt idx="0">
                  <c:v>0.437</c:v>
                </c:pt>
                <c:pt idx="1">
                  <c:v>0.4374</c:v>
                </c:pt>
                <c:pt idx="2">
                  <c:v>0.4374</c:v>
                </c:pt>
                <c:pt idx="3">
                  <c:v>0.4374</c:v>
                </c:pt>
                <c:pt idx="4">
                  <c:v>0.4374</c:v>
                </c:pt>
              </c:numCache>
            </c:numRef>
          </c:yVal>
          <c:bubbleSize>
            <c:numRef>
              <c:f>Sheet1!$C$2:$C$6</c:f>
              <c:numCache>
                <c:formatCode>General</c:formatCode>
                <c:ptCount val="5"/>
                <c:pt idx="0">
                  <c:v>534388.5031000001</c:v>
                </c:pt>
                <c:pt idx="1">
                  <c:v>354400.3854</c:v>
                </c:pt>
                <c:pt idx="2">
                  <c:v>469859.9463</c:v>
                </c:pt>
                <c:pt idx="3">
                  <c:v>632103.5029</c:v>
                </c:pt>
                <c:pt idx="4">
                  <c:v>420476.418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0.131359999999994"/>
          <c:min val="26.7193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731135001161486"/>
        <c:crossBetween val="midCat"/>
      </c:valAx>
      <c:valAx>
        <c:axId val="1011451359"/>
        <c:scaling>
          <c:orientation val="minMax"/>
          <c:max val="0.88488"/>
          <c:min val="0.10960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3.4242966119205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72</c:v>
                </c:pt>
                <c:pt idx="2">
                  <c:v>Av Price/Unit 25.01</c:v>
                </c:pt>
                <c:pt idx="3">
                  <c:v>Av Price/Unit 30.60</c:v>
                </c:pt>
                <c:pt idx="4">
                  <c:v>Av Price/Unit 45.77</c:v>
                </c:pt>
                <c:pt idx="5">
                  <c:v>Av Price/Unit 22.37</c:v>
                </c:pt>
                <c:pt idx="6">
                  <c:v>Av Price/Unit 31.16</c:v>
                </c:pt>
                <c:pt idx="7">
                  <c:v>Av Price/Unit 88.34</c:v>
                </c:pt>
                <c:pt idx="8">
                  <c:v>Av Price/Unit 23.47</c:v>
                </c:pt>
                <c:pt idx="9">
                  <c:v>Av Price/Unit 37.63</c:v>
                </c:pt>
                <c:pt idx="10">
                  <c:v>Av Price/Unit 46.98</c:v>
                </c:pt>
                <c:pt idx="11">
                  <c:v>Av Price/Unit 24.25</c:v>
                </c:pt>
              </c:strCache>
            </c:strRef>
          </c:cat>
          <c:val>
            <c:numRef>
              <c:f>Sheet1!$B$2:$B$13</c:f>
              <c:numCache>
                <c:formatCode>General</c:formatCode>
                <c:ptCount val="12"/>
                <c:pt idx="0">
                  <c:v>3.6029380697050937</c:v>
                </c:pt>
                <c:pt idx="1">
                  <c:v>13.334985188916876</c:v>
                </c:pt>
                <c:pt idx="2">
                  <c:v>5.344332273152478</c:v>
                </c:pt>
                <c:pt idx="3">
                  <c:v>11.750790025359256</c:v>
                </c:pt>
                <c:pt idx="4">
                  <c:v>10.72500824742268</c:v>
                </c:pt>
                <c:pt idx="5">
                  <c:v>9.19734498094028</c:v>
                </c:pt>
                <c:pt idx="6">
                  <c:v>12.052182555780933</c:v>
                </c:pt>
                <c:pt idx="7">
                  <c:v>32.69028461538461</c:v>
                </c:pt>
                <c:pt idx="8">
                  <c:v>9.39390909090909</c:v>
                </c:pt>
                <c:pt idx="9">
                  <c:v>14.316624884792628</c:v>
                </c:pt>
                <c:pt idx="10">
                  <c:v>17.406</c:v>
                </c:pt>
                <c:pt idx="11">
                  <c:v>9.373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72</c:v>
                </c:pt>
                <c:pt idx="2">
                  <c:v>Av Price/Unit 25.01</c:v>
                </c:pt>
                <c:pt idx="3">
                  <c:v>Av Price/Unit 30.60</c:v>
                </c:pt>
                <c:pt idx="4">
                  <c:v>Av Price/Unit 45.77</c:v>
                </c:pt>
                <c:pt idx="5">
                  <c:v>Av Price/Unit 22.37</c:v>
                </c:pt>
                <c:pt idx="6">
                  <c:v>Av Price/Unit 31.16</c:v>
                </c:pt>
                <c:pt idx="7">
                  <c:v>Av Price/Unit 88.34</c:v>
                </c:pt>
                <c:pt idx="8">
                  <c:v>Av Price/Unit 23.47</c:v>
                </c:pt>
                <c:pt idx="9">
                  <c:v>Av Price/Unit 37.63</c:v>
                </c:pt>
                <c:pt idx="10">
                  <c:v>Av Price/Unit 46.98</c:v>
                </c:pt>
                <c:pt idx="11">
                  <c:v>Av Price/Unit 24.25</c:v>
                </c:pt>
              </c:strCache>
            </c:strRef>
          </c:cat>
          <c:val>
            <c:numRef>
              <c:f>Sheet1!$C$2:$C$13</c:f>
              <c:numCache>
                <c:formatCode>General</c:formatCode>
                <c:ptCount val="12"/>
                <c:pt idx="0">
                  <c:v>13.405526193599911</c:v>
                </c:pt>
                <c:pt idx="1">
                  <c:v>16.206</c:v>
                </c:pt>
                <c:pt idx="2">
                  <c:v>15.488967726847521</c:v>
                </c:pt>
                <c:pt idx="3">
                  <c:v>14.309069991546913</c:v>
                </c:pt>
                <c:pt idx="4">
                  <c:v>26.96401030927835</c:v>
                </c:pt>
                <c:pt idx="5">
                  <c:v>8.797518424396442</c:v>
                </c:pt>
                <c:pt idx="6">
                  <c:v>14.290531237322515</c:v>
                </c:pt>
                <c:pt idx="7">
                  <c:v>34.927</c:v>
                </c:pt>
                <c:pt idx="8">
                  <c:v>8.53744090909091</c:v>
                </c:pt>
                <c:pt idx="9">
                  <c:v>15.331806451612904</c:v>
                </c:pt>
                <c:pt idx="10">
                  <c:v>21.344</c:v>
                </c:pt>
                <c:pt idx="11">
                  <c:v>9.05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72</c:v>
                </c:pt>
                <c:pt idx="2">
                  <c:v>Av Price/Unit 25.01</c:v>
                </c:pt>
                <c:pt idx="3">
                  <c:v>Av Price/Unit 30.60</c:v>
                </c:pt>
                <c:pt idx="4">
                  <c:v>Av Price/Unit 45.77</c:v>
                </c:pt>
                <c:pt idx="5">
                  <c:v>Av Price/Unit 22.37</c:v>
                </c:pt>
                <c:pt idx="6">
                  <c:v>Av Price/Unit 31.16</c:v>
                </c:pt>
                <c:pt idx="7">
                  <c:v>Av Price/Unit 88.34</c:v>
                </c:pt>
                <c:pt idx="8">
                  <c:v>Av Price/Unit 23.47</c:v>
                </c:pt>
                <c:pt idx="9">
                  <c:v>Av Price/Unit 37.63</c:v>
                </c:pt>
                <c:pt idx="10">
                  <c:v>Av Price/Unit 46.98</c:v>
                </c:pt>
                <c:pt idx="11">
                  <c:v>Av Price/Unit 24.25</c:v>
                </c:pt>
              </c:strCache>
            </c:strRef>
          </c:cat>
          <c:val>
            <c:numRef>
              <c:f>Sheet1!$D$2:$D$13</c:f>
              <c:numCache>
                <c:formatCode>General</c:formatCode>
                <c:ptCount val="12"/>
                <c:pt idx="0">
                  <c:v>0.760511646036548</c:v>
                </c:pt>
                <c:pt idx="1">
                  <c:v>2.72517769941226</c:v>
                </c:pt>
                <c:pt idx="2">
                  <c:v>0.005490146554414821</c:v>
                </c:pt>
                <c:pt idx="3">
                  <c:v>-0.5618324034939448</c:v>
                </c:pt>
                <c:pt idx="4">
                  <c:v>0.4553113402061868</c:v>
                </c:pt>
                <c:pt idx="5">
                  <c:v>0.6455432020330392</c:v>
                </c:pt>
                <c:pt idx="6">
                  <c:v>-0.3724636240703205</c:v>
                </c:pt>
                <c:pt idx="7">
                  <c:v>5.995768997669018</c:v>
                </c:pt>
                <c:pt idx="8">
                  <c:v>1.6245855218855247</c:v>
                </c:pt>
                <c:pt idx="9">
                  <c:v>1.7071754224270386</c:v>
                </c:pt>
                <c:pt idx="10">
                  <c:v>0.41015625</c:v>
                </c:pt>
                <c:pt idx="11">
                  <c:v>1.725462745098042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1.32</c:v>
                </c:pt>
                <c:pt idx="1">
                  <c:v>Av Price/Unit 38.72</c:v>
                </c:pt>
                <c:pt idx="2">
                  <c:v>Av Price/Unit 25.01</c:v>
                </c:pt>
                <c:pt idx="3">
                  <c:v>Av Price/Unit 30.60</c:v>
                </c:pt>
                <c:pt idx="4">
                  <c:v>Av Price/Unit 45.77</c:v>
                </c:pt>
                <c:pt idx="5">
                  <c:v>Av Price/Unit 22.37</c:v>
                </c:pt>
                <c:pt idx="6">
                  <c:v>Av Price/Unit 31.16</c:v>
                </c:pt>
                <c:pt idx="7">
                  <c:v>Av Price/Unit 88.34</c:v>
                </c:pt>
                <c:pt idx="8">
                  <c:v>Av Price/Unit 23.47</c:v>
                </c:pt>
                <c:pt idx="9">
                  <c:v>Av Price/Unit 37.63</c:v>
                </c:pt>
                <c:pt idx="10">
                  <c:v>Av Price/Unit 46.98</c:v>
                </c:pt>
                <c:pt idx="11">
                  <c:v>Av Price/Unit 24.25</c:v>
                </c:pt>
              </c:strCache>
            </c:strRef>
          </c:cat>
          <c:val>
            <c:numRef>
              <c:f>Sheet1!$E$2:$E$13</c:f>
              <c:numCache>
                <c:formatCode>General</c:formatCode>
                <c:ptCount val="12"/>
                <c:pt idx="0">
                  <c:v>3.5537951818683085</c:v>
                </c:pt>
                <c:pt idx="1">
                  <c:v>6.453232577665826</c:v>
                </c:pt>
                <c:pt idx="2">
                  <c:v>4.167758029310878</c:v>
                </c:pt>
                <c:pt idx="3">
                  <c:v>5.099605522682444</c:v>
                </c:pt>
                <c:pt idx="4">
                  <c:v>7.628865979381444</c:v>
                </c:pt>
                <c:pt idx="5">
                  <c:v>3.728081321473947</c:v>
                </c:pt>
                <c:pt idx="6">
                  <c:v>5.194050033806625</c:v>
                </c:pt>
                <c:pt idx="7">
                  <c:v>14.722610722610714</c:v>
                </c:pt>
                <c:pt idx="8">
                  <c:v>3.9111952861952832</c:v>
                </c:pt>
                <c:pt idx="9">
                  <c:v>6.271121351766512</c:v>
                </c:pt>
                <c:pt idx="10">
                  <c:v>7.83203125</c:v>
                </c:pt>
                <c:pt idx="11">
                  <c:v>4.03137254901960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38.63</c:v>
                </c:pt>
                <c:pt idx="1">
                  <c:v>Av Price/Unit 88.06</c:v>
                </c:pt>
                <c:pt idx="2">
                  <c:v>Av Price/Unit 24.14</c:v>
                </c:pt>
                <c:pt idx="3">
                  <c:v>Av Price/Unit 102.91</c:v>
                </c:pt>
                <c:pt idx="4">
                  <c:v>Av Price/Unit 39.65</c:v>
                </c:pt>
              </c:strCache>
            </c:strRef>
          </c:cat>
          <c:val>
            <c:numRef>
              <c:f>Sheet1!$B$2:$B$6</c:f>
              <c:numCache>
                <c:formatCode>General</c:formatCode>
                <c:ptCount val="5"/>
                <c:pt idx="0">
                  <c:v>13.309109734513275</c:v>
                </c:pt>
                <c:pt idx="1">
                  <c:v>32.50739310344828</c:v>
                </c:pt>
                <c:pt idx="2">
                  <c:v>9.373400000000002</c:v>
                </c:pt>
                <c:pt idx="3">
                  <c:v>34.10998</c:v>
                </c:pt>
                <c:pt idx="4">
                  <c:v>12.95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38.63</c:v>
                </c:pt>
                <c:pt idx="1">
                  <c:v>Av Price/Unit 88.06</c:v>
                </c:pt>
                <c:pt idx="2">
                  <c:v>Av Price/Unit 24.14</c:v>
                </c:pt>
                <c:pt idx="3">
                  <c:v>Av Price/Unit 102.91</c:v>
                </c:pt>
                <c:pt idx="4">
                  <c:v>Av Price/Unit 39.65</c:v>
                </c:pt>
              </c:strCache>
            </c:strRef>
          </c:cat>
          <c:val>
            <c:numRef>
              <c:f>Sheet1!$C$2:$C$6</c:f>
              <c:numCache>
                <c:formatCode>General</c:formatCode>
                <c:ptCount val="5"/>
                <c:pt idx="0">
                  <c:v>16.205999999999996</c:v>
                </c:pt>
                <c:pt idx="1">
                  <c:v>34.927</c:v>
                </c:pt>
                <c:pt idx="2">
                  <c:v>9.058</c:v>
                </c:pt>
                <c:pt idx="3">
                  <c:v>44.39</c:v>
                </c:pt>
                <c:pt idx="4">
                  <c:v>15.8890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38.63</c:v>
                </c:pt>
                <c:pt idx="1">
                  <c:v>Av Price/Unit 88.06</c:v>
                </c:pt>
                <c:pt idx="2">
                  <c:v>Av Price/Unit 24.14</c:v>
                </c:pt>
                <c:pt idx="3">
                  <c:v>Av Price/Unit 102.91</c:v>
                </c:pt>
                <c:pt idx="4">
                  <c:v>Av Price/Unit 39.65</c:v>
                </c:pt>
              </c:strCache>
            </c:strRef>
          </c:cat>
          <c:val>
            <c:numRef>
              <c:f>Sheet1!$D$2:$D$6</c:f>
              <c:numCache>
                <c:formatCode>General</c:formatCode>
                <c:ptCount val="5"/>
                <c:pt idx="0">
                  <c:v>2.676101217759623</c:v>
                </c:pt>
                <c:pt idx="1">
                  <c:v>5.947790804597702</c:v>
                </c:pt>
                <c:pt idx="2">
                  <c:v>1.7008992700729877</c:v>
                </c:pt>
                <c:pt idx="3">
                  <c:v>7.260436666666692</c:v>
                </c:pt>
                <c:pt idx="4">
                  <c:v>4.54105238095238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38.63</c:v>
                </c:pt>
                <c:pt idx="1">
                  <c:v>Av Price/Unit 88.06</c:v>
                </c:pt>
                <c:pt idx="2">
                  <c:v>Av Price/Unit 24.14</c:v>
                </c:pt>
                <c:pt idx="3">
                  <c:v>Av Price/Unit 102.91</c:v>
                </c:pt>
                <c:pt idx="4">
                  <c:v>Av Price/Unit 39.65</c:v>
                </c:pt>
              </c:strCache>
            </c:strRef>
          </c:cat>
          <c:val>
            <c:numRef>
              <c:f>Sheet1!$E$2:$E$6</c:f>
              <c:numCache>
                <c:formatCode>General</c:formatCode>
                <c:ptCount val="5"/>
                <c:pt idx="0">
                  <c:v>6.438242190454582</c:v>
                </c:pt>
                <c:pt idx="1">
                  <c:v>14.676436781609187</c:v>
                </c:pt>
                <c:pt idx="2">
                  <c:v>4.026459854014599</c:v>
                </c:pt>
                <c:pt idx="3">
                  <c:v>17.152083333333326</c:v>
                </c:pt>
                <c:pt idx="4">
                  <c:v>6.67619047619047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38.63</c:v>
                </c:pt>
                <c:pt idx="1">
                  <c:v>Av Price/Unit 89.37</c:v>
                </c:pt>
                <c:pt idx="2">
                  <c:v>Av Price/Unit 24.25</c:v>
                </c:pt>
                <c:pt idx="3">
                  <c:v>Av Price/Unit 106.74</c:v>
                </c:pt>
                <c:pt idx="4">
                  <c:v>Av Price/Unit 40.90</c:v>
                </c:pt>
              </c:strCache>
            </c:strRef>
          </c:cat>
          <c:val>
            <c:numRef>
              <c:f>Sheet1!$B$2:$B$6</c:f>
              <c:numCache>
                <c:formatCode>General</c:formatCode>
                <c:ptCount val="5"/>
                <c:pt idx="0">
                  <c:v>13.317240000000002</c:v>
                </c:pt>
                <c:pt idx="1">
                  <c:v>32.528791549295775</c:v>
                </c:pt>
                <c:pt idx="2">
                  <c:v>9.373399999999998</c:v>
                </c:pt>
                <c:pt idx="3">
                  <c:v>37.45395744680851</c:v>
                </c:pt>
                <c:pt idx="4">
                  <c:v>12.950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38.63</c:v>
                </c:pt>
                <c:pt idx="1">
                  <c:v>Av Price/Unit 89.37</c:v>
                </c:pt>
                <c:pt idx="2">
                  <c:v>Av Price/Unit 24.25</c:v>
                </c:pt>
                <c:pt idx="3">
                  <c:v>Av Price/Unit 106.74</c:v>
                </c:pt>
                <c:pt idx="4">
                  <c:v>Av Price/Unit 40.90</c:v>
                </c:pt>
              </c:strCache>
            </c:strRef>
          </c:cat>
          <c:val>
            <c:numRef>
              <c:f>Sheet1!$C$2:$C$6</c:f>
              <c:numCache>
                <c:formatCode>General</c:formatCode>
                <c:ptCount val="5"/>
                <c:pt idx="0">
                  <c:v>16.205999999999996</c:v>
                </c:pt>
                <c:pt idx="1">
                  <c:v>34.927</c:v>
                </c:pt>
                <c:pt idx="2">
                  <c:v>9.058</c:v>
                </c:pt>
                <c:pt idx="3">
                  <c:v>44.39</c:v>
                </c:pt>
                <c:pt idx="4">
                  <c:v>15.8890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38.63</c:v>
                </c:pt>
                <c:pt idx="1">
                  <c:v>Av Price/Unit 89.37</c:v>
                </c:pt>
                <c:pt idx="2">
                  <c:v>Av Price/Unit 24.25</c:v>
                </c:pt>
                <c:pt idx="3">
                  <c:v>Av Price/Unit 106.74</c:v>
                </c:pt>
                <c:pt idx="4">
                  <c:v>Av Price/Unit 40.90</c:v>
                </c:pt>
              </c:strCache>
            </c:strRef>
          </c:cat>
          <c:val>
            <c:numRef>
              <c:f>Sheet1!$D$2:$D$6</c:f>
              <c:numCache>
                <c:formatCode>General</c:formatCode>
                <c:ptCount val="5"/>
                <c:pt idx="0">
                  <c:v>2.6677674374577514</c:v>
                </c:pt>
                <c:pt idx="1">
                  <c:v>7.016039436619721</c:v>
                </c:pt>
                <c:pt idx="2">
                  <c:v>1.759702756892235</c:v>
                </c:pt>
                <c:pt idx="3">
                  <c:v>7.109943262411363</c:v>
                </c:pt>
                <c:pt idx="4">
                  <c:v>5.371811711711707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38.63</c:v>
                </c:pt>
                <c:pt idx="1">
                  <c:v>Av Price/Unit 89.37</c:v>
                </c:pt>
                <c:pt idx="2">
                  <c:v>Av Price/Unit 24.25</c:v>
                </c:pt>
                <c:pt idx="3">
                  <c:v>Av Price/Unit 106.74</c:v>
                </c:pt>
                <c:pt idx="4">
                  <c:v>Av Price/Unit 40.90</c:v>
                </c:pt>
              </c:strCache>
            </c:strRef>
          </c:cat>
          <c:val>
            <c:numRef>
              <c:f>Sheet1!$E$2:$E$6</c:f>
              <c:numCache>
                <c:formatCode>General</c:formatCode>
                <c:ptCount val="5"/>
                <c:pt idx="0">
                  <c:v>6.438201487491544</c:v>
                </c:pt>
                <c:pt idx="1">
                  <c:v>14.894366197183086</c:v>
                </c:pt>
                <c:pt idx="2">
                  <c:v>4.038220551378444</c:v>
                </c:pt>
                <c:pt idx="3">
                  <c:v>17.790780141843978</c:v>
                </c:pt>
                <c:pt idx="4">
                  <c:v>6.84234234234234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67</c:v>
                </c:pt>
                <c:pt idx="1">
                  <c:v>Av Price/Unit 92.19</c:v>
                </c:pt>
                <c:pt idx="2">
                  <c:v>Av Price/Unit 24.39</c:v>
                </c:pt>
                <c:pt idx="3">
                  <c:v>Av Price/Unit 110.68</c:v>
                </c:pt>
              </c:strCache>
            </c:strRef>
          </c:cat>
          <c:val>
            <c:numRef>
              <c:f>Sheet1!$B$2:$B$5</c:f>
              <c:numCache>
                <c:formatCode>General</c:formatCode>
                <c:ptCount val="4"/>
                <c:pt idx="0">
                  <c:v>13.308875510204084</c:v>
                </c:pt>
                <c:pt idx="1">
                  <c:v>32.42700740740741</c:v>
                </c:pt>
                <c:pt idx="2">
                  <c:v>9.3734</c:v>
                </c:pt>
                <c:pt idx="3">
                  <c:v>36.95407096774193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67</c:v>
                </c:pt>
                <c:pt idx="1">
                  <c:v>Av Price/Unit 92.19</c:v>
                </c:pt>
                <c:pt idx="2">
                  <c:v>Av Price/Unit 24.39</c:v>
                </c:pt>
                <c:pt idx="3">
                  <c:v>Av Price/Unit 110.68</c:v>
                </c:pt>
              </c:strCache>
            </c:strRef>
          </c:cat>
          <c:val>
            <c:numRef>
              <c:f>Sheet1!$C$2:$C$5</c:f>
              <c:numCache>
                <c:formatCode>General</c:formatCode>
                <c:ptCount val="4"/>
                <c:pt idx="0">
                  <c:v>16.206</c:v>
                </c:pt>
                <c:pt idx="1">
                  <c:v>34.927</c:v>
                </c:pt>
                <c:pt idx="2">
                  <c:v>9.058</c:v>
                </c:pt>
                <c:pt idx="3">
                  <c:v>44.390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67</c:v>
                </c:pt>
                <c:pt idx="1">
                  <c:v>Av Price/Unit 92.19</c:v>
                </c:pt>
                <c:pt idx="2">
                  <c:v>Av Price/Unit 24.39</c:v>
                </c:pt>
                <c:pt idx="3">
                  <c:v>Av Price/Unit 110.68</c:v>
                </c:pt>
              </c:strCache>
            </c:strRef>
          </c:cat>
          <c:val>
            <c:numRef>
              <c:f>Sheet1!$D$2:$D$5</c:f>
              <c:numCache>
                <c:formatCode>General</c:formatCode>
                <c:ptCount val="4"/>
                <c:pt idx="0">
                  <c:v>2.706012845138055</c:v>
                </c:pt>
                <c:pt idx="1">
                  <c:v>9.466980246913593</c:v>
                </c:pt>
                <c:pt idx="2">
                  <c:v>1.8360897119341573</c:v>
                </c:pt>
                <c:pt idx="3">
                  <c:v>10.8871118279569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67</c:v>
                </c:pt>
                <c:pt idx="1">
                  <c:v>Av Price/Unit 92.19</c:v>
                </c:pt>
                <c:pt idx="2">
                  <c:v>Av Price/Unit 24.39</c:v>
                </c:pt>
                <c:pt idx="3">
                  <c:v>Av Price/Unit 110.68</c:v>
                </c:pt>
              </c:strCache>
            </c:strRef>
          </c:cat>
          <c:val>
            <c:numRef>
              <c:f>Sheet1!$E$2:$E$5</c:f>
              <c:numCache>
                <c:formatCode>General</c:formatCode>
                <c:ptCount val="4"/>
                <c:pt idx="0">
                  <c:v>6.444177671068427</c:v>
                </c:pt>
                <c:pt idx="1">
                  <c:v>15.364197530864187</c:v>
                </c:pt>
                <c:pt idx="2">
                  <c:v>4.05349794238683</c:v>
                </c:pt>
                <c:pt idx="3">
                  <c:v>18.4462365591397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88</c:v>
                </c:pt>
                <c:pt idx="1">
                  <c:v>Av Price/Unit 95.30</c:v>
                </c:pt>
                <c:pt idx="2">
                  <c:v>Av Price/Unit 24.55</c:v>
                </c:pt>
                <c:pt idx="3">
                  <c:v>Av Price/Unit 110.92</c:v>
                </c:pt>
              </c:strCache>
            </c:strRef>
          </c:cat>
          <c:val>
            <c:numRef>
              <c:f>Sheet1!$B$2:$B$5</c:f>
              <c:numCache>
                <c:formatCode>General</c:formatCode>
                <c:ptCount val="4"/>
                <c:pt idx="0">
                  <c:v>13.272809197324415</c:v>
                </c:pt>
                <c:pt idx="1">
                  <c:v>32.54356666666666</c:v>
                </c:pt>
                <c:pt idx="2">
                  <c:v>9.3734</c:v>
                </c:pt>
                <c:pt idx="3">
                  <c:v>39.71255384615384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88</c:v>
                </c:pt>
                <c:pt idx="1">
                  <c:v>Av Price/Unit 95.30</c:v>
                </c:pt>
                <c:pt idx="2">
                  <c:v>Av Price/Unit 24.55</c:v>
                </c:pt>
                <c:pt idx="3">
                  <c:v>Av Price/Unit 110.92</c:v>
                </c:pt>
              </c:strCache>
            </c:strRef>
          </c:cat>
          <c:val>
            <c:numRef>
              <c:f>Sheet1!$C$2:$C$5</c:f>
              <c:numCache>
                <c:formatCode>General</c:formatCode>
                <c:ptCount val="4"/>
                <c:pt idx="0">
                  <c:v>16.206</c:v>
                </c:pt>
                <c:pt idx="1">
                  <c:v>34.927</c:v>
                </c:pt>
                <c:pt idx="2">
                  <c:v>9.058</c:v>
                </c:pt>
                <c:pt idx="3">
                  <c:v>44.3899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88</c:v>
                </c:pt>
                <c:pt idx="1">
                  <c:v>Av Price/Unit 95.30</c:v>
                </c:pt>
                <c:pt idx="2">
                  <c:v>Av Price/Unit 24.55</c:v>
                </c:pt>
                <c:pt idx="3">
                  <c:v>Av Price/Unit 110.92</c:v>
                </c:pt>
              </c:strCache>
            </c:strRef>
          </c:cat>
          <c:val>
            <c:numRef>
              <c:f>Sheet1!$D$2:$D$5</c:f>
              <c:numCache>
                <c:formatCode>General</c:formatCode>
                <c:ptCount val="4"/>
                <c:pt idx="0">
                  <c:v>2.9194628205128197</c:v>
                </c:pt>
                <c:pt idx="1">
                  <c:v>11.946100000000015</c:v>
                </c:pt>
                <c:pt idx="2">
                  <c:v>2.2301120274914155</c:v>
                </c:pt>
                <c:pt idx="3">
                  <c:v>8.33334358974357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88</c:v>
                </c:pt>
                <c:pt idx="1">
                  <c:v>Av Price/Unit 95.30</c:v>
                </c:pt>
                <c:pt idx="2">
                  <c:v>Av Price/Unit 24.55</c:v>
                </c:pt>
                <c:pt idx="3">
                  <c:v>Av Price/Unit 110.92</c:v>
                </c:pt>
              </c:strCache>
            </c:strRef>
          </c:cat>
          <c:val>
            <c:numRef>
              <c:f>Sheet1!$E$2:$E$5</c:f>
              <c:numCache>
                <c:formatCode>General</c:formatCode>
                <c:ptCount val="4"/>
                <c:pt idx="0">
                  <c:v>6.479654403567445</c:v>
                </c:pt>
                <c:pt idx="1">
                  <c:v>15.883333333333333</c:v>
                </c:pt>
                <c:pt idx="2">
                  <c:v>4.132302405498279</c:v>
                </c:pt>
                <c:pt idx="3">
                  <c:v>18.487179487179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81</c:v>
                </c:pt>
                <c:pt idx="1">
                  <c:v>Av Price/Unit 91.93</c:v>
                </c:pt>
                <c:pt idx="2">
                  <c:v>Av Price/Unit 24.40</c:v>
                </c:pt>
                <c:pt idx="3">
                  <c:v>Av Price/Unit 108.65</c:v>
                </c:pt>
              </c:strCache>
            </c:strRef>
          </c:cat>
          <c:val>
            <c:numRef>
              <c:f>Sheet1!$B$2:$B$5</c:f>
              <c:numCache>
                <c:formatCode>General</c:formatCode>
                <c:ptCount val="4"/>
                <c:pt idx="0">
                  <c:v>13.33840909090909</c:v>
                </c:pt>
                <c:pt idx="1">
                  <c:v>32.89324444444444</c:v>
                </c:pt>
                <c:pt idx="2">
                  <c:v>9.3734</c:v>
                </c:pt>
                <c:pt idx="3">
                  <c:v>36.5903764705882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81</c:v>
                </c:pt>
                <c:pt idx="1">
                  <c:v>Av Price/Unit 91.93</c:v>
                </c:pt>
                <c:pt idx="2">
                  <c:v>Av Price/Unit 24.40</c:v>
                </c:pt>
                <c:pt idx="3">
                  <c:v>Av Price/Unit 108.65</c:v>
                </c:pt>
              </c:strCache>
            </c:strRef>
          </c:cat>
          <c:val>
            <c:numRef>
              <c:f>Sheet1!$C$2:$C$5</c:f>
              <c:numCache>
                <c:formatCode>General</c:formatCode>
                <c:ptCount val="4"/>
                <c:pt idx="0">
                  <c:v>16.206</c:v>
                </c:pt>
                <c:pt idx="1">
                  <c:v>34.92699999999999</c:v>
                </c:pt>
                <c:pt idx="2">
                  <c:v>9.058</c:v>
                </c:pt>
                <c:pt idx="3">
                  <c:v>44.39000000000001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81</c:v>
                </c:pt>
                <c:pt idx="1">
                  <c:v>Av Price/Unit 91.93</c:v>
                </c:pt>
                <c:pt idx="2">
                  <c:v>Av Price/Unit 24.40</c:v>
                </c:pt>
                <c:pt idx="3">
                  <c:v>Av Price/Unit 108.65</c:v>
                </c:pt>
              </c:strCache>
            </c:strRef>
          </c:cat>
          <c:val>
            <c:numRef>
              <c:f>Sheet1!$D$2:$D$5</c:f>
              <c:numCache>
                <c:formatCode>General</c:formatCode>
                <c:ptCount val="4"/>
                <c:pt idx="0">
                  <c:v>2.796423477196207</c:v>
                </c:pt>
                <c:pt idx="1">
                  <c:v>8.788551851851864</c:v>
                </c:pt>
                <c:pt idx="2">
                  <c:v>1.9211641025641057</c:v>
                </c:pt>
                <c:pt idx="3">
                  <c:v>9.55883921568630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81</c:v>
                </c:pt>
                <c:pt idx="1">
                  <c:v>Av Price/Unit 91.93</c:v>
                </c:pt>
                <c:pt idx="2">
                  <c:v>Av Price/Unit 24.40</c:v>
                </c:pt>
                <c:pt idx="3">
                  <c:v>Av Price/Unit 108.65</c:v>
                </c:pt>
              </c:strCache>
            </c:strRef>
          </c:cat>
          <c:val>
            <c:numRef>
              <c:f>Sheet1!$E$2:$E$5</c:f>
              <c:numCache>
                <c:formatCode>General</c:formatCode>
                <c:ptCount val="4"/>
                <c:pt idx="0">
                  <c:v>6.468166513621054</c:v>
                </c:pt>
                <c:pt idx="1">
                  <c:v>15.321759259259263</c:v>
                </c:pt>
                <c:pt idx="2">
                  <c:v>4.070512820512817</c:v>
                </c:pt>
                <c:pt idx="3">
                  <c:v>18.1078431372548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5E8F33B-64C8-417A-89FC-0F1C1BCDB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155F546-BDB8-466C-8B87-B70A03DF1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2806DF1-4857-43D2-BAC7-74D59F230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71A44E0-6BBA-4222-BC63-8B7314B11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9C100C7-E3CC-4121-AD16-E484DAB64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A5FF1D5-3669-422B-94B4-71BA03080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25B4D23-034D-4710-BAAD-7E3D6C42A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37C3260-AD50-4FED-9C31-AD89248A5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43.0932</c:v>
                </c:pt>
                <c:pt idx="1">
                  <c:v>43.373</c:v>
                </c:pt>
                <c:pt idx="2">
                  <c:v>43.1859</c:v>
                </c:pt>
                <c:pt idx="3">
                  <c:v>44.7143</c:v>
                </c:pt>
                <c:pt idx="4">
                  <c:v>42.6965</c:v>
                </c:pt>
              </c:numCache>
            </c:numRef>
          </c:xVal>
          <c:yVal>
            <c:numRef>
              <c:f>Sheet1!$B$2:$B$6</c:f>
              <c:numCache>
                <c:formatCode>General</c:formatCode>
                <c:ptCount val="5"/>
                <c:pt idx="0">
                  <c:v>0.3936</c:v>
                </c:pt>
                <c:pt idx="1">
                  <c:v>0.3935</c:v>
                </c:pt>
                <c:pt idx="2">
                  <c:v>0.3948</c:v>
                </c:pt>
                <c:pt idx="3">
                  <c:v>0.3945</c:v>
                </c:pt>
                <c:pt idx="4">
                  <c:v>0.3923</c:v>
                </c:pt>
              </c:numCache>
            </c:numRef>
          </c:yVal>
          <c:bubbleSize>
            <c:numRef>
              <c:f>Sheet1!$C$2:$C$6</c:f>
              <c:numCache>
                <c:formatCode>General</c:formatCode>
                <c:ptCount val="5"/>
                <c:pt idx="0">
                  <c:v>7802318.1625000015</c:v>
                </c:pt>
                <c:pt idx="1">
                  <c:v>5142130.9407999925</c:v>
                </c:pt>
                <c:pt idx="2">
                  <c:v>6236088.162099996</c:v>
                </c:pt>
                <c:pt idx="3">
                  <c:v>9822170.222799994</c:v>
                </c:pt>
                <c:pt idx="4">
                  <c:v>5711509.81409999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3.65716"/>
          <c:min val="34.157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9384151727430927"/>
        <c:crossBetween val="midCat"/>
      </c:valAx>
      <c:valAx>
        <c:axId val="1011451359"/>
        <c:scaling>
          <c:orientation val="minMax"/>
          <c:max val="0.83376"/>
          <c:min val="0.0738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3.544710044956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39.41</c:v>
                </c:pt>
              </c:strCache>
            </c:strRef>
          </c:cat>
          <c:val>
            <c:numRef>
              <c:f>Sheet1!$B$2:$B$2</c:f>
              <c:numCache>
                <c:formatCode>General</c:formatCode>
                <c:ptCount val="1"/>
                <c:pt idx="0">
                  <c:v>13.38781285714285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39.41</c:v>
                </c:pt>
              </c:strCache>
            </c:strRef>
          </c:cat>
          <c:val>
            <c:numRef>
              <c:f>Sheet1!$C$2:$C$2</c:f>
              <c:numCache>
                <c:formatCode>General</c:formatCode>
                <c:ptCount val="1"/>
                <c:pt idx="0">
                  <c:v>16.20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39.41</c:v>
                </c:pt>
              </c:strCache>
            </c:strRef>
          </c:cat>
          <c:val>
            <c:numRef>
              <c:f>Sheet1!$D$2:$D$2</c:f>
              <c:numCache>
                <c:formatCode>General</c:formatCode>
                <c:ptCount val="1"/>
                <c:pt idx="0">
                  <c:v>3.247456984126987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v Price/Unit 39.41</c:v>
                </c:pt>
              </c:strCache>
            </c:strRef>
          </c:cat>
          <c:val>
            <c:numRef>
              <c:f>Sheet1!$E$2:$E$2</c:f>
              <c:numCache>
                <c:formatCode>General</c:formatCode>
                <c:ptCount val="1"/>
                <c:pt idx="0">
                  <c:v>6.56825396825397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9.20</c:v>
                </c:pt>
                <c:pt idx="1">
                  <c:v>Av Price/Unit 92.43</c:v>
                </c:pt>
                <c:pt idx="2">
                  <c:v>Av Price/Unit 126.12</c:v>
                </c:pt>
                <c:pt idx="3">
                  <c:v>Av Price/Unit 24.76</c:v>
                </c:pt>
              </c:strCache>
            </c:strRef>
          </c:cat>
          <c:val>
            <c:numRef>
              <c:f>Sheet1!$B$2:$B$5</c:f>
              <c:numCache>
                <c:formatCode>General</c:formatCode>
                <c:ptCount val="4"/>
                <c:pt idx="0">
                  <c:v>13.301770960187355</c:v>
                </c:pt>
                <c:pt idx="1">
                  <c:v>32.58315283018868</c:v>
                </c:pt>
                <c:pt idx="2">
                  <c:v>38.4224875</c:v>
                </c:pt>
                <c:pt idx="3">
                  <c:v>9.373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9.20</c:v>
                </c:pt>
                <c:pt idx="1">
                  <c:v>Av Price/Unit 92.43</c:v>
                </c:pt>
                <c:pt idx="2">
                  <c:v>Av Price/Unit 126.12</c:v>
                </c:pt>
                <c:pt idx="3">
                  <c:v>Av Price/Unit 24.76</c:v>
                </c:pt>
              </c:strCache>
            </c:strRef>
          </c:cat>
          <c:val>
            <c:numRef>
              <c:f>Sheet1!$C$2:$C$5</c:f>
              <c:numCache>
                <c:formatCode>General</c:formatCode>
                <c:ptCount val="4"/>
                <c:pt idx="0">
                  <c:v>16.206</c:v>
                </c:pt>
                <c:pt idx="1">
                  <c:v>34.92700000000001</c:v>
                </c:pt>
                <c:pt idx="2">
                  <c:v>44.38999999999999</c:v>
                </c:pt>
                <c:pt idx="3">
                  <c:v>9.05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9.20</c:v>
                </c:pt>
                <c:pt idx="1">
                  <c:v>Av Price/Unit 92.43</c:v>
                </c:pt>
                <c:pt idx="2">
                  <c:v>Av Price/Unit 126.12</c:v>
                </c:pt>
                <c:pt idx="3">
                  <c:v>Av Price/Unit 24.76</c:v>
                </c:pt>
              </c:strCache>
            </c:strRef>
          </c:cat>
          <c:val>
            <c:numRef>
              <c:f>Sheet1!$D$2:$D$5</c:f>
              <c:numCache>
                <c:formatCode>General</c:formatCode>
                <c:ptCount val="4"/>
                <c:pt idx="0">
                  <c:v>3.156163466042152</c:v>
                </c:pt>
                <c:pt idx="1">
                  <c:v>9.518149056603761</c:v>
                </c:pt>
                <c:pt idx="2">
                  <c:v>22.29167916666667</c:v>
                </c:pt>
                <c:pt idx="3">
                  <c:v>2.163838095238098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9.20</c:v>
                </c:pt>
                <c:pt idx="1">
                  <c:v>Av Price/Unit 92.43</c:v>
                </c:pt>
                <c:pt idx="2">
                  <c:v>Av Price/Unit 126.12</c:v>
                </c:pt>
                <c:pt idx="3">
                  <c:v>Av Price/Unit 24.76</c:v>
                </c:pt>
              </c:strCache>
            </c:strRef>
          </c:cat>
          <c:val>
            <c:numRef>
              <c:f>Sheet1!$E$2:$E$5</c:f>
              <c:numCache>
                <c:formatCode>General</c:formatCode>
                <c:ptCount val="4"/>
                <c:pt idx="0">
                  <c:v>6.532786885245898</c:v>
                </c:pt>
                <c:pt idx="1">
                  <c:v>15.40566037735849</c:v>
                </c:pt>
                <c:pt idx="2">
                  <c:v>21.02083333333333</c:v>
                </c:pt>
                <c:pt idx="3">
                  <c:v>4.11904761904761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9.25</c:v>
                </c:pt>
                <c:pt idx="1">
                  <c:v>Av Price/Unit 91.31</c:v>
                </c:pt>
              </c:strCache>
            </c:strRef>
          </c:cat>
          <c:val>
            <c:numRef>
              <c:f>Sheet1!$B$2:$B$3</c:f>
              <c:numCache>
                <c:formatCode>General</c:formatCode>
                <c:ptCount val="2"/>
                <c:pt idx="0">
                  <c:v>13.331232</c:v>
                </c:pt>
                <c:pt idx="1">
                  <c:v>32.805824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9.25</c:v>
                </c:pt>
                <c:pt idx="1">
                  <c:v>Av Price/Unit 91.31</c:v>
                </c:pt>
              </c:strCache>
            </c:strRef>
          </c:cat>
          <c:val>
            <c:numRef>
              <c:f>Sheet1!$C$2:$C$3</c:f>
              <c:numCache>
                <c:formatCode>General</c:formatCode>
                <c:ptCount val="2"/>
                <c:pt idx="0">
                  <c:v>16.205999999999996</c:v>
                </c:pt>
                <c:pt idx="1">
                  <c:v>34.927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9.25</c:v>
                </c:pt>
                <c:pt idx="1">
                  <c:v>Av Price/Unit 91.31</c:v>
                </c:pt>
              </c:strCache>
            </c:strRef>
          </c:cat>
          <c:val>
            <c:numRef>
              <c:f>Sheet1!$D$2:$D$3</c:f>
              <c:numCache>
                <c:formatCode>General</c:formatCode>
                <c:ptCount val="2"/>
                <c:pt idx="0">
                  <c:v>3.1701754074074167</c:v>
                </c:pt>
                <c:pt idx="1">
                  <c:v>8.36092500000002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9.25</c:v>
                </c:pt>
                <c:pt idx="1">
                  <c:v>Av Price/Unit 91.31</c:v>
                </c:pt>
              </c:strCache>
            </c:strRef>
          </c:cat>
          <c:val>
            <c:numRef>
              <c:f>Sheet1!$E$2:$E$3</c:f>
              <c:numCache>
                <c:formatCode>General</c:formatCode>
                <c:ptCount val="2"/>
                <c:pt idx="0">
                  <c:v>6.541481481481476</c:v>
                </c:pt>
                <c:pt idx="1">
                  <c:v>15.21874999999998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53</c:v>
                </c:pt>
                <c:pt idx="1">
                  <c:v>Av Price/Unit 88.19</c:v>
                </c:pt>
                <c:pt idx="2">
                  <c:v>Av Price/Unit 24.15</c:v>
                </c:pt>
                <c:pt idx="3">
                  <c:v>Av Price/Unit 102.19</c:v>
                </c:pt>
              </c:strCache>
            </c:strRef>
          </c:cat>
          <c:val>
            <c:numRef>
              <c:f>Sheet1!$B$2:$B$5</c:f>
              <c:numCache>
                <c:formatCode>General</c:formatCode>
                <c:ptCount val="4"/>
                <c:pt idx="0">
                  <c:v>13.300317242607766</c:v>
                </c:pt>
                <c:pt idx="1">
                  <c:v>32.45134395604396</c:v>
                </c:pt>
                <c:pt idx="2">
                  <c:v>9.373399999999998</c:v>
                </c:pt>
                <c:pt idx="3">
                  <c:v>34.7900887096774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53</c:v>
                </c:pt>
                <c:pt idx="1">
                  <c:v>Av Price/Unit 88.19</c:v>
                </c:pt>
                <c:pt idx="2">
                  <c:v>Av Price/Unit 24.15</c:v>
                </c:pt>
                <c:pt idx="3">
                  <c:v>Av Price/Unit 102.19</c:v>
                </c:pt>
              </c:strCache>
            </c:strRef>
          </c:cat>
          <c:val>
            <c:numRef>
              <c:f>Sheet1!$C$2:$C$5</c:f>
              <c:numCache>
                <c:formatCode>General</c:formatCode>
                <c:ptCount val="4"/>
                <c:pt idx="0">
                  <c:v>16.206</c:v>
                </c:pt>
                <c:pt idx="1">
                  <c:v>34.927</c:v>
                </c:pt>
                <c:pt idx="2">
                  <c:v>9.058</c:v>
                </c:pt>
                <c:pt idx="3">
                  <c:v>44.3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53</c:v>
                </c:pt>
                <c:pt idx="1">
                  <c:v>Av Price/Unit 88.19</c:v>
                </c:pt>
                <c:pt idx="2">
                  <c:v>Av Price/Unit 24.15</c:v>
                </c:pt>
                <c:pt idx="3">
                  <c:v>Av Price/Unit 102.19</c:v>
                </c:pt>
              </c:strCache>
            </c:strRef>
          </c:cat>
          <c:val>
            <c:numRef>
              <c:f>Sheet1!$D$2:$D$5</c:f>
              <c:numCache>
                <c:formatCode>General</c:formatCode>
                <c:ptCount val="4"/>
                <c:pt idx="0">
                  <c:v>2.6029928155800874</c:v>
                </c:pt>
                <c:pt idx="1">
                  <c:v>6.115245787545803</c:v>
                </c:pt>
                <c:pt idx="2">
                  <c:v>1.648188014981276</c:v>
                </c:pt>
                <c:pt idx="3">
                  <c:v>5.9812016129032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53</c:v>
                </c:pt>
                <c:pt idx="1">
                  <c:v>Av Price/Unit 88.19</c:v>
                </c:pt>
                <c:pt idx="2">
                  <c:v>Av Price/Unit 24.15</c:v>
                </c:pt>
                <c:pt idx="3">
                  <c:v>Av Price/Unit 102.19</c:v>
                </c:pt>
              </c:strCache>
            </c:strRef>
          </c:cat>
          <c:val>
            <c:numRef>
              <c:f>Sheet1!$E$2:$E$5</c:f>
              <c:numCache>
                <c:formatCode>General</c:formatCode>
                <c:ptCount val="4"/>
                <c:pt idx="0">
                  <c:v>6.421862011637574</c:v>
                </c:pt>
                <c:pt idx="1">
                  <c:v>14.698717948717945</c:v>
                </c:pt>
                <c:pt idx="2">
                  <c:v>4.015917602996253</c:v>
                </c:pt>
                <c:pt idx="3">
                  <c:v>17.03225806451614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61</c:v>
                </c:pt>
                <c:pt idx="1">
                  <c:v>Av Price/Unit 89.20</c:v>
                </c:pt>
                <c:pt idx="2">
                  <c:v>Av Price/Unit 24.21</c:v>
                </c:pt>
                <c:pt idx="3">
                  <c:v>Av Price/Unit 108.56</c:v>
                </c:pt>
              </c:strCache>
            </c:strRef>
          </c:cat>
          <c:val>
            <c:numRef>
              <c:f>Sheet1!$B$2:$B$5</c:f>
              <c:numCache>
                <c:formatCode>General</c:formatCode>
                <c:ptCount val="4"/>
                <c:pt idx="0">
                  <c:v>13.306992886645252</c:v>
                </c:pt>
                <c:pt idx="1">
                  <c:v>32.86283768115941</c:v>
                </c:pt>
                <c:pt idx="2">
                  <c:v>9.3734</c:v>
                </c:pt>
                <c:pt idx="3">
                  <c:v>37.13242115384614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61</c:v>
                </c:pt>
                <c:pt idx="1">
                  <c:v>Av Price/Unit 89.20</c:v>
                </c:pt>
                <c:pt idx="2">
                  <c:v>Av Price/Unit 24.21</c:v>
                </c:pt>
                <c:pt idx="3">
                  <c:v>Av Price/Unit 108.56</c:v>
                </c:pt>
              </c:strCache>
            </c:strRef>
          </c:cat>
          <c:val>
            <c:numRef>
              <c:f>Sheet1!$C$2:$C$5</c:f>
              <c:numCache>
                <c:formatCode>General</c:formatCode>
                <c:ptCount val="4"/>
                <c:pt idx="0">
                  <c:v>16.206</c:v>
                </c:pt>
                <c:pt idx="1">
                  <c:v>34.927</c:v>
                </c:pt>
                <c:pt idx="2">
                  <c:v>9.058000000000002</c:v>
                </c:pt>
                <c:pt idx="3">
                  <c:v>44.3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61</c:v>
                </c:pt>
                <c:pt idx="1">
                  <c:v>Av Price/Unit 89.20</c:v>
                </c:pt>
                <c:pt idx="2">
                  <c:v>Av Price/Unit 24.21</c:v>
                </c:pt>
                <c:pt idx="3">
                  <c:v>Av Price/Unit 108.56</c:v>
                </c:pt>
              </c:strCache>
            </c:strRef>
          </c:cat>
          <c:val>
            <c:numRef>
              <c:f>Sheet1!$D$2:$D$5</c:f>
              <c:numCache>
                <c:formatCode>General</c:formatCode>
                <c:ptCount val="4"/>
                <c:pt idx="0">
                  <c:v>2.658110065779404</c:v>
                </c:pt>
                <c:pt idx="1">
                  <c:v>6.539872463768106</c:v>
                </c:pt>
                <c:pt idx="2">
                  <c:v>1.7844634538152633</c:v>
                </c:pt>
                <c:pt idx="3">
                  <c:v>8.94232243589743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61</c:v>
                </c:pt>
                <c:pt idx="1">
                  <c:v>Av Price/Unit 89.20</c:v>
                </c:pt>
                <c:pt idx="2">
                  <c:v>Av Price/Unit 24.21</c:v>
                </c:pt>
                <c:pt idx="3">
                  <c:v>Av Price/Unit 108.56</c:v>
                </c:pt>
              </c:strCache>
            </c:strRef>
          </c:cat>
          <c:val>
            <c:numRef>
              <c:f>Sheet1!$E$2:$E$5</c:f>
              <c:numCache>
                <c:formatCode>General</c:formatCode>
                <c:ptCount val="4"/>
                <c:pt idx="0">
                  <c:v>6.4342205904849346</c:v>
                </c:pt>
                <c:pt idx="1">
                  <c:v>14.865942028985508</c:v>
                </c:pt>
                <c:pt idx="2">
                  <c:v>4.043172690763051</c:v>
                </c:pt>
                <c:pt idx="3">
                  <c:v>18.09294871794871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38.72</c:v>
                </c:pt>
                <c:pt idx="1">
                  <c:v>Av Price/Unit 88.34</c:v>
                </c:pt>
                <c:pt idx="2">
                  <c:v>Av Price/Unit 24.25</c:v>
                </c:pt>
                <c:pt idx="3">
                  <c:v>Av Price/Unit 107.77</c:v>
                </c:pt>
                <c:pt idx="4">
                  <c:v>Av Price/Unit 40.91</c:v>
                </c:pt>
              </c:strCache>
            </c:strRef>
          </c:cat>
          <c:val>
            <c:numRef>
              <c:f>Sheet1!$B$2:$B$6</c:f>
              <c:numCache>
                <c:formatCode>General</c:formatCode>
                <c:ptCount val="5"/>
                <c:pt idx="0">
                  <c:v>13.334985188916876</c:v>
                </c:pt>
                <c:pt idx="1">
                  <c:v>32.69028461538461</c:v>
                </c:pt>
                <c:pt idx="2">
                  <c:v>9.3734</c:v>
                </c:pt>
                <c:pt idx="3">
                  <c:v>36.46225681818181</c:v>
                </c:pt>
                <c:pt idx="4">
                  <c:v>12.950899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38.72</c:v>
                </c:pt>
                <c:pt idx="1">
                  <c:v>Av Price/Unit 88.34</c:v>
                </c:pt>
                <c:pt idx="2">
                  <c:v>Av Price/Unit 24.25</c:v>
                </c:pt>
                <c:pt idx="3">
                  <c:v>Av Price/Unit 107.77</c:v>
                </c:pt>
                <c:pt idx="4">
                  <c:v>Av Price/Unit 40.91</c:v>
                </c:pt>
              </c:strCache>
            </c:strRef>
          </c:cat>
          <c:val>
            <c:numRef>
              <c:f>Sheet1!$C$2:$C$6</c:f>
              <c:numCache>
                <c:formatCode>General</c:formatCode>
                <c:ptCount val="5"/>
                <c:pt idx="0">
                  <c:v>16.206</c:v>
                </c:pt>
                <c:pt idx="1">
                  <c:v>34.927</c:v>
                </c:pt>
                <c:pt idx="2">
                  <c:v>9.058</c:v>
                </c:pt>
                <c:pt idx="3">
                  <c:v>44.390000000000015</c:v>
                </c:pt>
                <c:pt idx="4">
                  <c:v>15.88899999999999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38.72</c:v>
                </c:pt>
                <c:pt idx="1">
                  <c:v>Av Price/Unit 88.34</c:v>
                </c:pt>
                <c:pt idx="2">
                  <c:v>Av Price/Unit 24.25</c:v>
                </c:pt>
                <c:pt idx="3">
                  <c:v>Av Price/Unit 107.77</c:v>
                </c:pt>
                <c:pt idx="4">
                  <c:v>Av Price/Unit 40.91</c:v>
                </c:pt>
              </c:strCache>
            </c:strRef>
          </c:cat>
          <c:val>
            <c:numRef>
              <c:f>Sheet1!$D$2:$D$6</c:f>
              <c:numCache>
                <c:formatCode>General</c:formatCode>
                <c:ptCount val="5"/>
                <c:pt idx="0">
                  <c:v>2.72517769941226</c:v>
                </c:pt>
                <c:pt idx="1">
                  <c:v>5.995768997669018</c:v>
                </c:pt>
                <c:pt idx="2">
                  <c:v>1.7254627450980422</c:v>
                </c:pt>
                <c:pt idx="3">
                  <c:v>8.958349242424262</c:v>
                </c:pt>
                <c:pt idx="4">
                  <c:v>5.13445897435897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38.72</c:v>
                </c:pt>
                <c:pt idx="1">
                  <c:v>Av Price/Unit 88.34</c:v>
                </c:pt>
                <c:pt idx="2">
                  <c:v>Av Price/Unit 24.25</c:v>
                </c:pt>
                <c:pt idx="3">
                  <c:v>Av Price/Unit 107.77</c:v>
                </c:pt>
                <c:pt idx="4">
                  <c:v>Av Price/Unit 40.91</c:v>
                </c:pt>
              </c:strCache>
            </c:strRef>
          </c:cat>
          <c:val>
            <c:numRef>
              <c:f>Sheet1!$E$2:$E$6</c:f>
              <c:numCache>
                <c:formatCode>General</c:formatCode>
                <c:ptCount val="5"/>
                <c:pt idx="0">
                  <c:v>6.453232577665826</c:v>
                </c:pt>
                <c:pt idx="1">
                  <c:v>14.722610722610714</c:v>
                </c:pt>
                <c:pt idx="2">
                  <c:v>4.031372549019604</c:v>
                </c:pt>
                <c:pt idx="3">
                  <c:v>17.962121212121204</c:v>
                </c:pt>
                <c:pt idx="4">
                  <c:v>6.79487179487179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80</c:v>
                </c:pt>
                <c:pt idx="1">
                  <c:v>Av Price/Unit 89.76</c:v>
                </c:pt>
                <c:pt idx="2">
                  <c:v>Av Price/Unit 24.26</c:v>
                </c:pt>
                <c:pt idx="3">
                  <c:v>Av Price/Unit 110.79</c:v>
                </c:pt>
              </c:strCache>
            </c:strRef>
          </c:cat>
          <c:val>
            <c:numRef>
              <c:f>Sheet1!$B$2:$B$5</c:f>
              <c:numCache>
                <c:formatCode>General</c:formatCode>
                <c:ptCount val="4"/>
                <c:pt idx="0">
                  <c:v>13.328177029464824</c:v>
                </c:pt>
                <c:pt idx="1">
                  <c:v>32.89324444444445</c:v>
                </c:pt>
                <c:pt idx="2">
                  <c:v>9.3734</c:v>
                </c:pt>
                <c:pt idx="3">
                  <c:v>37.1541029411764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80</c:v>
                </c:pt>
                <c:pt idx="1">
                  <c:v>Av Price/Unit 89.76</c:v>
                </c:pt>
                <c:pt idx="2">
                  <c:v>Av Price/Unit 24.26</c:v>
                </c:pt>
                <c:pt idx="3">
                  <c:v>Av Price/Unit 110.79</c:v>
                </c:pt>
              </c:strCache>
            </c:strRef>
          </c:cat>
          <c:val>
            <c:numRef>
              <c:f>Sheet1!$C$2:$C$5</c:f>
              <c:numCache>
                <c:formatCode>General</c:formatCode>
                <c:ptCount val="4"/>
                <c:pt idx="0">
                  <c:v>16.205999999999996</c:v>
                </c:pt>
                <c:pt idx="1">
                  <c:v>34.927</c:v>
                </c:pt>
                <c:pt idx="2">
                  <c:v>9.058</c:v>
                </c:pt>
                <c:pt idx="3">
                  <c:v>44.3900000000000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80</c:v>
                </c:pt>
                <c:pt idx="1">
                  <c:v>Av Price/Unit 89.76</c:v>
                </c:pt>
                <c:pt idx="2">
                  <c:v>Av Price/Unit 24.26</c:v>
                </c:pt>
                <c:pt idx="3">
                  <c:v>Av Price/Unit 110.79</c:v>
                </c:pt>
              </c:strCache>
            </c:strRef>
          </c:cat>
          <c:val>
            <c:numRef>
              <c:f>Sheet1!$D$2:$D$5</c:f>
              <c:numCache>
                <c:formatCode>General</c:formatCode>
                <c:ptCount val="4"/>
                <c:pt idx="0">
                  <c:v>2.8019624774503953</c:v>
                </c:pt>
                <c:pt idx="1">
                  <c:v>6.9760518518518495</c:v>
                </c:pt>
                <c:pt idx="2">
                  <c:v>1.8408772277227712</c:v>
                </c:pt>
                <c:pt idx="3">
                  <c:v>10.78432843137258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8.80</c:v>
                </c:pt>
                <c:pt idx="1">
                  <c:v>Av Price/Unit 89.76</c:v>
                </c:pt>
                <c:pt idx="2">
                  <c:v>Av Price/Unit 24.26</c:v>
                </c:pt>
                <c:pt idx="3">
                  <c:v>Av Price/Unit 110.79</c:v>
                </c:pt>
              </c:strCache>
            </c:strRef>
          </c:cat>
          <c:val>
            <c:numRef>
              <c:f>Sheet1!$E$2:$E$5</c:f>
              <c:numCache>
                <c:formatCode>General</c:formatCode>
                <c:ptCount val="4"/>
                <c:pt idx="0">
                  <c:v>6.467227901383039</c:v>
                </c:pt>
                <c:pt idx="1">
                  <c:v>14.959259259259246</c:v>
                </c:pt>
                <c:pt idx="2">
                  <c:v>4.054455445544554</c:v>
                </c:pt>
                <c:pt idx="3">
                  <c:v>18.4656862745097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1.32</c:v>
                </c:pt>
                <c:pt idx="1">
                  <c:v>Av Price/Unit 30.46</c:v>
                </c:pt>
                <c:pt idx="2">
                  <c:v>Av Price/Unit 22.26</c:v>
                </c:pt>
                <c:pt idx="3">
                  <c:v>Av Price/Unit 45.43</c:v>
                </c:pt>
                <c:pt idx="4">
                  <c:v>Av Price/Unit 46.50</c:v>
                </c:pt>
                <c:pt idx="5">
                  <c:v>Av Price/Unit 77.48</c:v>
                </c:pt>
                <c:pt idx="6">
                  <c:v>Av Price/Unit 33.74</c:v>
                </c:pt>
              </c:strCache>
            </c:strRef>
          </c:cat>
          <c:val>
            <c:numRef>
              <c:f>Sheet1!$B$2:$B$8</c:f>
              <c:numCache>
                <c:formatCode>General</c:formatCode>
                <c:ptCount val="7"/>
                <c:pt idx="0">
                  <c:v>3.601073810785041</c:v>
                </c:pt>
                <c:pt idx="1">
                  <c:v>11.762839824224114</c:v>
                </c:pt>
                <c:pt idx="2">
                  <c:v>9.208748546511629</c:v>
                </c:pt>
                <c:pt idx="3">
                  <c:v>10.719486411149827</c:v>
                </c:pt>
                <c:pt idx="4">
                  <c:v>17.406</c:v>
                </c:pt>
                <c:pt idx="5">
                  <c:v>26.0915</c:v>
                </c:pt>
                <c:pt idx="6">
                  <c:v>11.309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1.32</c:v>
                </c:pt>
                <c:pt idx="1">
                  <c:v>Av Price/Unit 30.46</c:v>
                </c:pt>
                <c:pt idx="2">
                  <c:v>Av Price/Unit 22.26</c:v>
                </c:pt>
                <c:pt idx="3">
                  <c:v>Av Price/Unit 45.43</c:v>
                </c:pt>
                <c:pt idx="4">
                  <c:v>Av Price/Unit 46.50</c:v>
                </c:pt>
                <c:pt idx="5">
                  <c:v>Av Price/Unit 77.48</c:v>
                </c:pt>
                <c:pt idx="6">
                  <c:v>Av Price/Unit 33.74</c:v>
                </c:pt>
              </c:strCache>
            </c:strRef>
          </c:cat>
          <c:val>
            <c:numRef>
              <c:f>Sheet1!$C$2:$C$8</c:f>
              <c:numCache>
                <c:formatCode>General</c:formatCode>
                <c:ptCount val="7"/>
                <c:pt idx="0">
                  <c:v>13.408466698449693</c:v>
                </c:pt>
                <c:pt idx="1">
                  <c:v>14.311583356220819</c:v>
                </c:pt>
                <c:pt idx="2">
                  <c:v>8.79515406976744</c:v>
                </c:pt>
                <c:pt idx="3">
                  <c:v>26.98087804878049</c:v>
                </c:pt>
                <c:pt idx="4">
                  <c:v>21.344</c:v>
                </c:pt>
                <c:pt idx="5">
                  <c:v>31.530999999999995</c:v>
                </c:pt>
                <c:pt idx="6">
                  <c:v>14.5012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1.32</c:v>
                </c:pt>
                <c:pt idx="1">
                  <c:v>Av Price/Unit 30.46</c:v>
                </c:pt>
                <c:pt idx="2">
                  <c:v>Av Price/Unit 22.26</c:v>
                </c:pt>
                <c:pt idx="3">
                  <c:v>Av Price/Unit 45.43</c:v>
                </c:pt>
                <c:pt idx="4">
                  <c:v>Av Price/Unit 46.50</c:v>
                </c:pt>
                <c:pt idx="5">
                  <c:v>Av Price/Unit 77.48</c:v>
                </c:pt>
                <c:pt idx="6">
                  <c:v>Av Price/Unit 33.74</c:v>
                </c:pt>
              </c:strCache>
            </c:strRef>
          </c:cat>
          <c:val>
            <c:numRef>
              <c:f>Sheet1!$D$2:$D$8</c:f>
              <c:numCache>
                <c:formatCode>General</c:formatCode>
                <c:ptCount val="7"/>
                <c:pt idx="0">
                  <c:v>0.758555216536589</c:v>
                </c:pt>
                <c:pt idx="1">
                  <c:v>-0.694948677103362</c:v>
                </c:pt>
                <c:pt idx="2">
                  <c:v>0.5450314922480572</c:v>
                </c:pt>
                <c:pt idx="3">
                  <c:v>0.15968199767712576</c:v>
                </c:pt>
                <c:pt idx="4">
                  <c:v>-0.10148042024832904</c:v>
                </c:pt>
                <c:pt idx="5">
                  <c:v>6.451574074074081</c:v>
                </c:pt>
                <c:pt idx="6">
                  <c:v>1.56109917695473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1.32</c:v>
                </c:pt>
                <c:pt idx="1">
                  <c:v>Av Price/Unit 30.46</c:v>
                </c:pt>
                <c:pt idx="2">
                  <c:v>Av Price/Unit 22.26</c:v>
                </c:pt>
                <c:pt idx="3">
                  <c:v>Av Price/Unit 45.43</c:v>
                </c:pt>
                <c:pt idx="4">
                  <c:v>Av Price/Unit 46.50</c:v>
                </c:pt>
                <c:pt idx="5">
                  <c:v>Av Price/Unit 77.48</c:v>
                </c:pt>
                <c:pt idx="6">
                  <c:v>Av Price/Unit 33.74</c:v>
                </c:pt>
              </c:strCache>
            </c:strRef>
          </c:cat>
          <c:val>
            <c:numRef>
              <c:f>Sheet1!$E$2:$E$8</c:f>
              <c:numCache>
                <c:formatCode>General</c:formatCode>
                <c:ptCount val="7"/>
                <c:pt idx="0">
                  <c:v>3.5536191451542654</c:v>
                </c:pt>
                <c:pt idx="1">
                  <c:v>5.075894900668313</c:v>
                </c:pt>
                <c:pt idx="2">
                  <c:v>3.709786821705426</c:v>
                </c:pt>
                <c:pt idx="3">
                  <c:v>7.572009291521482</c:v>
                </c:pt>
                <c:pt idx="4">
                  <c:v>7.729703915950332</c:v>
                </c:pt>
                <c:pt idx="5">
                  <c:v>12.814814814814813</c:v>
                </c:pt>
                <c:pt idx="6">
                  <c:v>5.47427983539094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1.32</c:v>
                </c:pt>
                <c:pt idx="1">
                  <c:v>Av Price/Unit 31.63</c:v>
                </c:pt>
                <c:pt idx="2">
                  <c:v>Av Price/Unit 22.47</c:v>
                </c:pt>
                <c:pt idx="3">
                  <c:v>Av Price/Unit 46.30</c:v>
                </c:pt>
                <c:pt idx="4">
                  <c:v>Av Price/Unit 47.07</c:v>
                </c:pt>
                <c:pt idx="5">
                  <c:v>Av Price/Unit 79.66</c:v>
                </c:pt>
              </c:strCache>
            </c:strRef>
          </c:cat>
          <c:val>
            <c:numRef>
              <c:f>Sheet1!$B$2:$B$7</c:f>
              <c:numCache>
                <c:formatCode>General</c:formatCode>
                <c:ptCount val="6"/>
                <c:pt idx="0">
                  <c:v>3.603317908750651</c:v>
                </c:pt>
                <c:pt idx="1">
                  <c:v>11.829621929824562</c:v>
                </c:pt>
                <c:pt idx="2">
                  <c:v>9.349110749185666</c:v>
                </c:pt>
                <c:pt idx="3">
                  <c:v>10.713611764705881</c:v>
                </c:pt>
                <c:pt idx="4">
                  <c:v>17.406</c:v>
                </c:pt>
                <c:pt idx="5">
                  <c:v>26.09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1.32</c:v>
                </c:pt>
                <c:pt idx="1">
                  <c:v>Av Price/Unit 31.63</c:v>
                </c:pt>
                <c:pt idx="2">
                  <c:v>Av Price/Unit 22.47</c:v>
                </c:pt>
                <c:pt idx="3">
                  <c:v>Av Price/Unit 46.30</c:v>
                </c:pt>
                <c:pt idx="4">
                  <c:v>Av Price/Unit 47.07</c:v>
                </c:pt>
                <c:pt idx="5">
                  <c:v>Av Price/Unit 79.66</c:v>
                </c:pt>
              </c:strCache>
            </c:strRef>
          </c:cat>
          <c:val>
            <c:numRef>
              <c:f>Sheet1!$C$2:$C$7</c:f>
              <c:numCache>
                <c:formatCode>General</c:formatCode>
                <c:ptCount val="6"/>
                <c:pt idx="0">
                  <c:v>13.404927071587625</c:v>
                </c:pt>
                <c:pt idx="1">
                  <c:v>14.325512865497075</c:v>
                </c:pt>
                <c:pt idx="2">
                  <c:v>8.766052117263843</c:v>
                </c:pt>
                <c:pt idx="3">
                  <c:v>26.998823529411762</c:v>
                </c:pt>
                <c:pt idx="4">
                  <c:v>21.344</c:v>
                </c:pt>
                <c:pt idx="5">
                  <c:v>31.5309999999999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1.32</c:v>
                </c:pt>
                <c:pt idx="1">
                  <c:v>Av Price/Unit 31.63</c:v>
                </c:pt>
                <c:pt idx="2">
                  <c:v>Av Price/Unit 22.47</c:v>
                </c:pt>
                <c:pt idx="3">
                  <c:v>Av Price/Unit 46.30</c:v>
                </c:pt>
                <c:pt idx="4">
                  <c:v>Av Price/Unit 47.07</c:v>
                </c:pt>
                <c:pt idx="5">
                  <c:v>Av Price/Unit 79.66</c:v>
                </c:pt>
              </c:strCache>
            </c:strRef>
          </c:cat>
          <c:val>
            <c:numRef>
              <c:f>Sheet1!$D$2:$D$7</c:f>
              <c:numCache>
                <c:formatCode>General</c:formatCode>
                <c:ptCount val="6"/>
                <c:pt idx="0">
                  <c:v>0.7623998294404721</c:v>
                </c:pt>
                <c:pt idx="1">
                  <c:v>0.20329600389863245</c:v>
                </c:pt>
                <c:pt idx="2">
                  <c:v>0.6090499457111846</c:v>
                </c:pt>
                <c:pt idx="3">
                  <c:v>0.8700810457516397</c:v>
                </c:pt>
                <c:pt idx="4">
                  <c:v>0.6515151515151558</c:v>
                </c:pt>
                <c:pt idx="5">
                  <c:v>8.80293859649123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1.32</c:v>
                </c:pt>
                <c:pt idx="1">
                  <c:v>Av Price/Unit 31.63</c:v>
                </c:pt>
                <c:pt idx="2">
                  <c:v>Av Price/Unit 22.47</c:v>
                </c:pt>
                <c:pt idx="3">
                  <c:v>Av Price/Unit 46.30</c:v>
                </c:pt>
                <c:pt idx="4">
                  <c:v>Av Price/Unit 47.07</c:v>
                </c:pt>
                <c:pt idx="5">
                  <c:v>Av Price/Unit 79.66</c:v>
                </c:pt>
              </c:strCache>
            </c:strRef>
          </c:cat>
          <c:val>
            <c:numRef>
              <c:f>Sheet1!$E$2:$E$7</c:f>
              <c:numCache>
                <c:formatCode>General</c:formatCode>
                <c:ptCount val="6"/>
                <c:pt idx="0">
                  <c:v>3.5541289619557466</c:v>
                </c:pt>
                <c:pt idx="1">
                  <c:v>5.2716861598440525</c:v>
                </c:pt>
                <c:pt idx="2">
                  <c:v>3.7448425624321398</c:v>
                </c:pt>
                <c:pt idx="3">
                  <c:v>7.716503267973853</c:v>
                </c:pt>
                <c:pt idx="4">
                  <c:v>7.880303030303027</c:v>
                </c:pt>
                <c:pt idx="5">
                  <c:v>13.28508771929823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1.33</c:v>
                </c:pt>
                <c:pt idx="1">
                  <c:v>Av Price/Unit 32.09</c:v>
                </c:pt>
                <c:pt idx="2">
                  <c:v>Av Price/Unit 22.52</c:v>
                </c:pt>
                <c:pt idx="3">
                  <c:v>Av Price/Unit 47.23</c:v>
                </c:pt>
                <c:pt idx="4">
                  <c:v>Av Price/Unit 48.95</c:v>
                </c:pt>
              </c:strCache>
            </c:strRef>
          </c:cat>
          <c:val>
            <c:numRef>
              <c:f>Sheet1!$B$2:$B$6</c:f>
              <c:numCache>
                <c:formatCode>General</c:formatCode>
                <c:ptCount val="5"/>
                <c:pt idx="0">
                  <c:v>3.5979885625966</c:v>
                </c:pt>
                <c:pt idx="1">
                  <c:v>11.74676119873817</c:v>
                </c:pt>
                <c:pt idx="2">
                  <c:v>9.324207692307692</c:v>
                </c:pt>
                <c:pt idx="3">
                  <c:v>10.69708347826087</c:v>
                </c:pt>
                <c:pt idx="4">
                  <c:v>17.40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1.33</c:v>
                </c:pt>
                <c:pt idx="1">
                  <c:v>Av Price/Unit 32.09</c:v>
                </c:pt>
                <c:pt idx="2">
                  <c:v>Av Price/Unit 22.52</c:v>
                </c:pt>
                <c:pt idx="3">
                  <c:v>Av Price/Unit 47.23</c:v>
                </c:pt>
                <c:pt idx="4">
                  <c:v>Av Price/Unit 48.95</c:v>
                </c:pt>
              </c:strCache>
            </c:strRef>
          </c:cat>
          <c:val>
            <c:numRef>
              <c:f>Sheet1!$C$2:$C$6</c:f>
              <c:numCache>
                <c:formatCode>General</c:formatCode>
                <c:ptCount val="5"/>
                <c:pt idx="0">
                  <c:v>13.413333075734156</c:v>
                </c:pt>
                <c:pt idx="1">
                  <c:v>14.308229652996847</c:v>
                </c:pt>
                <c:pt idx="2">
                  <c:v>8.771215384615383</c:v>
                </c:pt>
                <c:pt idx="3">
                  <c:v>27.04931304347826</c:v>
                </c:pt>
                <c:pt idx="4">
                  <c:v>21.34400000000000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1.33</c:v>
                </c:pt>
                <c:pt idx="1">
                  <c:v>Av Price/Unit 32.09</c:v>
                </c:pt>
                <c:pt idx="2">
                  <c:v>Av Price/Unit 22.52</c:v>
                </c:pt>
                <c:pt idx="3">
                  <c:v>Av Price/Unit 47.23</c:v>
                </c:pt>
                <c:pt idx="4">
                  <c:v>Av Price/Unit 48.95</c:v>
                </c:pt>
              </c:strCache>
            </c:strRef>
          </c:cat>
          <c:val>
            <c:numRef>
              <c:f>Sheet1!$D$2:$D$6</c:f>
              <c:numCache>
                <c:formatCode>General</c:formatCode>
                <c:ptCount val="5"/>
                <c:pt idx="0">
                  <c:v>0.7653112542217677</c:v>
                </c:pt>
                <c:pt idx="1">
                  <c:v>0.6879113564668771</c:v>
                </c:pt>
                <c:pt idx="2">
                  <c:v>0.6738076923076903</c:v>
                </c:pt>
                <c:pt idx="3">
                  <c:v>1.6159223188405676</c:v>
                </c:pt>
                <c:pt idx="4">
                  <c:v>1.501572327044030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1.33</c:v>
                </c:pt>
                <c:pt idx="1">
                  <c:v>Av Price/Unit 32.09</c:v>
                </c:pt>
                <c:pt idx="2">
                  <c:v>Av Price/Unit 22.52</c:v>
                </c:pt>
                <c:pt idx="3">
                  <c:v>Av Price/Unit 47.23</c:v>
                </c:pt>
                <c:pt idx="4">
                  <c:v>Av Price/Unit 48.95</c:v>
                </c:pt>
              </c:strCache>
            </c:strRef>
          </c:cat>
          <c:val>
            <c:numRef>
              <c:f>Sheet1!$E$2:$E$6</c:f>
              <c:numCache>
                <c:formatCode>General</c:formatCode>
                <c:ptCount val="5"/>
                <c:pt idx="0">
                  <c:v>3.5553265785105026</c:v>
                </c:pt>
                <c:pt idx="1">
                  <c:v>5.348580441640379</c:v>
                </c:pt>
                <c:pt idx="2">
                  <c:v>3.753846153846154</c:v>
                </c:pt>
                <c:pt idx="3">
                  <c:v>7.8724637681159475</c:v>
                </c:pt>
                <c:pt idx="4">
                  <c:v>8.05031446540880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1.25</c:v>
                </c:pt>
                <c:pt idx="1">
                  <c:v>Av Price/Unit 31.40</c:v>
                </c:pt>
                <c:pt idx="2">
                  <c:v>Av Price/Unit 47.23</c:v>
                </c:pt>
                <c:pt idx="3">
                  <c:v>Av Price/Unit 23.27</c:v>
                </c:pt>
              </c:strCache>
            </c:strRef>
          </c:cat>
          <c:val>
            <c:numRef>
              <c:f>Sheet1!$B$2:$B$5</c:f>
              <c:numCache>
                <c:formatCode>General</c:formatCode>
                <c:ptCount val="4"/>
                <c:pt idx="0">
                  <c:v>3.6134988670970882</c:v>
                </c:pt>
                <c:pt idx="1">
                  <c:v>11.747198466257668</c:v>
                </c:pt>
                <c:pt idx="2">
                  <c:v>10.73075172413793</c:v>
                </c:pt>
                <c:pt idx="3">
                  <c:v>8.97869117647058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1.25</c:v>
                </c:pt>
                <c:pt idx="1">
                  <c:v>Av Price/Unit 31.40</c:v>
                </c:pt>
                <c:pt idx="2">
                  <c:v>Av Price/Unit 47.23</c:v>
                </c:pt>
                <c:pt idx="3">
                  <c:v>Av Price/Unit 23.27</c:v>
                </c:pt>
              </c:strCache>
            </c:strRef>
          </c:cat>
          <c:val>
            <c:numRef>
              <c:f>Sheet1!$C$2:$C$5</c:f>
              <c:numCache>
                <c:formatCode>General</c:formatCode>
                <c:ptCount val="4"/>
                <c:pt idx="0">
                  <c:v>13.388868595444023</c:v>
                </c:pt>
                <c:pt idx="1">
                  <c:v>14.308320858895705</c:v>
                </c:pt>
                <c:pt idx="2">
                  <c:v>26.946465517241382</c:v>
                </c:pt>
                <c:pt idx="3">
                  <c:v>8.8428529411764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1.25</c:v>
                </c:pt>
                <c:pt idx="1">
                  <c:v>Av Price/Unit 31.40</c:v>
                </c:pt>
                <c:pt idx="2">
                  <c:v>Av Price/Unit 47.23</c:v>
                </c:pt>
                <c:pt idx="3">
                  <c:v>Av Price/Unit 23.27</c:v>
                </c:pt>
              </c:strCache>
            </c:strRef>
          </c:cat>
          <c:val>
            <c:numRef>
              <c:f>Sheet1!$D$2:$D$5</c:f>
              <c:numCache>
                <c:formatCode>General</c:formatCode>
                <c:ptCount val="4"/>
                <c:pt idx="0">
                  <c:v>0.7075647257075524</c:v>
                </c:pt>
                <c:pt idx="1">
                  <c:v>0.11523732106339324</c:v>
                </c:pt>
                <c:pt idx="2">
                  <c:v>1.6810203065134104</c:v>
                </c:pt>
                <c:pt idx="3">
                  <c:v>1.573880718954246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1.25</c:v>
                </c:pt>
                <c:pt idx="1">
                  <c:v>Av Price/Unit 31.40</c:v>
                </c:pt>
                <c:pt idx="2">
                  <c:v>Av Price/Unit 47.23</c:v>
                </c:pt>
                <c:pt idx="3">
                  <c:v>Av Price/Unit 23.27</c:v>
                </c:pt>
              </c:strCache>
            </c:strRef>
          </c:cat>
          <c:val>
            <c:numRef>
              <c:f>Sheet1!$E$2:$E$5</c:f>
              <c:numCache>
                <c:formatCode>General</c:formatCode>
                <c:ptCount val="4"/>
                <c:pt idx="0">
                  <c:v>3.5419864376497365</c:v>
                </c:pt>
                <c:pt idx="1">
                  <c:v>5.23415132924335</c:v>
                </c:pt>
                <c:pt idx="2">
                  <c:v>7.8716475095785405</c:v>
                </c:pt>
                <c:pt idx="3">
                  <c:v>3.8790849673202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1.32</c:v>
                </c:pt>
                <c:pt idx="1">
                  <c:v>Av Price/Unit 30.17</c:v>
                </c:pt>
                <c:pt idx="2">
                  <c:v>Av Price/Unit 22.24</c:v>
                </c:pt>
                <c:pt idx="3">
                  <c:v>Av Price/Unit 45.45</c:v>
                </c:pt>
                <c:pt idx="4">
                  <c:v>Av Price/Unit 46.35</c:v>
                </c:pt>
                <c:pt idx="5">
                  <c:v>Av Price/Unit 77.34</c:v>
                </c:pt>
                <c:pt idx="6">
                  <c:v>Av Price/Unit 33.81</c:v>
                </c:pt>
              </c:strCache>
            </c:strRef>
          </c:cat>
          <c:val>
            <c:numRef>
              <c:f>Sheet1!$B$2:$B$8</c:f>
              <c:numCache>
                <c:formatCode>General</c:formatCode>
                <c:ptCount val="7"/>
                <c:pt idx="0">
                  <c:v>3.599331757082627</c:v>
                </c:pt>
                <c:pt idx="1">
                  <c:v>11.748371183533449</c:v>
                </c:pt>
                <c:pt idx="2">
                  <c:v>9.25948137059215</c:v>
                </c:pt>
                <c:pt idx="3">
                  <c:v>10.708149462365592</c:v>
                </c:pt>
                <c:pt idx="4">
                  <c:v>17.406</c:v>
                </c:pt>
                <c:pt idx="5">
                  <c:v>26.0915</c:v>
                </c:pt>
                <c:pt idx="6">
                  <c:v>11.30910000000000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1.32</c:v>
                </c:pt>
                <c:pt idx="1">
                  <c:v>Av Price/Unit 30.17</c:v>
                </c:pt>
                <c:pt idx="2">
                  <c:v>Av Price/Unit 22.24</c:v>
                </c:pt>
                <c:pt idx="3">
                  <c:v>Av Price/Unit 45.45</c:v>
                </c:pt>
                <c:pt idx="4">
                  <c:v>Av Price/Unit 46.35</c:v>
                </c:pt>
                <c:pt idx="5">
                  <c:v>Av Price/Unit 77.34</c:v>
                </c:pt>
                <c:pt idx="6">
                  <c:v>Av Price/Unit 33.81</c:v>
                </c:pt>
              </c:strCache>
            </c:strRef>
          </c:cat>
          <c:val>
            <c:numRef>
              <c:f>Sheet1!$C$2:$C$8</c:f>
              <c:numCache>
                <c:formatCode>General</c:formatCode>
                <c:ptCount val="7"/>
                <c:pt idx="0">
                  <c:v>13.411214448403008</c:v>
                </c:pt>
                <c:pt idx="1">
                  <c:v>14.30856546598056</c:v>
                </c:pt>
                <c:pt idx="2">
                  <c:v>8.784635395874917</c:v>
                </c:pt>
                <c:pt idx="3">
                  <c:v>27.01550940860215</c:v>
                </c:pt>
                <c:pt idx="4">
                  <c:v>21.344</c:v>
                </c:pt>
                <c:pt idx="5">
                  <c:v>31.531000000000006</c:v>
                </c:pt>
                <c:pt idx="6">
                  <c:v>14.501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1.32</c:v>
                </c:pt>
                <c:pt idx="1">
                  <c:v>Av Price/Unit 30.17</c:v>
                </c:pt>
                <c:pt idx="2">
                  <c:v>Av Price/Unit 22.24</c:v>
                </c:pt>
                <c:pt idx="3">
                  <c:v>Av Price/Unit 45.45</c:v>
                </c:pt>
                <c:pt idx="4">
                  <c:v>Av Price/Unit 46.35</c:v>
                </c:pt>
                <c:pt idx="5">
                  <c:v>Av Price/Unit 77.34</c:v>
                </c:pt>
                <c:pt idx="6">
                  <c:v>Av Price/Unit 33.81</c:v>
                </c:pt>
              </c:strCache>
            </c:strRef>
          </c:cat>
          <c:val>
            <c:numRef>
              <c:f>Sheet1!$D$2:$D$8</c:f>
              <c:numCache>
                <c:formatCode>General</c:formatCode>
                <c:ptCount val="7"/>
                <c:pt idx="0">
                  <c:v>0.7539729848935082</c:v>
                </c:pt>
                <c:pt idx="1">
                  <c:v>-0.919238917476644</c:v>
                </c:pt>
                <c:pt idx="2">
                  <c:v>0.48576790862718866</c:v>
                </c:pt>
                <c:pt idx="3">
                  <c:v>0.1541786439665458</c:v>
                </c:pt>
                <c:pt idx="4">
                  <c:v>-0.14290633608814574</c:v>
                </c:pt>
                <c:pt idx="5">
                  <c:v>6.283395691609989</c:v>
                </c:pt>
                <c:pt idx="6">
                  <c:v>1.554372364672364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1.32</c:v>
                </c:pt>
                <c:pt idx="1">
                  <c:v>Av Price/Unit 30.17</c:v>
                </c:pt>
                <c:pt idx="2">
                  <c:v>Av Price/Unit 22.24</c:v>
                </c:pt>
                <c:pt idx="3">
                  <c:v>Av Price/Unit 45.45</c:v>
                </c:pt>
                <c:pt idx="4">
                  <c:v>Av Price/Unit 46.35</c:v>
                </c:pt>
                <c:pt idx="5">
                  <c:v>Av Price/Unit 77.34</c:v>
                </c:pt>
                <c:pt idx="6">
                  <c:v>Av Price/Unit 33.81</c:v>
                </c:pt>
              </c:strCache>
            </c:strRef>
          </c:cat>
          <c:val>
            <c:numRef>
              <c:f>Sheet1!$E$2:$E$8</c:f>
              <c:numCache>
                <c:formatCode>General</c:formatCode>
                <c:ptCount val="7"/>
                <c:pt idx="0">
                  <c:v>3.552903838075828</c:v>
                </c:pt>
                <c:pt idx="1">
                  <c:v>5.027539546407465</c:v>
                </c:pt>
                <c:pt idx="2">
                  <c:v>3.7059769350188505</c:v>
                </c:pt>
                <c:pt idx="3">
                  <c:v>7.575567502986853</c:v>
                </c:pt>
                <c:pt idx="4">
                  <c:v>7.7214187327823645</c:v>
                </c:pt>
                <c:pt idx="5">
                  <c:v>12.781179138321987</c:v>
                </c:pt>
                <c:pt idx="6">
                  <c:v>5.47293447293447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1.36</c:v>
                </c:pt>
                <c:pt idx="1">
                  <c:v>Av Price/Unit 32.29</c:v>
                </c:pt>
                <c:pt idx="2">
                  <c:v>Av Price/Unit 46.06</c:v>
                </c:pt>
                <c:pt idx="3">
                  <c:v>Av Price/Unit 22.75</c:v>
                </c:pt>
                <c:pt idx="4">
                  <c:v>Av Price/Unit 48.75</c:v>
                </c:pt>
                <c:pt idx="5">
                  <c:v>Av Price/Unit 82.03</c:v>
                </c:pt>
              </c:strCache>
            </c:strRef>
          </c:cat>
          <c:val>
            <c:numRef>
              <c:f>Sheet1!$B$2:$B$7</c:f>
              <c:numCache>
                <c:formatCode>General</c:formatCode>
                <c:ptCount val="6"/>
                <c:pt idx="0">
                  <c:v>3.614221763445979</c:v>
                </c:pt>
                <c:pt idx="1">
                  <c:v>11.804665922920892</c:v>
                </c:pt>
                <c:pt idx="2">
                  <c:v>10.71755</c:v>
                </c:pt>
                <c:pt idx="3">
                  <c:v>9.09778076923077</c:v>
                </c:pt>
                <c:pt idx="4">
                  <c:v>17.405999999999995</c:v>
                </c:pt>
                <c:pt idx="5">
                  <c:v>26.09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1.36</c:v>
                </c:pt>
                <c:pt idx="1">
                  <c:v>Av Price/Unit 32.29</c:v>
                </c:pt>
                <c:pt idx="2">
                  <c:v>Av Price/Unit 46.06</c:v>
                </c:pt>
                <c:pt idx="3">
                  <c:v>Av Price/Unit 22.75</c:v>
                </c:pt>
                <c:pt idx="4">
                  <c:v>Av Price/Unit 48.75</c:v>
                </c:pt>
                <c:pt idx="5">
                  <c:v>Av Price/Unit 82.03</c:v>
                </c:pt>
              </c:strCache>
            </c:strRef>
          </c:cat>
          <c:val>
            <c:numRef>
              <c:f>Sheet1!$C$2:$C$7</c:f>
              <c:numCache>
                <c:formatCode>General</c:formatCode>
                <c:ptCount val="6"/>
                <c:pt idx="0">
                  <c:v>13.387728367444076</c:v>
                </c:pt>
                <c:pt idx="1">
                  <c:v>14.320307505070994</c:v>
                </c:pt>
                <c:pt idx="2">
                  <c:v>26.986793269230766</c:v>
                </c:pt>
                <c:pt idx="3">
                  <c:v>8.818161538461538</c:v>
                </c:pt>
                <c:pt idx="4">
                  <c:v>21.344000000000005</c:v>
                </c:pt>
                <c:pt idx="5">
                  <c:v>31.5309999999999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1.36</c:v>
                </c:pt>
                <c:pt idx="1">
                  <c:v>Av Price/Unit 32.29</c:v>
                </c:pt>
                <c:pt idx="2">
                  <c:v>Av Price/Unit 46.06</c:v>
                </c:pt>
                <c:pt idx="3">
                  <c:v>Av Price/Unit 22.75</c:v>
                </c:pt>
                <c:pt idx="4">
                  <c:v>Av Price/Unit 48.75</c:v>
                </c:pt>
                <c:pt idx="5">
                  <c:v>Av Price/Unit 82.03</c:v>
                </c:pt>
              </c:strCache>
            </c:strRef>
          </c:cat>
          <c:val>
            <c:numRef>
              <c:f>Sheet1!$D$2:$D$7</c:f>
              <c:numCache>
                <c:formatCode>General</c:formatCode>
                <c:ptCount val="6"/>
                <c:pt idx="0">
                  <c:v>0.7952297834364543</c:v>
                </c:pt>
                <c:pt idx="1">
                  <c:v>0.7867912778904653</c:v>
                </c:pt>
                <c:pt idx="2">
                  <c:v>0.6810733974359025</c:v>
                </c:pt>
                <c:pt idx="3">
                  <c:v>1.0423910256410274</c:v>
                </c:pt>
                <c:pt idx="4">
                  <c:v>1.3715277777777857</c:v>
                </c:pt>
                <c:pt idx="5">
                  <c:v>9.0094444444444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1.36</c:v>
                </c:pt>
                <c:pt idx="1">
                  <c:v>Av Price/Unit 32.29</c:v>
                </c:pt>
                <c:pt idx="2">
                  <c:v>Av Price/Unit 46.06</c:v>
                </c:pt>
                <c:pt idx="3">
                  <c:v>Av Price/Unit 22.75</c:v>
                </c:pt>
                <c:pt idx="4">
                  <c:v>Av Price/Unit 48.75</c:v>
                </c:pt>
                <c:pt idx="5">
                  <c:v>Av Price/Unit 82.03</c:v>
                </c:pt>
              </c:strCache>
            </c:strRef>
          </c:cat>
          <c:val>
            <c:numRef>
              <c:f>Sheet1!$E$2:$E$7</c:f>
              <c:numCache>
                <c:formatCode>General</c:formatCode>
                <c:ptCount val="6"/>
                <c:pt idx="0">
                  <c:v>3.559435982865302</c:v>
                </c:pt>
                <c:pt idx="1">
                  <c:v>5.382352941176467</c:v>
                </c:pt>
                <c:pt idx="2">
                  <c:v>7.677083333333328</c:v>
                </c:pt>
                <c:pt idx="3">
                  <c:v>3.791666666666669</c:v>
                </c:pt>
                <c:pt idx="4">
                  <c:v>8.024305555555548</c:v>
                </c:pt>
                <c:pt idx="5">
                  <c:v>13.32638888888888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0.79</c:v>
                </c:pt>
                <c:pt idx="1">
                  <c:v>Av Price/Unit 33.10</c:v>
                </c:pt>
                <c:pt idx="2">
                  <c:v>Av Price/Unit 45.24</c:v>
                </c:pt>
                <c:pt idx="3">
                  <c:v>Av Price/Unit 22.94</c:v>
                </c:pt>
                <c:pt idx="4">
                  <c:v>Av Price/Unit 48.53</c:v>
                </c:pt>
              </c:strCache>
            </c:strRef>
          </c:cat>
          <c:val>
            <c:numRef>
              <c:f>Sheet1!$B$2:$B$6</c:f>
              <c:numCache>
                <c:formatCode>General</c:formatCode>
                <c:ptCount val="5"/>
                <c:pt idx="0">
                  <c:v>3.6024420990566037</c:v>
                </c:pt>
                <c:pt idx="1">
                  <c:v>11.783725806451612</c:v>
                </c:pt>
                <c:pt idx="2">
                  <c:v>10.721808163265306</c:v>
                </c:pt>
                <c:pt idx="3">
                  <c:v>9.1155974025974</c:v>
                </c:pt>
                <c:pt idx="4">
                  <c:v>17.40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0.79</c:v>
                </c:pt>
                <c:pt idx="1">
                  <c:v>Av Price/Unit 33.10</c:v>
                </c:pt>
                <c:pt idx="2">
                  <c:v>Av Price/Unit 45.24</c:v>
                </c:pt>
                <c:pt idx="3">
                  <c:v>Av Price/Unit 22.94</c:v>
                </c:pt>
                <c:pt idx="4">
                  <c:v>Av Price/Unit 48.53</c:v>
                </c:pt>
              </c:strCache>
            </c:strRef>
          </c:cat>
          <c:val>
            <c:numRef>
              <c:f>Sheet1!$C$2:$C$6</c:f>
              <c:numCache>
                <c:formatCode>General</c:formatCode>
                <c:ptCount val="5"/>
                <c:pt idx="0">
                  <c:v>13.406308490566039</c:v>
                </c:pt>
                <c:pt idx="1">
                  <c:v>14.315939784946236</c:v>
                </c:pt>
                <c:pt idx="2">
                  <c:v>26.973785714285714</c:v>
                </c:pt>
                <c:pt idx="3">
                  <c:v>8.814467532467534</c:v>
                </c:pt>
                <c:pt idx="4">
                  <c:v>21.34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0.79</c:v>
                </c:pt>
                <c:pt idx="1">
                  <c:v>Av Price/Unit 33.10</c:v>
                </c:pt>
                <c:pt idx="2">
                  <c:v>Av Price/Unit 45.24</c:v>
                </c:pt>
                <c:pt idx="3">
                  <c:v>Av Price/Unit 22.94</c:v>
                </c:pt>
                <c:pt idx="4">
                  <c:v>Av Price/Unit 48.53</c:v>
                </c:pt>
              </c:strCache>
            </c:strRef>
          </c:cat>
          <c:val>
            <c:numRef>
              <c:f>Sheet1!$D$2:$D$6</c:f>
              <c:numCache>
                <c:formatCode>General</c:formatCode>
                <c:ptCount val="5"/>
                <c:pt idx="0">
                  <c:v>0.31894857180293457</c:v>
                </c:pt>
                <c:pt idx="1">
                  <c:v>1.4809795698924724</c:v>
                </c:pt>
                <c:pt idx="2">
                  <c:v>0.008487755102045469</c:v>
                </c:pt>
                <c:pt idx="3">
                  <c:v>1.1824891774891775</c:v>
                </c:pt>
                <c:pt idx="4">
                  <c:v>1.805555555555557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0.79</c:v>
                </c:pt>
                <c:pt idx="1">
                  <c:v>Av Price/Unit 33.10</c:v>
                </c:pt>
                <c:pt idx="2">
                  <c:v>Av Price/Unit 45.24</c:v>
                </c:pt>
                <c:pt idx="3">
                  <c:v>Av Price/Unit 22.94</c:v>
                </c:pt>
                <c:pt idx="4">
                  <c:v>Av Price/Unit 48.53</c:v>
                </c:pt>
              </c:strCache>
            </c:strRef>
          </c:cat>
          <c:val>
            <c:numRef>
              <c:f>Sheet1!$E$2:$E$6</c:f>
              <c:numCache>
                <c:formatCode>General</c:formatCode>
                <c:ptCount val="5"/>
                <c:pt idx="0">
                  <c:v>3.4655398322851134</c:v>
                </c:pt>
                <c:pt idx="1">
                  <c:v>5.516129032258065</c:v>
                </c:pt>
                <c:pt idx="2">
                  <c:v>7.540816326530612</c:v>
                </c:pt>
                <c:pt idx="3">
                  <c:v>3.8225108225108215</c:v>
                </c:pt>
                <c:pt idx="4">
                  <c:v>8.11111111111110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1.11</c:v>
                </c:pt>
                <c:pt idx="1">
                  <c:v>Av Price/Unit 30.75</c:v>
                </c:pt>
                <c:pt idx="2">
                  <c:v>Av Price/Unit 23.20</c:v>
                </c:pt>
                <c:pt idx="3">
                  <c:v>Av Price/Unit 47.69</c:v>
                </c:pt>
              </c:strCache>
            </c:strRef>
          </c:cat>
          <c:val>
            <c:numRef>
              <c:f>Sheet1!$B$2:$B$5</c:f>
              <c:numCache>
                <c:formatCode>General</c:formatCode>
                <c:ptCount val="4"/>
                <c:pt idx="0">
                  <c:v>3.6190399051403666</c:v>
                </c:pt>
                <c:pt idx="1">
                  <c:v>11.741148554913295</c:v>
                </c:pt>
                <c:pt idx="2">
                  <c:v>9.053024844720497</c:v>
                </c:pt>
                <c:pt idx="3">
                  <c:v>10.75905714285714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1.11</c:v>
                </c:pt>
                <c:pt idx="1">
                  <c:v>Av Price/Unit 30.75</c:v>
                </c:pt>
                <c:pt idx="2">
                  <c:v>Av Price/Unit 23.20</c:v>
                </c:pt>
                <c:pt idx="3">
                  <c:v>Av Price/Unit 47.69</c:v>
                </c:pt>
              </c:strCache>
            </c:strRef>
          </c:cat>
          <c:val>
            <c:numRef>
              <c:f>Sheet1!$C$2:$C$5</c:f>
              <c:numCache>
                <c:formatCode>General</c:formatCode>
                <c:ptCount val="4"/>
                <c:pt idx="0">
                  <c:v>13.380128688629663</c:v>
                </c:pt>
                <c:pt idx="1">
                  <c:v>14.307058959537573</c:v>
                </c:pt>
                <c:pt idx="2">
                  <c:v>8.82744099378882</c:v>
                </c:pt>
                <c:pt idx="3">
                  <c:v>26.85999999999999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1.11</c:v>
                </c:pt>
                <c:pt idx="1">
                  <c:v>Av Price/Unit 30.75</c:v>
                </c:pt>
                <c:pt idx="2">
                  <c:v>Av Price/Unit 23.20</c:v>
                </c:pt>
                <c:pt idx="3">
                  <c:v>Av Price/Unit 47.69</c:v>
                </c:pt>
              </c:strCache>
            </c:strRef>
          </c:cat>
          <c:val>
            <c:numRef>
              <c:f>Sheet1!$D$2:$D$5</c:f>
              <c:numCache>
                <c:formatCode>General</c:formatCode>
                <c:ptCount val="4"/>
                <c:pt idx="0">
                  <c:v>0.5957978635217707</c:v>
                </c:pt>
                <c:pt idx="1">
                  <c:v>-0.4244117533718672</c:v>
                </c:pt>
                <c:pt idx="2">
                  <c:v>1.451832298136651</c:v>
                </c:pt>
                <c:pt idx="3">
                  <c:v>2.11903809523808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1.11</c:v>
                </c:pt>
                <c:pt idx="1">
                  <c:v>Av Price/Unit 30.75</c:v>
                </c:pt>
                <c:pt idx="2">
                  <c:v>Av Price/Unit 23.20</c:v>
                </c:pt>
                <c:pt idx="3">
                  <c:v>Av Price/Unit 47.69</c:v>
                </c:pt>
              </c:strCache>
            </c:strRef>
          </c:cat>
          <c:val>
            <c:numRef>
              <c:f>Sheet1!$E$2:$E$5</c:f>
              <c:numCache>
                <c:formatCode>General</c:formatCode>
                <c:ptCount val="4"/>
                <c:pt idx="0">
                  <c:v>3.518993291458359</c:v>
                </c:pt>
                <c:pt idx="1">
                  <c:v>5.124759152215798</c:v>
                </c:pt>
                <c:pt idx="2">
                  <c:v>3.86645962732919</c:v>
                </c:pt>
                <c:pt idx="3">
                  <c:v>7.9476190476190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1.26</c:v>
                </c:pt>
                <c:pt idx="1">
                  <c:v>Av Price/Unit 30.45</c:v>
                </c:pt>
                <c:pt idx="2">
                  <c:v>Av Price/Unit 22.30</c:v>
                </c:pt>
                <c:pt idx="3">
                  <c:v>Av Price/Unit 45.48</c:v>
                </c:pt>
                <c:pt idx="4">
                  <c:v>Av Price/Unit 46.98</c:v>
                </c:pt>
                <c:pt idx="5">
                  <c:v>Av Price/Unit 79.87</c:v>
                </c:pt>
                <c:pt idx="6">
                  <c:v>Av Price/Unit 36.04</c:v>
                </c:pt>
              </c:strCache>
            </c:strRef>
          </c:cat>
          <c:val>
            <c:numRef>
              <c:f>Sheet1!$B$2:$B$8</c:f>
              <c:numCache>
                <c:formatCode>General</c:formatCode>
                <c:ptCount val="7"/>
                <c:pt idx="0">
                  <c:v>3.6059014807193344</c:v>
                </c:pt>
                <c:pt idx="1">
                  <c:v>11.75174040609137</c:v>
                </c:pt>
                <c:pt idx="2">
                  <c:v>9.238772859922177</c:v>
                </c:pt>
                <c:pt idx="3">
                  <c:v>10.726680824742266</c:v>
                </c:pt>
                <c:pt idx="4">
                  <c:v>17.406</c:v>
                </c:pt>
                <c:pt idx="5">
                  <c:v>26.0915</c:v>
                </c:pt>
                <c:pt idx="6">
                  <c:v>11.30910000000000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1.26</c:v>
                </c:pt>
                <c:pt idx="1">
                  <c:v>Av Price/Unit 30.45</c:v>
                </c:pt>
                <c:pt idx="2">
                  <c:v>Av Price/Unit 22.30</c:v>
                </c:pt>
                <c:pt idx="3">
                  <c:v>Av Price/Unit 45.48</c:v>
                </c:pt>
                <c:pt idx="4">
                  <c:v>Av Price/Unit 46.98</c:v>
                </c:pt>
                <c:pt idx="5">
                  <c:v>Av Price/Unit 79.87</c:v>
                </c:pt>
                <c:pt idx="6">
                  <c:v>Av Price/Unit 36.04</c:v>
                </c:pt>
              </c:strCache>
            </c:strRef>
          </c:cat>
          <c:val>
            <c:numRef>
              <c:f>Sheet1!$C$2:$C$8</c:f>
              <c:numCache>
                <c:formatCode>General</c:formatCode>
                <c:ptCount val="7"/>
                <c:pt idx="0">
                  <c:v>13.400851990695177</c:v>
                </c:pt>
                <c:pt idx="1">
                  <c:v>14.309268223350253</c:v>
                </c:pt>
                <c:pt idx="2">
                  <c:v>8.788928988326848</c:v>
                </c:pt>
                <c:pt idx="3">
                  <c:v>26.958901030927834</c:v>
                </c:pt>
                <c:pt idx="4">
                  <c:v>21.344000000000005</c:v>
                </c:pt>
                <c:pt idx="5">
                  <c:v>31.531</c:v>
                </c:pt>
                <c:pt idx="6">
                  <c:v>14.501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1.26</c:v>
                </c:pt>
                <c:pt idx="1">
                  <c:v>Av Price/Unit 30.45</c:v>
                </c:pt>
                <c:pt idx="2">
                  <c:v>Av Price/Unit 22.30</c:v>
                </c:pt>
                <c:pt idx="3">
                  <c:v>Av Price/Unit 45.48</c:v>
                </c:pt>
                <c:pt idx="4">
                  <c:v>Av Price/Unit 46.98</c:v>
                </c:pt>
                <c:pt idx="5">
                  <c:v>Av Price/Unit 79.87</c:v>
                </c:pt>
                <c:pt idx="6">
                  <c:v>Av Price/Unit 36.04</c:v>
                </c:pt>
              </c:strCache>
            </c:strRef>
          </c:cat>
          <c:val>
            <c:numRef>
              <c:f>Sheet1!$D$2:$D$8</c:f>
              <c:numCache>
                <c:formatCode>General</c:formatCode>
                <c:ptCount val="7"/>
                <c:pt idx="0">
                  <c:v>0.7092779621842453</c:v>
                </c:pt>
                <c:pt idx="1">
                  <c:v>-0.6819900169204729</c:v>
                </c:pt>
                <c:pt idx="2">
                  <c:v>0.5520646887159586</c:v>
                </c:pt>
                <c:pt idx="3">
                  <c:v>0.2130435738831693</c:v>
                </c:pt>
                <c:pt idx="4">
                  <c:v>0.5597014925373145</c:v>
                </c:pt>
                <c:pt idx="5">
                  <c:v>9.354901129943514</c:v>
                </c:pt>
                <c:pt idx="6">
                  <c:v>2.46653615819209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1.26</c:v>
                </c:pt>
                <c:pt idx="1">
                  <c:v>Av Price/Unit 30.45</c:v>
                </c:pt>
                <c:pt idx="2">
                  <c:v>Av Price/Unit 22.30</c:v>
                </c:pt>
                <c:pt idx="3">
                  <c:v>Av Price/Unit 45.48</c:v>
                </c:pt>
                <c:pt idx="4">
                  <c:v>Av Price/Unit 46.98</c:v>
                </c:pt>
                <c:pt idx="5">
                  <c:v>Av Price/Unit 79.87</c:v>
                </c:pt>
                <c:pt idx="6">
                  <c:v>Av Price/Unit 36.04</c:v>
                </c:pt>
              </c:strCache>
            </c:strRef>
          </c:cat>
          <c:val>
            <c:numRef>
              <c:f>Sheet1!$E$2:$E$8</c:f>
              <c:numCache>
                <c:formatCode>General</c:formatCode>
                <c:ptCount val="7"/>
                <c:pt idx="0">
                  <c:v>3.543206286719751</c:v>
                </c:pt>
                <c:pt idx="1">
                  <c:v>5.075803722504228</c:v>
                </c:pt>
                <c:pt idx="2">
                  <c:v>3.7159533073929962</c:v>
                </c:pt>
                <c:pt idx="3">
                  <c:v>7.579725085910648</c:v>
                </c:pt>
                <c:pt idx="4">
                  <c:v>7.861940298507463</c:v>
                </c:pt>
                <c:pt idx="5">
                  <c:v>13.395480225988688</c:v>
                </c:pt>
                <c:pt idx="6">
                  <c:v>5.65536723163841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1.34</c:v>
                </c:pt>
                <c:pt idx="1">
                  <c:v>Av Price/Unit 30.62</c:v>
                </c:pt>
                <c:pt idx="2">
                  <c:v>Av Price/Unit 22.28</c:v>
                </c:pt>
                <c:pt idx="3">
                  <c:v>Av Price/Unit 45.96</c:v>
                </c:pt>
                <c:pt idx="4">
                  <c:v>Av Price/Unit 47.11</c:v>
                </c:pt>
                <c:pt idx="5">
                  <c:v>Av Price/Unit 78.43</c:v>
                </c:pt>
                <c:pt idx="6">
                  <c:v>Av Price/Unit 33.21</c:v>
                </c:pt>
              </c:strCache>
            </c:strRef>
          </c:cat>
          <c:val>
            <c:numRef>
              <c:f>Sheet1!$B$2:$B$8</c:f>
              <c:numCache>
                <c:formatCode>General</c:formatCode>
                <c:ptCount val="7"/>
                <c:pt idx="0">
                  <c:v>3.6061959679541538</c:v>
                </c:pt>
                <c:pt idx="1">
                  <c:v>11.779357468879665</c:v>
                </c:pt>
                <c:pt idx="2">
                  <c:v>9.161441383352873</c:v>
                </c:pt>
                <c:pt idx="3">
                  <c:v>10.711285106382977</c:v>
                </c:pt>
                <c:pt idx="4">
                  <c:v>17.406</c:v>
                </c:pt>
                <c:pt idx="5">
                  <c:v>26.0915</c:v>
                </c:pt>
                <c:pt idx="6">
                  <c:v>11.309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1.34</c:v>
                </c:pt>
                <c:pt idx="1">
                  <c:v>Av Price/Unit 30.62</c:v>
                </c:pt>
                <c:pt idx="2">
                  <c:v>Av Price/Unit 22.28</c:v>
                </c:pt>
                <c:pt idx="3">
                  <c:v>Av Price/Unit 45.96</c:v>
                </c:pt>
                <c:pt idx="4">
                  <c:v>Av Price/Unit 47.11</c:v>
                </c:pt>
                <c:pt idx="5">
                  <c:v>Av Price/Unit 78.43</c:v>
                </c:pt>
                <c:pt idx="6">
                  <c:v>Av Price/Unit 33.21</c:v>
                </c:pt>
              </c:strCache>
            </c:strRef>
          </c:cat>
          <c:val>
            <c:numRef>
              <c:f>Sheet1!$C$2:$C$8</c:f>
              <c:numCache>
                <c:formatCode>General</c:formatCode>
                <c:ptCount val="7"/>
                <c:pt idx="0">
                  <c:v>13.400387494517704</c:v>
                </c:pt>
                <c:pt idx="1">
                  <c:v>14.315028630705394</c:v>
                </c:pt>
                <c:pt idx="2">
                  <c:v>8.804962485345838</c:v>
                </c:pt>
                <c:pt idx="3">
                  <c:v>27.00593085106383</c:v>
                </c:pt>
                <c:pt idx="4">
                  <c:v>21.344</c:v>
                </c:pt>
                <c:pt idx="5">
                  <c:v>31.531</c:v>
                </c:pt>
                <c:pt idx="6">
                  <c:v>14.5012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1.34</c:v>
                </c:pt>
                <c:pt idx="1">
                  <c:v>Av Price/Unit 30.62</c:v>
                </c:pt>
                <c:pt idx="2">
                  <c:v>Av Price/Unit 22.28</c:v>
                </c:pt>
                <c:pt idx="3">
                  <c:v>Av Price/Unit 45.96</c:v>
                </c:pt>
                <c:pt idx="4">
                  <c:v>Av Price/Unit 47.11</c:v>
                </c:pt>
                <c:pt idx="5">
                  <c:v>Av Price/Unit 78.43</c:v>
                </c:pt>
                <c:pt idx="6">
                  <c:v>Av Price/Unit 33.21</c:v>
                </c:pt>
              </c:strCache>
            </c:strRef>
          </c:cat>
          <c:val>
            <c:numRef>
              <c:f>Sheet1!$D$2:$D$8</c:f>
              <c:numCache>
                <c:formatCode>General</c:formatCode>
                <c:ptCount val="7"/>
                <c:pt idx="0">
                  <c:v>0.7809324971004727</c:v>
                </c:pt>
                <c:pt idx="1">
                  <c:v>-0.5780191101890217</c:v>
                </c:pt>
                <c:pt idx="2">
                  <c:v>0.6023729972645597</c:v>
                </c:pt>
                <c:pt idx="3">
                  <c:v>0.5828726950354621</c:v>
                </c:pt>
                <c:pt idx="4">
                  <c:v>0.3497942386831312</c:v>
                </c:pt>
                <c:pt idx="5">
                  <c:v>8.041341807909596</c:v>
                </c:pt>
                <c:pt idx="6">
                  <c:v>1.381058024691359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21.34</c:v>
                </c:pt>
                <c:pt idx="1">
                  <c:v>Av Price/Unit 30.62</c:v>
                </c:pt>
                <c:pt idx="2">
                  <c:v>Av Price/Unit 22.28</c:v>
                </c:pt>
                <c:pt idx="3">
                  <c:v>Av Price/Unit 45.96</c:v>
                </c:pt>
                <c:pt idx="4">
                  <c:v>Av Price/Unit 47.11</c:v>
                </c:pt>
                <c:pt idx="5">
                  <c:v>Av Price/Unit 78.43</c:v>
                </c:pt>
                <c:pt idx="6">
                  <c:v>Av Price/Unit 33.21</c:v>
                </c:pt>
              </c:strCache>
            </c:strRef>
          </c:cat>
          <c:val>
            <c:numRef>
              <c:f>Sheet1!$E$2:$E$8</c:f>
              <c:numCache>
                <c:formatCode>General</c:formatCode>
                <c:ptCount val="7"/>
                <c:pt idx="0">
                  <c:v>3.5575031919144653</c:v>
                </c:pt>
                <c:pt idx="1">
                  <c:v>5.103273397879204</c:v>
                </c:pt>
                <c:pt idx="2">
                  <c:v>3.713755373192652</c:v>
                </c:pt>
                <c:pt idx="3">
                  <c:v>7.660017730496447</c:v>
                </c:pt>
                <c:pt idx="4">
                  <c:v>7.819958847736624</c:v>
                </c:pt>
                <c:pt idx="5">
                  <c:v>13.132768361581915</c:v>
                </c:pt>
                <c:pt idx="6">
                  <c:v>5.43827160493826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31.12</c:v>
                </c:pt>
                <c:pt idx="1">
                  <c:v>Av Price/Unit 34.55</c:v>
                </c:pt>
                <c:pt idx="2">
                  <c:v>Av Price/Unit 86.05</c:v>
                </c:pt>
              </c:strCache>
            </c:strRef>
          </c:cat>
          <c:val>
            <c:numRef>
              <c:f>Sheet1!$B$2:$B$4</c:f>
              <c:numCache>
                <c:formatCode>General</c:formatCode>
                <c:ptCount val="3"/>
                <c:pt idx="0">
                  <c:v>12.083528388746803</c:v>
                </c:pt>
                <c:pt idx="1">
                  <c:v>11.652841666666665</c:v>
                </c:pt>
                <c:pt idx="2">
                  <c:v>26.09150000000000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31.12</c:v>
                </c:pt>
                <c:pt idx="1">
                  <c:v>Av Price/Unit 34.55</c:v>
                </c:pt>
                <c:pt idx="2">
                  <c:v>Av Price/Unit 86.05</c:v>
                </c:pt>
              </c:strCache>
            </c:strRef>
          </c:cat>
          <c:val>
            <c:numRef>
              <c:f>Sheet1!$C$2:$C$4</c:f>
              <c:numCache>
                <c:formatCode>General</c:formatCode>
                <c:ptCount val="3"/>
                <c:pt idx="0">
                  <c:v>14.288093350383633</c:v>
                </c:pt>
                <c:pt idx="1">
                  <c:v>14.27363888888889</c:v>
                </c:pt>
                <c:pt idx="2">
                  <c:v>31.53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31.12</c:v>
                </c:pt>
                <c:pt idx="1">
                  <c:v>Av Price/Unit 34.55</c:v>
                </c:pt>
                <c:pt idx="2">
                  <c:v>Av Price/Unit 86.05</c:v>
                </c:pt>
              </c:strCache>
            </c:strRef>
          </c:cat>
          <c:val>
            <c:numRef>
              <c:f>Sheet1!$D$2:$D$4</c:f>
              <c:numCache>
                <c:formatCode>General</c:formatCode>
                <c:ptCount val="3"/>
                <c:pt idx="0">
                  <c:v>-0.4423804774083493</c:v>
                </c:pt>
                <c:pt idx="1">
                  <c:v>2.8620996913580257</c:v>
                </c:pt>
                <c:pt idx="2">
                  <c:v>11.79416666666668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31.12</c:v>
                </c:pt>
                <c:pt idx="1">
                  <c:v>Av Price/Unit 34.55</c:v>
                </c:pt>
                <c:pt idx="2">
                  <c:v>Av Price/Unit 86.05</c:v>
                </c:pt>
              </c:strCache>
            </c:strRef>
          </c:cat>
          <c:val>
            <c:numRef>
              <c:f>Sheet1!$E$2:$E$4</c:f>
              <c:numCache>
                <c:formatCode>General</c:formatCode>
                <c:ptCount val="3"/>
                <c:pt idx="0">
                  <c:v>5.185848252344415</c:v>
                </c:pt>
                <c:pt idx="1">
                  <c:v>5.757716049382713</c:v>
                </c:pt>
                <c:pt idx="2">
                  <c:v>13.88333333333332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31.85</c:v>
                </c:pt>
                <c:pt idx="1">
                  <c:v>Av Price/Unit 33.37</c:v>
                </c:pt>
                <c:pt idx="2">
                  <c:v>Av Price/Unit 80.35</c:v>
                </c:pt>
              </c:strCache>
            </c:strRef>
          </c:cat>
          <c:val>
            <c:numRef>
              <c:f>Sheet1!$B$2:$B$4</c:f>
              <c:numCache>
                <c:formatCode>General</c:formatCode>
                <c:ptCount val="3"/>
                <c:pt idx="0">
                  <c:v>12.089662650602408</c:v>
                </c:pt>
                <c:pt idx="1">
                  <c:v>11.67552201492537</c:v>
                </c:pt>
                <c:pt idx="2">
                  <c:v>26.09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31.85</c:v>
                </c:pt>
                <c:pt idx="1">
                  <c:v>Av Price/Unit 33.37</c:v>
                </c:pt>
                <c:pt idx="2">
                  <c:v>Av Price/Unit 80.35</c:v>
                </c:pt>
              </c:strCache>
            </c:strRef>
          </c:cat>
          <c:val>
            <c:numRef>
              <c:f>Sheet1!$C$2:$C$4</c:f>
              <c:numCache>
                <c:formatCode>General</c:formatCode>
                <c:ptCount val="3"/>
                <c:pt idx="0">
                  <c:v>14.28761626506024</c:v>
                </c:pt>
                <c:pt idx="1">
                  <c:v>14.275235074626865</c:v>
                </c:pt>
                <c:pt idx="2">
                  <c:v>31.5309999999999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31.85</c:v>
                </c:pt>
                <c:pt idx="1">
                  <c:v>Av Price/Unit 33.37</c:v>
                </c:pt>
                <c:pt idx="2">
                  <c:v>Av Price/Unit 80.35</c:v>
                </c:pt>
              </c:strCache>
            </c:strRef>
          </c:cat>
          <c:val>
            <c:numRef>
              <c:f>Sheet1!$D$2:$D$4</c:f>
              <c:numCache>
                <c:formatCode>General</c:formatCode>
                <c:ptCount val="3"/>
                <c:pt idx="0">
                  <c:v>0.1638857429718854</c:v>
                </c:pt>
                <c:pt idx="1">
                  <c:v>1.860188184079604</c:v>
                </c:pt>
                <c:pt idx="2">
                  <c:v>8.59843023255815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31.85</c:v>
                </c:pt>
                <c:pt idx="1">
                  <c:v>Av Price/Unit 33.37</c:v>
                </c:pt>
                <c:pt idx="2">
                  <c:v>Av Price/Unit 80.35</c:v>
                </c:pt>
              </c:strCache>
            </c:strRef>
          </c:cat>
          <c:val>
            <c:numRef>
              <c:f>Sheet1!$E$2:$E$4</c:f>
              <c:numCache>
                <c:formatCode>General</c:formatCode>
                <c:ptCount val="3"/>
                <c:pt idx="0">
                  <c:v>5.3082329317269075</c:v>
                </c:pt>
                <c:pt idx="1">
                  <c:v>5.562189054726366</c:v>
                </c:pt>
                <c:pt idx="2">
                  <c:v>13.24418604651162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4.70</c:v>
                </c:pt>
                <c:pt idx="1">
                  <c:v>Av Price/Unit 35.20</c:v>
                </c:pt>
              </c:strCache>
            </c:strRef>
          </c:cat>
          <c:val>
            <c:numRef>
              <c:f>Sheet1!$B$2:$B$3</c:f>
              <c:numCache>
                <c:formatCode>General</c:formatCode>
                <c:ptCount val="2"/>
                <c:pt idx="0">
                  <c:v>11.773234782608695</c:v>
                </c:pt>
                <c:pt idx="1">
                  <c:v>11.6667036144578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4.70</c:v>
                </c:pt>
                <c:pt idx="1">
                  <c:v>Av Price/Unit 35.20</c:v>
                </c:pt>
              </c:strCache>
            </c:strRef>
          </c:cat>
          <c:val>
            <c:numRef>
              <c:f>Sheet1!$C$2:$C$3</c:f>
              <c:numCache>
                <c:formatCode>General</c:formatCode>
                <c:ptCount val="2"/>
                <c:pt idx="0">
                  <c:v>14.312226086956521</c:v>
                </c:pt>
                <c:pt idx="1">
                  <c:v>14.27461445783132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4.70</c:v>
                </c:pt>
                <c:pt idx="1">
                  <c:v>Av Price/Unit 35.20</c:v>
                </c:pt>
              </c:strCache>
            </c:strRef>
          </c:cat>
          <c:val>
            <c:numRef>
              <c:f>Sheet1!$D$2:$D$3</c:f>
              <c:numCache>
                <c:formatCode>General</c:formatCode>
                <c:ptCount val="2"/>
                <c:pt idx="0">
                  <c:v>2.8348289855072473</c:v>
                </c:pt>
                <c:pt idx="1">
                  <c:v>3.39603132530120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4.70</c:v>
                </c:pt>
                <c:pt idx="1">
                  <c:v>Av Price/Unit 35.20</c:v>
                </c:pt>
              </c:strCache>
            </c:strRef>
          </c:cat>
          <c:val>
            <c:numRef>
              <c:f>Sheet1!$E$2:$E$3</c:f>
              <c:numCache>
                <c:formatCode>General</c:formatCode>
                <c:ptCount val="2"/>
                <c:pt idx="0">
                  <c:v>5.784057971014492</c:v>
                </c:pt>
                <c:pt idx="1">
                  <c:v>5.86746987951807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4.35</c:v>
                </c:pt>
                <c:pt idx="1">
                  <c:v>Av Price/Unit 34.12</c:v>
                </c:pt>
              </c:strCache>
            </c:strRef>
          </c:cat>
          <c:val>
            <c:numRef>
              <c:f>Sheet1!$B$2:$B$3</c:f>
              <c:numCache>
                <c:formatCode>General</c:formatCode>
                <c:ptCount val="2"/>
                <c:pt idx="0">
                  <c:v>11.761383333333333</c:v>
                </c:pt>
                <c:pt idx="1">
                  <c:v>12.12348571428571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4.35</c:v>
                </c:pt>
                <c:pt idx="1">
                  <c:v>Av Price/Unit 34.12</c:v>
                </c:pt>
              </c:strCache>
            </c:strRef>
          </c:cat>
          <c:val>
            <c:numRef>
              <c:f>Sheet1!$C$2:$C$3</c:f>
              <c:numCache>
                <c:formatCode>General</c:formatCode>
                <c:ptCount val="2"/>
                <c:pt idx="0">
                  <c:v>14.281277777777778</c:v>
                </c:pt>
                <c:pt idx="1">
                  <c:v>14.28498571428571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4.35</c:v>
                </c:pt>
                <c:pt idx="1">
                  <c:v>Av Price/Unit 34.12</c:v>
                </c:pt>
              </c:strCache>
            </c:strRef>
          </c:cat>
          <c:val>
            <c:numRef>
              <c:f>Sheet1!$D$2:$D$3</c:f>
              <c:numCache>
                <c:formatCode>General</c:formatCode>
                <c:ptCount val="2"/>
                <c:pt idx="0">
                  <c:v>2.5800240740740676</c:v>
                </c:pt>
                <c:pt idx="1">
                  <c:v>2.029028571428568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4.35</c:v>
                </c:pt>
                <c:pt idx="1">
                  <c:v>Av Price/Unit 34.12</c:v>
                </c:pt>
              </c:strCache>
            </c:strRef>
          </c:cat>
          <c:val>
            <c:numRef>
              <c:f>Sheet1!$E$2:$E$3</c:f>
              <c:numCache>
                <c:formatCode>General</c:formatCode>
                <c:ptCount val="2"/>
                <c:pt idx="0">
                  <c:v>5.724537037037042</c:v>
                </c:pt>
                <c:pt idx="1">
                  <c:v>5.687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2.83</c:v>
                </c:pt>
                <c:pt idx="1">
                  <c:v>Av Price/Unit 36.95</c:v>
                </c:pt>
              </c:strCache>
            </c:strRef>
          </c:cat>
          <c:val>
            <c:numRef>
              <c:f>Sheet1!$B$2:$B$3</c:f>
              <c:numCache>
                <c:formatCode>General</c:formatCode>
                <c:ptCount val="2"/>
                <c:pt idx="0">
                  <c:v>11.943612030075187</c:v>
                </c:pt>
                <c:pt idx="1">
                  <c:v>11.6615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2.83</c:v>
                </c:pt>
                <c:pt idx="1">
                  <c:v>Av Price/Unit 36.95</c:v>
                </c:pt>
              </c:strCache>
            </c:strRef>
          </c:cat>
          <c:val>
            <c:numRef>
              <c:f>Sheet1!$C$2:$C$3</c:f>
              <c:numCache>
                <c:formatCode>General</c:formatCode>
                <c:ptCount val="2"/>
                <c:pt idx="0">
                  <c:v>14.298975187969925</c:v>
                </c:pt>
                <c:pt idx="1">
                  <c:v>14.27424999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2.83</c:v>
                </c:pt>
                <c:pt idx="1">
                  <c:v>Av Price/Unit 36.95</c:v>
                </c:pt>
              </c:strCache>
            </c:strRef>
          </c:cat>
          <c:val>
            <c:numRef>
              <c:f>Sheet1!$D$2:$D$3</c:f>
              <c:numCache>
                <c:formatCode>General</c:formatCode>
                <c:ptCount val="2"/>
                <c:pt idx="0">
                  <c:v>1.113302506265665</c:v>
                </c:pt>
                <c:pt idx="1">
                  <c:v>4.85589166666667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2.83</c:v>
                </c:pt>
                <c:pt idx="1">
                  <c:v>Av Price/Unit 36.95</c:v>
                </c:pt>
              </c:strCache>
            </c:strRef>
          </c:cat>
          <c:val>
            <c:numRef>
              <c:f>Sheet1!$E$2:$E$3</c:f>
              <c:numCache>
                <c:formatCode>General</c:formatCode>
                <c:ptCount val="2"/>
                <c:pt idx="0">
                  <c:v>5.471177944862154</c:v>
                </c:pt>
                <c:pt idx="1">
                  <c:v>6.1583333333333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6B24E9A-DF87-49A8-A378-9564347EA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081C141-9D4C-41E2-8E86-6070BCE5A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F855212-8172-4DD6-9D83-D17E4533A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E3F68A7-2BB8-45A4-8A78-80F42E18C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6633404-09C7-481B-B290-6156F3338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AAC6D0F-F0F7-4F70-AC10-0384CC27A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99B27E3-95C4-4453-B26E-89B4D51EB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DB70B46-B53E-4231-A78F-404FC4FA6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46.6518</c:v>
                </c:pt>
                <c:pt idx="1">
                  <c:v>46.5102</c:v>
                </c:pt>
                <c:pt idx="2">
                  <c:v>46.3812</c:v>
                </c:pt>
                <c:pt idx="3">
                  <c:v>50.6264</c:v>
                </c:pt>
                <c:pt idx="4">
                  <c:v>45.7135</c:v>
                </c:pt>
              </c:numCache>
            </c:numRef>
          </c:xVal>
          <c:yVal>
            <c:numRef>
              <c:f>Sheet1!$B$2:$B$6</c:f>
              <c:numCache>
                <c:formatCode>General</c:formatCode>
                <c:ptCount val="5"/>
                <c:pt idx="0">
                  <c:v>0.3989</c:v>
                </c:pt>
                <c:pt idx="1">
                  <c:v>0.3988</c:v>
                </c:pt>
                <c:pt idx="2">
                  <c:v>0.4004</c:v>
                </c:pt>
                <c:pt idx="3">
                  <c:v>0.3987</c:v>
                </c:pt>
                <c:pt idx="4">
                  <c:v>0.3985</c:v>
                </c:pt>
              </c:numCache>
            </c:numRef>
          </c:yVal>
          <c:bubbleSize>
            <c:numRef>
              <c:f>Sheet1!$C$2:$C$6</c:f>
              <c:numCache>
                <c:formatCode>General</c:formatCode>
                <c:ptCount val="5"/>
                <c:pt idx="0">
                  <c:v>11451330.409500005</c:v>
                </c:pt>
                <c:pt idx="1">
                  <c:v>7385860.143399996</c:v>
                </c:pt>
                <c:pt idx="2">
                  <c:v>9127076.610400004</c:v>
                </c:pt>
                <c:pt idx="3">
                  <c:v>15491060.006500032</c:v>
                </c:pt>
                <c:pt idx="4">
                  <c:v>8278718.180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60.75167999999999"/>
          <c:min val="36.57080000000000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990264608167313"/>
        <c:crossBetween val="midCat"/>
      </c:valAx>
      <c:valAx>
        <c:axId val="1011451359"/>
        <c:scaling>
          <c:orientation val="minMax"/>
          <c:max val="0.8404799999999999"/>
          <c:min val="0.078800000000000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6238334214283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3.14</c:v>
                </c:pt>
                <c:pt idx="1">
                  <c:v>Av Price/Unit 34.04</c:v>
                </c:pt>
              </c:strCache>
            </c:strRef>
          </c:cat>
          <c:val>
            <c:numRef>
              <c:f>Sheet1!$B$2:$B$3</c:f>
              <c:numCache>
                <c:formatCode>General</c:formatCode>
                <c:ptCount val="2"/>
                <c:pt idx="0">
                  <c:v>12.170903597122303</c:v>
                </c:pt>
                <c:pt idx="1">
                  <c:v>11.67862031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3.14</c:v>
                </c:pt>
                <c:pt idx="1">
                  <c:v>Av Price/Unit 34.04</c:v>
                </c:pt>
              </c:strCache>
            </c:strRef>
          </c:cat>
          <c:val>
            <c:numRef>
              <c:f>Sheet1!$C$2:$C$3</c:f>
              <c:numCache>
                <c:formatCode>General</c:formatCode>
                <c:ptCount val="2"/>
                <c:pt idx="0">
                  <c:v>14.28129784172662</c:v>
                </c:pt>
                <c:pt idx="1">
                  <c:v>14.27545312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3.14</c:v>
                </c:pt>
                <c:pt idx="1">
                  <c:v>Av Price/Unit 34.04</c:v>
                </c:pt>
              </c:strCache>
            </c:strRef>
          </c:cat>
          <c:val>
            <c:numRef>
              <c:f>Sheet1!$D$2:$D$3</c:f>
              <c:numCache>
                <c:formatCode>General</c:formatCode>
                <c:ptCount val="2"/>
                <c:pt idx="0">
                  <c:v>1.161707434052758</c:v>
                </c:pt>
                <c:pt idx="1">
                  <c:v>2.411811979166671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3.14</c:v>
                </c:pt>
                <c:pt idx="1">
                  <c:v>Av Price/Unit 34.04</c:v>
                </c:pt>
              </c:strCache>
            </c:strRef>
          </c:cat>
          <c:val>
            <c:numRef>
              <c:f>Sheet1!$E$2:$E$3</c:f>
              <c:numCache>
                <c:formatCode>General</c:formatCode>
                <c:ptCount val="2"/>
                <c:pt idx="0">
                  <c:v>5.522781774580334</c:v>
                </c:pt>
                <c:pt idx="1">
                  <c:v>5.67317708333332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3.39</c:v>
                </c:pt>
                <c:pt idx="1">
                  <c:v>Av Price/Unit 33.31</c:v>
                </c:pt>
              </c:strCache>
            </c:strRef>
          </c:cat>
          <c:val>
            <c:numRef>
              <c:f>Sheet1!$B$2:$B$3</c:f>
              <c:numCache>
                <c:formatCode>General</c:formatCode>
                <c:ptCount val="2"/>
                <c:pt idx="0">
                  <c:v>11.652093103448276</c:v>
                </c:pt>
                <c:pt idx="1">
                  <c:v>12.14308613138685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3.39</c:v>
                </c:pt>
                <c:pt idx="1">
                  <c:v>Av Price/Unit 33.31</c:v>
                </c:pt>
              </c:strCache>
            </c:strRef>
          </c:cat>
          <c:val>
            <c:numRef>
              <c:f>Sheet1!$C$2:$C$3</c:f>
              <c:numCache>
                <c:formatCode>General</c:formatCode>
                <c:ptCount val="2"/>
                <c:pt idx="0">
                  <c:v>14.273586206896553</c:v>
                </c:pt>
                <c:pt idx="1">
                  <c:v>14.28346131386861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3.39</c:v>
                </c:pt>
                <c:pt idx="1">
                  <c:v>Av Price/Unit 33.31</c:v>
                </c:pt>
              </c:strCache>
            </c:strRef>
          </c:cat>
          <c:val>
            <c:numRef>
              <c:f>Sheet1!$D$2:$D$3</c:f>
              <c:numCache>
                <c:formatCode>General</c:formatCode>
                <c:ptCount val="2"/>
                <c:pt idx="0">
                  <c:v>1.901906896551722</c:v>
                </c:pt>
                <c:pt idx="1">
                  <c:v>1.328927007299274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3.39</c:v>
                </c:pt>
                <c:pt idx="1">
                  <c:v>Av Price/Unit 33.31</c:v>
                </c:pt>
              </c:strCache>
            </c:strRef>
          </c:cat>
          <c:val>
            <c:numRef>
              <c:f>Sheet1!$E$2:$E$3</c:f>
              <c:numCache>
                <c:formatCode>General</c:formatCode>
                <c:ptCount val="2"/>
                <c:pt idx="0">
                  <c:v>5.565517241379314</c:v>
                </c:pt>
                <c:pt idx="1">
                  <c:v>5.55109489051094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3.45</c:v>
                </c:pt>
                <c:pt idx="1">
                  <c:v>Av Price/Unit 34.42</c:v>
                </c:pt>
              </c:strCache>
            </c:strRef>
          </c:cat>
          <c:val>
            <c:numRef>
              <c:f>Sheet1!$B$2:$B$3</c:f>
              <c:numCache>
                <c:formatCode>General</c:formatCode>
                <c:ptCount val="2"/>
                <c:pt idx="0">
                  <c:v>11.940399999999999</c:v>
                </c:pt>
                <c:pt idx="1">
                  <c:v>11.76239302325581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3.45</c:v>
                </c:pt>
                <c:pt idx="1">
                  <c:v>Av Price/Unit 34.42</c:v>
                </c:pt>
              </c:strCache>
            </c:strRef>
          </c:cat>
          <c:val>
            <c:numRef>
              <c:f>Sheet1!$C$2:$C$3</c:f>
              <c:numCache>
                <c:formatCode>General</c:formatCode>
                <c:ptCount val="2"/>
                <c:pt idx="0">
                  <c:v>14.299225000000002</c:v>
                </c:pt>
                <c:pt idx="1">
                  <c:v>14.28134883720930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3.45</c:v>
                </c:pt>
                <c:pt idx="1">
                  <c:v>Av Price/Unit 34.42</c:v>
                </c:pt>
              </c:strCache>
            </c:strRef>
          </c:cat>
          <c:val>
            <c:numRef>
              <c:f>Sheet1!$D$2:$D$3</c:f>
              <c:numCache>
                <c:formatCode>General</c:formatCode>
                <c:ptCount val="2"/>
                <c:pt idx="0">
                  <c:v>1.6361190476190473</c:v>
                </c:pt>
                <c:pt idx="1">
                  <c:v>2.64327364341084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v Price/Unit 33.45</c:v>
                </c:pt>
                <c:pt idx="1">
                  <c:v>Av Price/Unit 34.42</c:v>
                </c:pt>
              </c:strCache>
            </c:strRef>
          </c:cat>
          <c:val>
            <c:numRef>
              <c:f>Sheet1!$E$2:$E$3</c:f>
              <c:numCache>
                <c:formatCode>General</c:formatCode>
                <c:ptCount val="2"/>
                <c:pt idx="0">
                  <c:v>5.575148809523808</c:v>
                </c:pt>
                <c:pt idx="1">
                  <c:v>5.737403100775197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31.16</c:v>
                </c:pt>
                <c:pt idx="1">
                  <c:v>Av Price/Unit 82.97</c:v>
                </c:pt>
                <c:pt idx="2">
                  <c:v>Av Price/Unit 36.20</c:v>
                </c:pt>
              </c:strCache>
            </c:strRef>
          </c:cat>
          <c:val>
            <c:numRef>
              <c:f>Sheet1!$B$2:$B$4</c:f>
              <c:numCache>
                <c:formatCode>General</c:formatCode>
                <c:ptCount val="3"/>
                <c:pt idx="0">
                  <c:v>12.052182555780933</c:v>
                </c:pt>
                <c:pt idx="1">
                  <c:v>26.0915</c:v>
                </c:pt>
                <c:pt idx="2">
                  <c:v>11.9180608695652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31.16</c:v>
                </c:pt>
                <c:pt idx="1">
                  <c:v>Av Price/Unit 82.97</c:v>
                </c:pt>
                <c:pt idx="2">
                  <c:v>Av Price/Unit 36.20</c:v>
                </c:pt>
              </c:strCache>
            </c:strRef>
          </c:cat>
          <c:val>
            <c:numRef>
              <c:f>Sheet1!$C$2:$C$4</c:f>
              <c:numCache>
                <c:formatCode>General</c:formatCode>
                <c:ptCount val="3"/>
                <c:pt idx="0">
                  <c:v>14.290531237322515</c:v>
                </c:pt>
                <c:pt idx="1">
                  <c:v>31.530999999999995</c:v>
                </c:pt>
                <c:pt idx="2">
                  <c:v>14.29230434782608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31.16</c:v>
                </c:pt>
                <c:pt idx="1">
                  <c:v>Av Price/Unit 82.97</c:v>
                </c:pt>
                <c:pt idx="2">
                  <c:v>Av Price/Unit 36.20</c:v>
                </c:pt>
              </c:strCache>
            </c:strRef>
          </c:cat>
          <c:val>
            <c:numRef>
              <c:f>Sheet1!$D$2:$D$4</c:f>
              <c:numCache>
                <c:formatCode>General</c:formatCode>
                <c:ptCount val="3"/>
                <c:pt idx="0">
                  <c:v>-0.3724636240703205</c:v>
                </c:pt>
                <c:pt idx="1">
                  <c:v>10.849722222222212</c:v>
                </c:pt>
                <c:pt idx="2">
                  <c:v>3.952678260869568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31.16</c:v>
                </c:pt>
                <c:pt idx="1">
                  <c:v>Av Price/Unit 82.97</c:v>
                </c:pt>
                <c:pt idx="2">
                  <c:v>Av Price/Unit 36.20</c:v>
                </c:pt>
              </c:strCache>
            </c:strRef>
          </c:cat>
          <c:val>
            <c:numRef>
              <c:f>Sheet1!$E$2:$E$4</c:f>
              <c:numCache>
                <c:formatCode>General</c:formatCode>
                <c:ptCount val="3"/>
                <c:pt idx="0">
                  <c:v>5.194050033806625</c:v>
                </c:pt>
                <c:pt idx="1">
                  <c:v>13.694444444444448</c:v>
                </c:pt>
                <c:pt idx="2">
                  <c:v>6.03260869565217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5.02</c:v>
                </c:pt>
                <c:pt idx="1">
                  <c:v>Av Price/Unit 37.22</c:v>
                </c:pt>
                <c:pt idx="2">
                  <c:v>Av Price/Unit 23.05</c:v>
                </c:pt>
                <c:pt idx="3">
                  <c:v>Av Price/Unit 39.96</c:v>
                </c:pt>
                <c:pt idx="4">
                  <c:v>Av Price/Unit 40.88</c:v>
                </c:pt>
              </c:strCache>
            </c:strRef>
          </c:cat>
          <c:val>
            <c:numRef>
              <c:f>Sheet1!$B$2:$B$6</c:f>
              <c:numCache>
                <c:formatCode>General</c:formatCode>
                <c:ptCount val="5"/>
                <c:pt idx="0">
                  <c:v>5.332938765588671</c:v>
                </c:pt>
                <c:pt idx="1">
                  <c:v>14.241815625000001</c:v>
                </c:pt>
                <c:pt idx="2">
                  <c:v>9.31701314741036</c:v>
                </c:pt>
                <c:pt idx="3">
                  <c:v>13.694086956521739</c:v>
                </c:pt>
                <c:pt idx="4">
                  <c:v>14.7700851063829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5.02</c:v>
                </c:pt>
                <c:pt idx="1">
                  <c:v>Av Price/Unit 37.22</c:v>
                </c:pt>
                <c:pt idx="2">
                  <c:v>Av Price/Unit 23.05</c:v>
                </c:pt>
                <c:pt idx="3">
                  <c:v>Av Price/Unit 39.96</c:v>
                </c:pt>
                <c:pt idx="4">
                  <c:v>Av Price/Unit 40.88</c:v>
                </c:pt>
              </c:strCache>
            </c:strRef>
          </c:cat>
          <c:val>
            <c:numRef>
              <c:f>Sheet1!$C$2:$C$6</c:f>
              <c:numCache>
                <c:formatCode>General</c:formatCode>
                <c:ptCount val="5"/>
                <c:pt idx="0">
                  <c:v>15.50036123441133</c:v>
                </c:pt>
                <c:pt idx="1">
                  <c:v>15.336260416666667</c:v>
                </c:pt>
                <c:pt idx="2">
                  <c:v>8.543391932270916</c:v>
                </c:pt>
                <c:pt idx="3">
                  <c:v>15.987</c:v>
                </c:pt>
                <c:pt idx="4">
                  <c:v>15.304808510638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5.02</c:v>
                </c:pt>
                <c:pt idx="1">
                  <c:v>Av Price/Unit 37.22</c:v>
                </c:pt>
                <c:pt idx="2">
                  <c:v>Av Price/Unit 23.05</c:v>
                </c:pt>
                <c:pt idx="3">
                  <c:v>Av Price/Unit 39.96</c:v>
                </c:pt>
                <c:pt idx="4">
                  <c:v>Av Price/Unit 40.88</c:v>
                </c:pt>
              </c:strCache>
            </c:strRef>
          </c:cat>
          <c:val>
            <c:numRef>
              <c:f>Sheet1!$D$2:$D$6</c:f>
              <c:numCache>
                <c:formatCode>General</c:formatCode>
                <c:ptCount val="5"/>
                <c:pt idx="0">
                  <c:v>0.014124786866762662</c:v>
                </c:pt>
                <c:pt idx="1">
                  <c:v>1.4418892361111162</c:v>
                </c:pt>
                <c:pt idx="2">
                  <c:v>1.3443909030544532</c:v>
                </c:pt>
                <c:pt idx="3">
                  <c:v>3.6160144927536244</c:v>
                </c:pt>
                <c:pt idx="4">
                  <c:v>3.994255319148944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5.02</c:v>
                </c:pt>
                <c:pt idx="1">
                  <c:v>Av Price/Unit 37.22</c:v>
                </c:pt>
                <c:pt idx="2">
                  <c:v>Av Price/Unit 23.05</c:v>
                </c:pt>
                <c:pt idx="3">
                  <c:v>Av Price/Unit 39.96</c:v>
                </c:pt>
                <c:pt idx="4">
                  <c:v>Av Price/Unit 40.88</c:v>
                </c:pt>
              </c:strCache>
            </c:strRef>
          </c:cat>
          <c:val>
            <c:numRef>
              <c:f>Sheet1!$E$2:$E$6</c:f>
              <c:numCache>
                <c:formatCode>General</c:formatCode>
                <c:ptCount val="5"/>
                <c:pt idx="0">
                  <c:v>4.169484957373352</c:v>
                </c:pt>
                <c:pt idx="1">
                  <c:v>6.203993055555553</c:v>
                </c:pt>
                <c:pt idx="2">
                  <c:v>3.8409694555112868</c:v>
                </c:pt>
                <c:pt idx="3">
                  <c:v>6.659420289855069</c:v>
                </c:pt>
                <c:pt idx="4">
                  <c:v>6.81382978723403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5.04</c:v>
                </c:pt>
                <c:pt idx="1">
                  <c:v>Av Price/Unit 37.76</c:v>
                </c:pt>
                <c:pt idx="2">
                  <c:v>Av Price/Unit 23.42</c:v>
                </c:pt>
                <c:pt idx="3">
                  <c:v>Av Price/Unit 41.48</c:v>
                </c:pt>
                <c:pt idx="4">
                  <c:v>Av Price/Unit 41.80</c:v>
                </c:pt>
              </c:strCache>
            </c:strRef>
          </c:cat>
          <c:val>
            <c:numRef>
              <c:f>Sheet1!$B$2:$B$6</c:f>
              <c:numCache>
                <c:formatCode>General</c:formatCode>
                <c:ptCount val="5"/>
                <c:pt idx="0">
                  <c:v>5.342034748965269</c:v>
                </c:pt>
                <c:pt idx="1">
                  <c:v>14.214928786964405</c:v>
                </c:pt>
                <c:pt idx="2">
                  <c:v>9.33206746069557</c:v>
                </c:pt>
                <c:pt idx="3">
                  <c:v>13.73457446808511</c:v>
                </c:pt>
                <c:pt idx="4">
                  <c:v>14.7293550660792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5.04</c:v>
                </c:pt>
                <c:pt idx="1">
                  <c:v>Av Price/Unit 37.76</c:v>
                </c:pt>
                <c:pt idx="2">
                  <c:v>Av Price/Unit 23.42</c:v>
                </c:pt>
                <c:pt idx="3">
                  <c:v>Av Price/Unit 41.48</c:v>
                </c:pt>
                <c:pt idx="4">
                  <c:v>Av Price/Unit 41.80</c:v>
                </c:pt>
              </c:strCache>
            </c:strRef>
          </c:cat>
          <c:val>
            <c:numRef>
              <c:f>Sheet1!$C$2:$C$6</c:f>
              <c:numCache>
                <c:formatCode>General</c:formatCode>
                <c:ptCount val="5"/>
                <c:pt idx="0">
                  <c:v>15.491265251034731</c:v>
                </c:pt>
                <c:pt idx="1">
                  <c:v>15.337861194930603</c:v>
                </c:pt>
                <c:pt idx="2">
                  <c:v>8.54222686993806</c:v>
                </c:pt>
                <c:pt idx="3">
                  <c:v>15.984486702127668</c:v>
                </c:pt>
                <c:pt idx="4">
                  <c:v>15.3072334801762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5.04</c:v>
                </c:pt>
                <c:pt idx="1">
                  <c:v>Av Price/Unit 37.76</c:v>
                </c:pt>
                <c:pt idx="2">
                  <c:v>Av Price/Unit 23.42</c:v>
                </c:pt>
                <c:pt idx="3">
                  <c:v>Av Price/Unit 41.48</c:v>
                </c:pt>
                <c:pt idx="4">
                  <c:v>Av Price/Unit 41.80</c:v>
                </c:pt>
              </c:strCache>
            </c:strRef>
          </c:cat>
          <c:val>
            <c:numRef>
              <c:f>Sheet1!$D$2:$D$6</c:f>
              <c:numCache>
                <c:formatCode>General</c:formatCode>
                <c:ptCount val="5"/>
                <c:pt idx="0">
                  <c:v>0.031000281926701234</c:v>
                </c:pt>
                <c:pt idx="1">
                  <c:v>1.9177390867028699</c:v>
                </c:pt>
                <c:pt idx="2">
                  <c:v>1.6452689217087446</c:v>
                </c:pt>
                <c:pt idx="3">
                  <c:v>4.844325354609957</c:v>
                </c:pt>
                <c:pt idx="4">
                  <c:v>4.79821321585904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5.04</c:v>
                </c:pt>
                <c:pt idx="1">
                  <c:v>Av Price/Unit 37.76</c:v>
                </c:pt>
                <c:pt idx="2">
                  <c:v>Av Price/Unit 23.42</c:v>
                </c:pt>
                <c:pt idx="3">
                  <c:v>Av Price/Unit 41.48</c:v>
                </c:pt>
                <c:pt idx="4">
                  <c:v>Av Price/Unit 41.80</c:v>
                </c:pt>
              </c:strCache>
            </c:strRef>
          </c:cat>
          <c:val>
            <c:numRef>
              <c:f>Sheet1!$E$2:$E$6</c:f>
              <c:numCache>
                <c:formatCode>General</c:formatCode>
                <c:ptCount val="5"/>
                <c:pt idx="0">
                  <c:v>4.172860056385342</c:v>
                </c:pt>
                <c:pt idx="1">
                  <c:v>6.294105813719571</c:v>
                </c:pt>
                <c:pt idx="2">
                  <c:v>3.9039225027791025</c:v>
                </c:pt>
                <c:pt idx="3">
                  <c:v>6.912677304964528</c:v>
                </c:pt>
                <c:pt idx="4">
                  <c:v>6.96696035242289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E6E5E5"/>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299D608-C779-4FCD-9906-471015B7D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77DBD13-CFEE-4B8E-82C8-0EC72C18F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D9898EC-CDEA-4FCB-BB27-FFC2B9EE1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FA7980A-5222-40AA-87F4-A187F1DBB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E83470A-E6B8-41B3-BB76-986DA3E4B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1D766B1-8162-49B3-8303-92DE639E6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AFF7F76-F909-45AE-9960-B8E21F403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25B561D-FF32-494E-BE2E-CE76E7FFE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45.9197</c:v>
                </c:pt>
                <c:pt idx="1">
                  <c:v>136.7195</c:v>
                </c:pt>
                <c:pt idx="2">
                  <c:v>134.4618</c:v>
                </c:pt>
                <c:pt idx="3">
                  <c:v>168.7835</c:v>
                </c:pt>
                <c:pt idx="4">
                  <c:v>111.311</c:v>
                </c:pt>
              </c:numCache>
            </c:numRef>
          </c:xVal>
          <c:yVal>
            <c:numRef>
              <c:f>Sheet1!$B$2:$B$6</c:f>
              <c:numCache>
                <c:formatCode>General</c:formatCode>
                <c:ptCount val="5"/>
                <c:pt idx="0">
                  <c:v>0.3775</c:v>
                </c:pt>
                <c:pt idx="1">
                  <c:v>0.3764</c:v>
                </c:pt>
                <c:pt idx="2">
                  <c:v>0.3808</c:v>
                </c:pt>
                <c:pt idx="3">
                  <c:v>0.3766</c:v>
                </c:pt>
                <c:pt idx="4">
                  <c:v>0.379</c:v>
                </c:pt>
              </c:numCache>
            </c:numRef>
          </c:yVal>
          <c:bubbleSize>
            <c:numRef>
              <c:f>Sheet1!$C$2:$C$6</c:f>
              <c:numCache>
                <c:formatCode>General</c:formatCode>
                <c:ptCount val="5"/>
                <c:pt idx="0">
                  <c:v>399965.95870000013</c:v>
                </c:pt>
                <c:pt idx="1">
                  <c:v>257032.70220000006</c:v>
                </c:pt>
                <c:pt idx="2">
                  <c:v>286538.1488999999</c:v>
                </c:pt>
                <c:pt idx="3">
                  <c:v>821300.4532999998</c:v>
                </c:pt>
                <c:pt idx="4">
                  <c:v>242212.7054000000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02.5402"/>
          <c:min val="89.0488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7764299024617437"/>
        <c:crossBetween val="midCat"/>
      </c:valAx>
      <c:valAx>
        <c:axId val="1011451359"/>
        <c:scaling>
          <c:orientation val="minMax"/>
          <c:max val="0.81696"/>
          <c:min val="0.06112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8.285114313660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5.10</c:v>
                </c:pt>
                <c:pt idx="1">
                  <c:v>Av Price/Unit 39.11</c:v>
                </c:pt>
                <c:pt idx="2">
                  <c:v>Av Price/Unit 23.43</c:v>
                </c:pt>
              </c:strCache>
            </c:strRef>
          </c:cat>
          <c:val>
            <c:numRef>
              <c:f>Sheet1!$B$2:$B$4</c:f>
              <c:numCache>
                <c:formatCode>General</c:formatCode>
                <c:ptCount val="3"/>
                <c:pt idx="0">
                  <c:v>5.354659464627152</c:v>
                </c:pt>
                <c:pt idx="1">
                  <c:v>14.302295744680851</c:v>
                </c:pt>
                <c:pt idx="2">
                  <c:v>9.33509639344262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5.10</c:v>
                </c:pt>
                <c:pt idx="1">
                  <c:v>Av Price/Unit 39.11</c:v>
                </c:pt>
                <c:pt idx="2">
                  <c:v>Av Price/Unit 23.43</c:v>
                </c:pt>
              </c:strCache>
            </c:strRef>
          </c:cat>
          <c:val>
            <c:numRef>
              <c:f>Sheet1!$C$2:$C$4</c:f>
              <c:numCache>
                <c:formatCode>General</c:formatCode>
                <c:ptCount val="3"/>
                <c:pt idx="0">
                  <c:v>15.47864053537285</c:v>
                </c:pt>
                <c:pt idx="1">
                  <c:v>15.332659574468085</c:v>
                </c:pt>
                <c:pt idx="2">
                  <c:v>8.5419924590163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5.10</c:v>
                </c:pt>
                <c:pt idx="1">
                  <c:v>Av Price/Unit 39.11</c:v>
                </c:pt>
                <c:pt idx="2">
                  <c:v>Av Price/Unit 23.43</c:v>
                </c:pt>
              </c:strCache>
            </c:strRef>
          </c:cat>
          <c:val>
            <c:numRef>
              <c:f>Sheet1!$D$2:$D$4</c:f>
              <c:numCache>
                <c:formatCode>General</c:formatCode>
                <c:ptCount val="3"/>
                <c:pt idx="0">
                  <c:v>0.08049859783301727</c:v>
                </c:pt>
                <c:pt idx="1">
                  <c:v>2.9536971631205766</c:v>
                </c:pt>
                <c:pt idx="2">
                  <c:v>1.644720218579237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5.10</c:v>
                </c:pt>
                <c:pt idx="1">
                  <c:v>Av Price/Unit 39.11</c:v>
                </c:pt>
                <c:pt idx="2">
                  <c:v>Av Price/Unit 23.43</c:v>
                </c:pt>
              </c:strCache>
            </c:strRef>
          </c:cat>
          <c:val>
            <c:numRef>
              <c:f>Sheet1!$E$2:$E$4</c:f>
              <c:numCache>
                <c:formatCode>General</c:formatCode>
                <c:ptCount val="3"/>
                <c:pt idx="0">
                  <c:v>4.182759719566601</c:v>
                </c:pt>
                <c:pt idx="1">
                  <c:v>6.517730496453894</c:v>
                </c:pt>
                <c:pt idx="2">
                  <c:v>3.90437158469944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5.02</c:v>
                </c:pt>
                <c:pt idx="1">
                  <c:v>Av Price/Unit 37.23</c:v>
                </c:pt>
                <c:pt idx="2">
                  <c:v>Av Price/Unit 23.01</c:v>
                </c:pt>
                <c:pt idx="3">
                  <c:v>Av Price/Unit 39.05</c:v>
                </c:pt>
                <c:pt idx="4">
                  <c:v>Av Price/Unit 40.04</c:v>
                </c:pt>
              </c:strCache>
            </c:strRef>
          </c:cat>
          <c:val>
            <c:numRef>
              <c:f>Sheet1!$B$2:$B$6</c:f>
              <c:numCache>
                <c:formatCode>General</c:formatCode>
                <c:ptCount val="5"/>
                <c:pt idx="0">
                  <c:v>5.332121458983821</c:v>
                </c:pt>
                <c:pt idx="1">
                  <c:v>14.223794805194805</c:v>
                </c:pt>
                <c:pt idx="2">
                  <c:v>9.299364577656677</c:v>
                </c:pt>
                <c:pt idx="3">
                  <c:v>13.62591330798479</c:v>
                </c:pt>
                <c:pt idx="4">
                  <c:v>14.67291562499999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5.02</c:v>
                </c:pt>
                <c:pt idx="1">
                  <c:v>Av Price/Unit 37.23</c:v>
                </c:pt>
                <c:pt idx="2">
                  <c:v>Av Price/Unit 23.01</c:v>
                </c:pt>
                <c:pt idx="3">
                  <c:v>Av Price/Unit 39.05</c:v>
                </c:pt>
                <c:pt idx="4">
                  <c:v>Av Price/Unit 40.04</c:v>
                </c:pt>
              </c:strCache>
            </c:strRef>
          </c:cat>
          <c:val>
            <c:numRef>
              <c:f>Sheet1!$C$2:$C$6</c:f>
              <c:numCache>
                <c:formatCode>General</c:formatCode>
                <c:ptCount val="5"/>
                <c:pt idx="0">
                  <c:v>15.50117854101618</c:v>
                </c:pt>
                <c:pt idx="1">
                  <c:v>15.337333333333332</c:v>
                </c:pt>
                <c:pt idx="2">
                  <c:v>8.544757765667576</c:v>
                </c:pt>
                <c:pt idx="3">
                  <c:v>15.9912319391635</c:v>
                </c:pt>
                <c:pt idx="4">
                  <c:v>15.31059374999999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5.02</c:v>
                </c:pt>
                <c:pt idx="1">
                  <c:v>Av Price/Unit 37.23</c:v>
                </c:pt>
                <c:pt idx="2">
                  <c:v>Av Price/Unit 23.01</c:v>
                </c:pt>
                <c:pt idx="3">
                  <c:v>Av Price/Unit 39.05</c:v>
                </c:pt>
                <c:pt idx="4">
                  <c:v>Av Price/Unit 40.04</c:v>
                </c:pt>
              </c:strCache>
            </c:strRef>
          </c:cat>
          <c:val>
            <c:numRef>
              <c:f>Sheet1!$D$2:$D$6</c:f>
              <c:numCache>
                <c:formatCode>General</c:formatCode>
                <c:ptCount val="5"/>
                <c:pt idx="0">
                  <c:v>0.017064272873501096</c:v>
                </c:pt>
                <c:pt idx="1">
                  <c:v>1.4597953823953915</c:v>
                </c:pt>
                <c:pt idx="2">
                  <c:v>1.329302633969121</c:v>
                </c:pt>
                <c:pt idx="3">
                  <c:v>2.927214702154629</c:v>
                </c:pt>
                <c:pt idx="4">
                  <c:v>3.382376041666674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25.02</c:v>
                </c:pt>
                <c:pt idx="1">
                  <c:v>Av Price/Unit 37.23</c:v>
                </c:pt>
                <c:pt idx="2">
                  <c:v>Av Price/Unit 23.01</c:v>
                </c:pt>
                <c:pt idx="3">
                  <c:v>Av Price/Unit 39.05</c:v>
                </c:pt>
                <c:pt idx="4">
                  <c:v>Av Price/Unit 40.04</c:v>
                </c:pt>
              </c:strCache>
            </c:strRef>
          </c:cat>
          <c:val>
            <c:numRef>
              <c:f>Sheet1!$E$2:$E$6</c:f>
              <c:numCache>
                <c:formatCode>General</c:formatCode>
                <c:ptCount val="5"/>
                <c:pt idx="0">
                  <c:v>4.170072854574697</c:v>
                </c:pt>
                <c:pt idx="1">
                  <c:v>6.2041847041847</c:v>
                </c:pt>
                <c:pt idx="2">
                  <c:v>3.834695731153496</c:v>
                </c:pt>
                <c:pt idx="3">
                  <c:v>6.508871989860586</c:v>
                </c:pt>
                <c:pt idx="4">
                  <c:v>6.67317708333332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5.07</c:v>
                </c:pt>
                <c:pt idx="1">
                  <c:v>Av Price/Unit 39.32</c:v>
                </c:pt>
                <c:pt idx="2">
                  <c:v>Av Price/Unit 23.92</c:v>
                </c:pt>
              </c:strCache>
            </c:strRef>
          </c:cat>
          <c:val>
            <c:numRef>
              <c:f>Sheet1!$B$2:$B$4</c:f>
              <c:numCache>
                <c:formatCode>General</c:formatCode>
                <c:ptCount val="3"/>
                <c:pt idx="0">
                  <c:v>5.3686472563472565</c:v>
                </c:pt>
                <c:pt idx="1">
                  <c:v>14.319385263157896</c:v>
                </c:pt>
                <c:pt idx="2">
                  <c:v>9.41454806629834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5.07</c:v>
                </c:pt>
                <c:pt idx="1">
                  <c:v>Av Price/Unit 39.32</c:v>
                </c:pt>
                <c:pt idx="2">
                  <c:v>Av Price/Unit 23.92</c:v>
                </c:pt>
              </c:strCache>
            </c:strRef>
          </c:cat>
          <c:val>
            <c:numRef>
              <c:f>Sheet1!$C$2:$C$4</c:f>
              <c:numCache>
                <c:formatCode>General</c:formatCode>
                <c:ptCount val="3"/>
                <c:pt idx="0">
                  <c:v>15.464652743652744</c:v>
                </c:pt>
                <c:pt idx="1">
                  <c:v>15.331642105263159</c:v>
                </c:pt>
                <c:pt idx="2">
                  <c:v>8.5358436464088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5.07</c:v>
                </c:pt>
                <c:pt idx="1">
                  <c:v>Av Price/Unit 39.32</c:v>
                </c:pt>
                <c:pt idx="2">
                  <c:v>Av Price/Unit 23.92</c:v>
                </c:pt>
              </c:strCache>
            </c:strRef>
          </c:cat>
          <c:val>
            <c:numRef>
              <c:f>Sheet1!$D$2:$D$4</c:f>
              <c:numCache>
                <c:formatCode>General</c:formatCode>
                <c:ptCount val="3"/>
                <c:pt idx="0">
                  <c:v>0.060775894075895565</c:v>
                </c:pt>
                <c:pt idx="1">
                  <c:v>3.1165164912280687</c:v>
                </c:pt>
                <c:pt idx="2">
                  <c:v>1.98511344383057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5.07</c:v>
                </c:pt>
                <c:pt idx="1">
                  <c:v>Av Price/Unit 39.32</c:v>
                </c:pt>
                <c:pt idx="2">
                  <c:v>Av Price/Unit 23.92</c:v>
                </c:pt>
              </c:strCache>
            </c:strRef>
          </c:cat>
          <c:val>
            <c:numRef>
              <c:f>Sheet1!$E$2:$E$4</c:f>
              <c:numCache>
                <c:formatCode>General</c:formatCode>
                <c:ptCount val="3"/>
                <c:pt idx="0">
                  <c:v>4.178815178815175</c:v>
                </c:pt>
                <c:pt idx="1">
                  <c:v>6.553508771929821</c:v>
                </c:pt>
                <c:pt idx="2">
                  <c:v>3.98710865561694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5.17</c:v>
                </c:pt>
                <c:pt idx="1">
                  <c:v>Av Price/Unit 35.72</c:v>
                </c:pt>
                <c:pt idx="2">
                  <c:v>Av Price/Unit 24.44</c:v>
                </c:pt>
              </c:strCache>
            </c:strRef>
          </c:cat>
          <c:val>
            <c:numRef>
              <c:f>Sheet1!$B$2:$B$4</c:f>
              <c:numCache>
                <c:formatCode>General</c:formatCode>
                <c:ptCount val="3"/>
                <c:pt idx="0">
                  <c:v>5.361568328445747</c:v>
                </c:pt>
                <c:pt idx="1">
                  <c:v>13.964295</c:v>
                </c:pt>
                <c:pt idx="2">
                  <c:v>9.41696377952755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5.17</c:v>
                </c:pt>
                <c:pt idx="1">
                  <c:v>Av Price/Unit 35.72</c:v>
                </c:pt>
                <c:pt idx="2">
                  <c:v>Av Price/Unit 24.44</c:v>
                </c:pt>
              </c:strCache>
            </c:strRef>
          </c:cat>
          <c:val>
            <c:numRef>
              <c:f>Sheet1!$C$2:$C$4</c:f>
              <c:numCache>
                <c:formatCode>General</c:formatCode>
                <c:ptCount val="3"/>
                <c:pt idx="0">
                  <c:v>15.471731671554252</c:v>
                </c:pt>
                <c:pt idx="1">
                  <c:v>15.352783333333333</c:v>
                </c:pt>
                <c:pt idx="2">
                  <c:v>8.53565669291338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5.17</c:v>
                </c:pt>
                <c:pt idx="1">
                  <c:v>Av Price/Unit 35.72</c:v>
                </c:pt>
                <c:pt idx="2">
                  <c:v>Av Price/Unit 24.44</c:v>
                </c:pt>
              </c:strCache>
            </c:strRef>
          </c:cat>
          <c:val>
            <c:numRef>
              <c:f>Sheet1!$D$2:$D$4</c:f>
              <c:numCache>
                <c:formatCode>General</c:formatCode>
                <c:ptCount val="3"/>
                <c:pt idx="0">
                  <c:v>0.1429952101661769</c:v>
                </c:pt>
                <c:pt idx="1">
                  <c:v>0.4468105555555617</c:v>
                </c:pt>
                <c:pt idx="2">
                  <c:v>2.41479580052493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5.17</c:v>
                </c:pt>
                <c:pt idx="1">
                  <c:v>Av Price/Unit 35.72</c:v>
                </c:pt>
                <c:pt idx="2">
                  <c:v>Av Price/Unit 24.44</c:v>
                </c:pt>
              </c:strCache>
            </c:strRef>
          </c:cat>
          <c:val>
            <c:numRef>
              <c:f>Sheet1!$E$2:$E$4</c:f>
              <c:numCache>
                <c:formatCode>General</c:formatCode>
                <c:ptCount val="3"/>
                <c:pt idx="0">
                  <c:v>4.195259042033232</c:v>
                </c:pt>
                <c:pt idx="1">
                  <c:v>5.952777777777775</c:v>
                </c:pt>
                <c:pt idx="2">
                  <c:v>4.073490813648291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4.32</c:v>
                </c:pt>
                <c:pt idx="1">
                  <c:v>Av Price/Unit 23.78</c:v>
                </c:pt>
                <c:pt idx="2">
                  <c:v>Av Price/Unit 41.50</c:v>
                </c:pt>
              </c:strCache>
            </c:strRef>
          </c:cat>
          <c:val>
            <c:numRef>
              <c:f>Sheet1!$B$2:$B$4</c:f>
              <c:numCache>
                <c:formatCode>General</c:formatCode>
                <c:ptCount val="3"/>
                <c:pt idx="0">
                  <c:v>5.343105324459234</c:v>
                </c:pt>
                <c:pt idx="1">
                  <c:v>9.422577777777777</c:v>
                </c:pt>
                <c:pt idx="2">
                  <c:v>14.25211764705882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4.32</c:v>
                </c:pt>
                <c:pt idx="1">
                  <c:v>Av Price/Unit 23.78</c:v>
                </c:pt>
                <c:pt idx="2">
                  <c:v>Av Price/Unit 41.50</c:v>
                </c:pt>
              </c:strCache>
            </c:strRef>
          </c:cat>
          <c:val>
            <c:numRef>
              <c:f>Sheet1!$C$2:$C$4</c:f>
              <c:numCache>
                <c:formatCode>General</c:formatCode>
                <c:ptCount val="3"/>
                <c:pt idx="0">
                  <c:v>15.490194675540765</c:v>
                </c:pt>
                <c:pt idx="1">
                  <c:v>8.535222222222222</c:v>
                </c:pt>
                <c:pt idx="2">
                  <c:v>15.3356470588235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4.32</c:v>
                </c:pt>
                <c:pt idx="1">
                  <c:v>Av Price/Unit 23.78</c:v>
                </c:pt>
                <c:pt idx="2">
                  <c:v>Av Price/Unit 41.50</c:v>
                </c:pt>
              </c:strCache>
            </c:strRef>
          </c:cat>
          <c:val>
            <c:numRef>
              <c:f>Sheet1!$D$2:$D$4</c:f>
              <c:numCache>
                <c:formatCode>General</c:formatCode>
                <c:ptCount val="3"/>
                <c:pt idx="0">
                  <c:v>-0.5670770382695522</c:v>
                </c:pt>
                <c:pt idx="1">
                  <c:v>1.8569777777777787</c:v>
                </c:pt>
                <c:pt idx="2">
                  <c:v>4.99556862745099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4.32</c:v>
                </c:pt>
                <c:pt idx="1">
                  <c:v>Av Price/Unit 23.78</c:v>
                </c:pt>
                <c:pt idx="2">
                  <c:v>Av Price/Unit 41.50</c:v>
                </c:pt>
              </c:strCache>
            </c:strRef>
          </c:cat>
          <c:val>
            <c:numRef>
              <c:f>Sheet1!$E$2:$E$4</c:f>
              <c:numCache>
                <c:formatCode>General</c:formatCode>
                <c:ptCount val="3"/>
                <c:pt idx="0">
                  <c:v>4.05324459234609</c:v>
                </c:pt>
                <c:pt idx="1">
                  <c:v>3.96296296296296</c:v>
                </c:pt>
                <c:pt idx="2">
                  <c:v>6.916666666666662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4.90</c:v>
                </c:pt>
                <c:pt idx="1">
                  <c:v>Av Price/Unit 36.52</c:v>
                </c:pt>
                <c:pt idx="2">
                  <c:v>Av Price/Unit 23.13</c:v>
                </c:pt>
                <c:pt idx="3">
                  <c:v>Av Price/Unit 40.02</c:v>
                </c:pt>
              </c:strCache>
            </c:strRef>
          </c:cat>
          <c:val>
            <c:numRef>
              <c:f>Sheet1!$B$2:$B$5</c:f>
              <c:numCache>
                <c:formatCode>General</c:formatCode>
                <c:ptCount val="4"/>
                <c:pt idx="0">
                  <c:v>5.345732174505794</c:v>
                </c:pt>
                <c:pt idx="1">
                  <c:v>14.086165632458234</c:v>
                </c:pt>
                <c:pt idx="2">
                  <c:v>9.330984771573604</c:v>
                </c:pt>
                <c:pt idx="3">
                  <c:v>13.75986666666666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4.90</c:v>
                </c:pt>
                <c:pt idx="1">
                  <c:v>Av Price/Unit 36.52</c:v>
                </c:pt>
                <c:pt idx="2">
                  <c:v>Av Price/Unit 23.13</c:v>
                </c:pt>
                <c:pt idx="3">
                  <c:v>Av Price/Unit 40.02</c:v>
                </c:pt>
              </c:strCache>
            </c:strRef>
          </c:cat>
          <c:val>
            <c:numRef>
              <c:f>Sheet1!$C$2:$C$5</c:f>
              <c:numCache>
                <c:formatCode>General</c:formatCode>
                <c:ptCount val="4"/>
                <c:pt idx="0">
                  <c:v>15.487567825494208</c:v>
                </c:pt>
                <c:pt idx="1">
                  <c:v>15.345527446300718</c:v>
                </c:pt>
                <c:pt idx="2">
                  <c:v>8.542310659898476</c:v>
                </c:pt>
                <c:pt idx="3">
                  <c:v>15.98291666666666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4.90</c:v>
                </c:pt>
                <c:pt idx="1">
                  <c:v>Av Price/Unit 36.52</c:v>
                </c:pt>
                <c:pt idx="2">
                  <c:v>Av Price/Unit 23.13</c:v>
                </c:pt>
                <c:pt idx="3">
                  <c:v>Av Price/Unit 40.02</c:v>
                </c:pt>
              </c:strCache>
            </c:strRef>
          </c:cat>
          <c:val>
            <c:numRef>
              <c:f>Sheet1!$D$2:$D$5</c:f>
              <c:numCache>
                <c:formatCode>General</c:formatCode>
                <c:ptCount val="4"/>
                <c:pt idx="0">
                  <c:v>-0.08006209952283783</c:v>
                </c:pt>
                <c:pt idx="1">
                  <c:v>0.9979011933174213</c:v>
                </c:pt>
                <c:pt idx="2">
                  <c:v>1.401894867456292</c:v>
                </c:pt>
                <c:pt idx="3">
                  <c:v>3.603176262626256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4.90</c:v>
                </c:pt>
                <c:pt idx="1">
                  <c:v>Av Price/Unit 36.52</c:v>
                </c:pt>
                <c:pt idx="2">
                  <c:v>Av Price/Unit 23.13</c:v>
                </c:pt>
                <c:pt idx="3">
                  <c:v>Av Price/Unit 40.02</c:v>
                </c:pt>
              </c:strCache>
            </c:strRef>
          </c:cat>
          <c:val>
            <c:numRef>
              <c:f>Sheet1!$E$2:$E$5</c:f>
              <c:numCache>
                <c:formatCode>General</c:formatCode>
                <c:ptCount val="4"/>
                <c:pt idx="0">
                  <c:v>4.150647580095433</c:v>
                </c:pt>
                <c:pt idx="1">
                  <c:v>6.085918854415274</c:v>
                </c:pt>
                <c:pt idx="2">
                  <c:v>3.8550479413423555</c:v>
                </c:pt>
                <c:pt idx="3">
                  <c:v>6.66919191919192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5.08</c:v>
                </c:pt>
                <c:pt idx="1">
                  <c:v>Av Price/Unit 38.20</c:v>
                </c:pt>
                <c:pt idx="2">
                  <c:v>Av Price/Unit 23.48</c:v>
                </c:pt>
                <c:pt idx="3">
                  <c:v>Av Price/Unit 41.46</c:v>
                </c:pt>
              </c:strCache>
            </c:strRef>
          </c:cat>
          <c:val>
            <c:numRef>
              <c:f>Sheet1!$B$2:$B$5</c:f>
              <c:numCache>
                <c:formatCode>General</c:formatCode>
                <c:ptCount val="4"/>
                <c:pt idx="0">
                  <c:v>5.338142173350582</c:v>
                </c:pt>
                <c:pt idx="1">
                  <c:v>14.258123684210528</c:v>
                </c:pt>
                <c:pt idx="2">
                  <c:v>9.33046968641115</c:v>
                </c:pt>
                <c:pt idx="3">
                  <c:v>13.21317647058823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5.08</c:v>
                </c:pt>
                <c:pt idx="1">
                  <c:v>Av Price/Unit 38.20</c:v>
                </c:pt>
                <c:pt idx="2">
                  <c:v>Av Price/Unit 23.48</c:v>
                </c:pt>
                <c:pt idx="3">
                  <c:v>Av Price/Unit 41.46</c:v>
                </c:pt>
              </c:strCache>
            </c:strRef>
          </c:cat>
          <c:val>
            <c:numRef>
              <c:f>Sheet1!$C$2:$C$5</c:f>
              <c:numCache>
                <c:formatCode>General</c:formatCode>
                <c:ptCount val="4"/>
                <c:pt idx="0">
                  <c:v>15.495157826649415</c:v>
                </c:pt>
                <c:pt idx="1">
                  <c:v>15.33528947368421</c:v>
                </c:pt>
                <c:pt idx="2">
                  <c:v>8.542350522648084</c:v>
                </c:pt>
                <c:pt idx="3">
                  <c:v>16.01685294117647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5.08</c:v>
                </c:pt>
                <c:pt idx="1">
                  <c:v>Av Price/Unit 38.20</c:v>
                </c:pt>
                <c:pt idx="2">
                  <c:v>Av Price/Unit 23.48</c:v>
                </c:pt>
                <c:pt idx="3">
                  <c:v>Av Price/Unit 41.46</c:v>
                </c:pt>
              </c:strCache>
            </c:strRef>
          </c:cat>
          <c:val>
            <c:numRef>
              <c:f>Sheet1!$D$2:$D$5</c:f>
              <c:numCache>
                <c:formatCode>General</c:formatCode>
                <c:ptCount val="4"/>
                <c:pt idx="0">
                  <c:v>0.06417736093143844</c:v>
                </c:pt>
                <c:pt idx="1">
                  <c:v>2.241382163742692</c:v>
                </c:pt>
                <c:pt idx="2">
                  <c:v>1.6973974448315907</c:v>
                </c:pt>
                <c:pt idx="3">
                  <c:v>5.316539215686276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5.08</c:v>
                </c:pt>
                <c:pt idx="1">
                  <c:v>Av Price/Unit 38.20</c:v>
                </c:pt>
                <c:pt idx="2">
                  <c:v>Av Price/Unit 23.48</c:v>
                </c:pt>
                <c:pt idx="3">
                  <c:v>Av Price/Unit 41.46</c:v>
                </c:pt>
              </c:strCache>
            </c:strRef>
          </c:cat>
          <c:val>
            <c:numRef>
              <c:f>Sheet1!$E$2:$E$5</c:f>
              <c:numCache>
                <c:formatCode>General</c:formatCode>
                <c:ptCount val="4"/>
                <c:pt idx="0">
                  <c:v>4.179495472186285</c:v>
                </c:pt>
                <c:pt idx="1">
                  <c:v>6.3669590643274825</c:v>
                </c:pt>
                <c:pt idx="2">
                  <c:v>3.914053426248547</c:v>
                </c:pt>
                <c:pt idx="3">
                  <c:v>6.909313725490191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5.01</c:v>
                </c:pt>
                <c:pt idx="1">
                  <c:v>Av Price/Unit 23.47</c:v>
                </c:pt>
                <c:pt idx="2">
                  <c:v>Av Price/Unit 37.63</c:v>
                </c:pt>
                <c:pt idx="3">
                  <c:v>Av Price/Unit 41.47</c:v>
                </c:pt>
              </c:strCache>
            </c:strRef>
          </c:cat>
          <c:val>
            <c:numRef>
              <c:f>Sheet1!$B$2:$B$5</c:f>
              <c:numCache>
                <c:formatCode>General</c:formatCode>
                <c:ptCount val="4"/>
                <c:pt idx="0">
                  <c:v>5.344332273152478</c:v>
                </c:pt>
                <c:pt idx="1">
                  <c:v>9.39390909090909</c:v>
                </c:pt>
                <c:pt idx="2">
                  <c:v>14.316624884792628</c:v>
                </c:pt>
                <c:pt idx="3">
                  <c:v>14.64846666666666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5.01</c:v>
                </c:pt>
                <c:pt idx="1">
                  <c:v>Av Price/Unit 23.47</c:v>
                </c:pt>
                <c:pt idx="2">
                  <c:v>Av Price/Unit 37.63</c:v>
                </c:pt>
                <c:pt idx="3">
                  <c:v>Av Price/Unit 41.47</c:v>
                </c:pt>
              </c:strCache>
            </c:strRef>
          </c:cat>
          <c:val>
            <c:numRef>
              <c:f>Sheet1!$C$2:$C$5</c:f>
              <c:numCache>
                <c:formatCode>General</c:formatCode>
                <c:ptCount val="4"/>
                <c:pt idx="0">
                  <c:v>15.488967726847521</c:v>
                </c:pt>
                <c:pt idx="1">
                  <c:v>8.53744090909091</c:v>
                </c:pt>
                <c:pt idx="2">
                  <c:v>15.331806451612904</c:v>
                </c:pt>
                <c:pt idx="3">
                  <c:v>15.3120493827160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5.01</c:v>
                </c:pt>
                <c:pt idx="1">
                  <c:v>Av Price/Unit 23.47</c:v>
                </c:pt>
                <c:pt idx="2">
                  <c:v>Av Price/Unit 37.63</c:v>
                </c:pt>
                <c:pt idx="3">
                  <c:v>Av Price/Unit 41.47</c:v>
                </c:pt>
              </c:strCache>
            </c:strRef>
          </c:cat>
          <c:val>
            <c:numRef>
              <c:f>Sheet1!$D$2:$D$5</c:f>
              <c:numCache>
                <c:formatCode>General</c:formatCode>
                <c:ptCount val="4"/>
                <c:pt idx="0">
                  <c:v>0.005490146554414821</c:v>
                </c:pt>
                <c:pt idx="1">
                  <c:v>1.6245855218855247</c:v>
                </c:pt>
                <c:pt idx="2">
                  <c:v>1.7071754224270386</c:v>
                </c:pt>
                <c:pt idx="3">
                  <c:v>4.59709711934156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25.01</c:v>
                </c:pt>
                <c:pt idx="1">
                  <c:v>Av Price/Unit 23.47</c:v>
                </c:pt>
                <c:pt idx="2">
                  <c:v>Av Price/Unit 37.63</c:v>
                </c:pt>
                <c:pt idx="3">
                  <c:v>Av Price/Unit 41.47</c:v>
                </c:pt>
              </c:strCache>
            </c:strRef>
          </c:cat>
          <c:val>
            <c:numRef>
              <c:f>Sheet1!$E$2:$E$5</c:f>
              <c:numCache>
                <c:formatCode>General</c:formatCode>
                <c:ptCount val="4"/>
                <c:pt idx="0">
                  <c:v>4.167758029310878</c:v>
                </c:pt>
                <c:pt idx="1">
                  <c:v>3.9111952861952832</c:v>
                </c:pt>
                <c:pt idx="2">
                  <c:v>6.271121351766512</c:v>
                </c:pt>
                <c:pt idx="3">
                  <c:v>6.91152263374485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B319D6C-DA1F-424A-A326-429AFDECF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9ABC5F1-27CE-4454-9722-120653A282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29E3F4A-8276-4F07-9F0D-480B9205E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5C17322-1028-458A-A306-80B3BC4B8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50FD7CB-5600-4644-B5E6-118EFBDBC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02BA251-C439-4BB7-A867-25159E79D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D40B80B-B3E1-478B-839D-6F994773C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1F3EB46-8FEE-4C0C-BA4A-C7D2272E5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4154F12-3C50-4F5D-9EDA-2870D90C5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EB25C90-2545-4AA3-A844-14B3594F0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BD3E61F-19A7-4064-B0B1-ECAB0DB85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A9D2D38-81B4-453D-BF3A-FEF485AAD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37B88AD-3B56-4EB2-B26E-D3A3210CB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4F41CCD-8229-4A1B-9F2F-9D9313DE0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5849A2B2-7247-40D3-8FE3-373A4F520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8356B8A-F297-4428-85FC-88ECFBDF83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A9DC117-2B07-419C-9716-86A375CDC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986C820-EEE9-4AA8-B2B0-6D7A1FC7F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7E740D2-FC68-4F41-BCE6-880443D72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771D570-AD8E-40EF-9A2B-3DFD6E583F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F9C1E3E-88BC-4BC9-A163-23F8E7F25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949CE22-91C2-4EF8-B75E-8E56D8FD2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13B2D81-96FC-4D66-959B-8B1A51127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D9983DD-5C75-4685-8865-CE1128301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58B0411-E3DF-4DE8-8A52-9B86A6E1D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75DDAD8-1F0F-4DA3-956A-739377991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A79B3C0-1201-41EC-9E5C-7EB607DD4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6AE584F-8BB2-409E-A012-84F14F777B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F18C6C1-F63C-4BBF-B746-A589D1C28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7880DF7-EE6E-4B42-BF13-D2062A831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C3570A4-0963-40A6-91B9-A1814BDB3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C414A7D-5F52-4484-BF48-54C89A7BAA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5DC79A2-42F5-4B29-BD4C-6C150FF13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1E52061-D88F-47A8-81B5-D263B4A5F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875D190-7336-41D7-A6FE-D925D577B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8E00A95-28E1-410C-8B19-328EC499B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E8847D2-A5C4-4C53-97C2-0AD81A0AB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202074D-D5C0-4633-880D-AD9F670BA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6BDE51C-84B9-47F7-921F-FBF8F8CE4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7709A68-0594-4BC9-9EBA-98B11033E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2351E94-0202-4292-9A4F-4340037B5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24B5541-14D8-41FD-9B08-21FC3DBC5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C114FBC-ABE7-44CA-A833-FB046ABB8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8501425-A25C-4E34-924B-BD0F22214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34BDA4B-BD2F-4FFD-AE31-481E5883A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2D7E468-6D85-4FA0-A71A-CB59F094D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3BD696B-FD62-4F9D-9AED-220AB58A6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9AC01BF-AD4F-48D5-9B86-6005CA5F1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C6114DC-7D06-4A87-B910-773FBDAE0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507FCDB-5254-4E97-9724-709293DC4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71BA38A-5686-4E81-A09E-B5022E3F69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DFEC271C-DF4F-4FEA-B58D-59C845461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625A338-3A7D-4629-B3AD-38AE64FFA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4A2C3D6-0579-4820-ACE3-4799056D8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30476B8-07E4-4774-99A3-88F7986AA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EE563AE-A7C8-4D20-8491-2A218561F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6ACB63A-FE3D-45A4-8E03-2A6C6F66C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79</c:v>
                </c:pt>
                <c:pt idx="1">
                  <c:v>0.1056</c:v>
                </c:pt>
                <c:pt idx="2">
                  <c:v>0.1504</c:v>
                </c:pt>
                <c:pt idx="3">
                  <c:v>0.0411</c:v>
                </c:pt>
                <c:pt idx="4">
                  <c:v>0.0055</c:v>
                </c:pt>
                <c:pt idx="5">
                  <c:v>0.0257</c:v>
                </c:pt>
                <c:pt idx="6">
                  <c:v>0.0373</c:v>
                </c:pt>
                <c:pt idx="7">
                  <c:v>0.0424</c:v>
                </c:pt>
                <c:pt idx="8">
                  <c:v>0.0359</c:v>
                </c:pt>
                <c:pt idx="9">
                  <c:v>0.0431</c:v>
                </c:pt>
                <c:pt idx="10">
                  <c:v>0.0901</c:v>
                </c:pt>
                <c:pt idx="11">
                  <c:v>0.0902</c:v>
                </c:pt>
                <c:pt idx="12">
                  <c:v>0.0843</c:v>
                </c:pt>
                <c:pt idx="13">
                  <c:v>0.0714</c:v>
                </c:pt>
                <c:pt idx="14">
                  <c:v>0.0901</c:v>
                </c:pt>
              </c:numCache>
            </c:numRef>
          </c:xVal>
          <c:yVal>
            <c:numRef>
              <c:f>Sheet1!$B$2:$B$16</c:f>
              <c:numCache>
                <c:formatCode>General</c:formatCode>
                <c:ptCount val="15"/>
                <c:pt idx="0">
                  <c:v>0.5086</c:v>
                </c:pt>
                <c:pt idx="1">
                  <c:v>0.5203</c:v>
                </c:pt>
                <c:pt idx="2">
                  <c:v>0.4823</c:v>
                </c:pt>
                <c:pt idx="3">
                  <c:v>0.2834</c:v>
                </c:pt>
                <c:pt idx="4">
                  <c:v>0.2562</c:v>
                </c:pt>
                <c:pt idx="5">
                  <c:v>0.4508</c:v>
                </c:pt>
                <c:pt idx="6">
                  <c:v>0.4492</c:v>
                </c:pt>
                <c:pt idx="7">
                  <c:v>0.4493</c:v>
                </c:pt>
                <c:pt idx="8">
                  <c:v>0.5153</c:v>
                </c:pt>
                <c:pt idx="9">
                  <c:v>0.2115</c:v>
                </c:pt>
                <c:pt idx="10">
                  <c:v>0.4502</c:v>
                </c:pt>
                <c:pt idx="11">
                  <c:v>0.4722</c:v>
                </c:pt>
                <c:pt idx="12">
                  <c:v>0.4819</c:v>
                </c:pt>
                <c:pt idx="13">
                  <c:v>0.4591</c:v>
                </c:pt>
                <c:pt idx="14">
                  <c:v>0.4516</c:v>
                </c:pt>
              </c:numCache>
            </c:numRef>
          </c:yVal>
          <c:bubbleSize>
            <c:numRef>
              <c:f>Sheet1!$C$2:$C$16</c:f>
              <c:numCache>
                <c:formatCode>General</c:formatCode>
                <c:ptCount val="15"/>
                <c:pt idx="0">
                  <c:v>132.2051282051282</c:v>
                </c:pt>
                <c:pt idx="1">
                  <c:v>67.9090909090909</c:v>
                </c:pt>
                <c:pt idx="2">
                  <c:v>150.47368421052633</c:v>
                </c:pt>
                <c:pt idx="3">
                  <c:v>193.99999999999997</c:v>
                </c:pt>
                <c:pt idx="4">
                  <c:v>283.578125</c:v>
                </c:pt>
                <c:pt idx="5">
                  <c:v>169.55</c:v>
                </c:pt>
                <c:pt idx="6">
                  <c:v>280.6666666666667</c:v>
                </c:pt>
                <c:pt idx="7">
                  <c:v>133.56521739130434</c:v>
                </c:pt>
                <c:pt idx="8">
                  <c:v>136.1860465116279</c:v>
                </c:pt>
                <c:pt idx="9">
                  <c:v>2484.32</c:v>
                </c:pt>
                <c:pt idx="10">
                  <c:v>394.0508474576271</c:v>
                </c:pt>
                <c:pt idx="11">
                  <c:v>51.49999999999999</c:v>
                </c:pt>
                <c:pt idx="12">
                  <c:v>100.02631578947368</c:v>
                </c:pt>
                <c:pt idx="13">
                  <c:v>95.55</c:v>
                </c:pt>
                <c:pt idx="14">
                  <c:v>61.8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B4069CD-9C16-4619-9514-B37E879E5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B0E03DD-539F-4687-B4AA-045E25C273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0DCE632-2648-42A3-83BE-1A175885C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018F8F0-2E48-4169-AF77-945D91308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9228896-5C3A-4D3A-8DDE-FC48BF966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2B3571F-C291-47A3-9247-28A711A5C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0235A91-5AEC-4795-A01E-512A52A72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71D55BA-28AE-42EE-8BC2-63DCC4223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4E47FD8-7E0F-4CE7-B337-5C86C3ED7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55EC95A-1E90-4088-AA3C-03EA14758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E3F36D9-F525-434D-83D0-75788855A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12E693A-AAD0-47D7-B4D4-A5C3CF8B7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5ED208F-6DA0-478A-A9EF-D4C1EE273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DDBAE00-1CF5-46FF-B268-A4A97F7A6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42423B0-80D1-4C8A-903F-A6BB3E86A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E76DA9C-EA3F-421D-AB48-5D40905AE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79C8825-6728-42F0-A898-0567302C9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D041DC5-91DE-4DF4-BBAA-F3617F4C2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0A27E74-EAC2-4A4A-B72D-B8C9CDF9E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056CDC5-8EF7-484B-9321-6231EE159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10518DD-0AF9-4E73-9698-DC3E81CC1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559A37C-082F-4897-9B68-D47272390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DC19DCA-4CFA-4472-AA98-910C8476B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FED9D72-342C-4A7A-A701-913854A89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0E5DB4E-D49F-42FF-8E85-77C129C3A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DFF8BC2-8E59-41B2-940A-9A291AA95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9675877-3E0D-4DC0-8D6A-A3573C3E9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54AA8C0-39A5-453E-88FE-52D2B4681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58D5D99-4CD5-4033-858A-EB5ACDC65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3762122-48FA-438B-8FD6-63A218CFC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F894161-0F46-45FF-9B68-DA3E19CA03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A066147-28E8-44E9-9CC5-5FC544C2D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1BF462E-421A-4857-ACB3-F1D75F1A7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BBD1412-BABD-4B3A-B7FA-0FBEE1335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4676919-6689-4E2F-BEA6-CCA58388E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34E5219-D18F-4479-8E8C-80863A561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80CA89D-1914-4BEA-9C64-16974956A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6345CDA-56F8-4108-B7F3-839D75B75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3ECEEB77-2404-4F6E-B474-8F81EBFB5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9F5D98E-D777-4540-8ECE-A3843CE32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E096E73-895C-4E86-B220-6AF7D1BD7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911EE7A-D82A-497E-AD37-8F4994D14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9F000CD-5F29-43E1-8242-05267EEAA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3CD3FEA-0EDF-4DCF-A507-F2C4F052B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865819F-5DBD-45BF-82DB-7AF94B592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59B39FF-3CAC-4DE9-A196-C276A8ECB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C698940-B6F2-4EC6-9517-177692BBBC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2BBF7D2-ECFE-4FE1-8203-19B60040A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05B3380-07F6-4757-BA24-B945782DF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C09FF20-68D9-4299-961D-23C533094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513B1BF-2AFB-4D28-9BE3-54D0695E5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0EBE58A-C998-4A5E-AB9E-8725465A8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6BD7855-C067-4D12-BB6E-80BF755427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A5A315C5-4BEB-466F-B93A-CC6E0BDF2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93F28AB-FDC9-422C-9563-8C0B8EFAE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23CAC66-F147-46D4-ADED-19CBDAC56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DCEFB1A-43C2-46D7-8D3A-37C182586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0.0944</c:v>
                </c:pt>
                <c:pt idx="1">
                  <c:v>0.0996</c:v>
                </c:pt>
                <c:pt idx="2">
                  <c:v>0.1147</c:v>
                </c:pt>
                <c:pt idx="3">
                  <c:v>0.0139</c:v>
                </c:pt>
                <c:pt idx="4">
                  <c:v>0.0029</c:v>
                </c:pt>
                <c:pt idx="5">
                  <c:v>0.0196</c:v>
                </c:pt>
                <c:pt idx="6">
                  <c:v>0.1247</c:v>
                </c:pt>
                <c:pt idx="7">
                  <c:v>0.0319</c:v>
                </c:pt>
                <c:pt idx="8">
                  <c:v>0.0636</c:v>
                </c:pt>
                <c:pt idx="9">
                  <c:v>0.0431</c:v>
                </c:pt>
                <c:pt idx="10">
                  <c:v>0.0382</c:v>
                </c:pt>
                <c:pt idx="11">
                  <c:v>0.0865</c:v>
                </c:pt>
                <c:pt idx="12">
                  <c:v>0.1056</c:v>
                </c:pt>
                <c:pt idx="13">
                  <c:v>0.0951</c:v>
                </c:pt>
                <c:pt idx="14">
                  <c:v>0.0407</c:v>
                </c:pt>
                <c:pt idx="15">
                  <c:v>0.1577</c:v>
                </c:pt>
              </c:numCache>
            </c:numRef>
          </c:xVal>
          <c:yVal>
            <c:numRef>
              <c:f>Sheet1!$B$2:$B$17</c:f>
              <c:numCache>
                <c:formatCode>General</c:formatCode>
                <c:ptCount val="16"/>
                <c:pt idx="0">
                  <c:v>0.5086</c:v>
                </c:pt>
                <c:pt idx="1">
                  <c:v>0.5245</c:v>
                </c:pt>
                <c:pt idx="2">
                  <c:v>0.485</c:v>
                </c:pt>
                <c:pt idx="3">
                  <c:v>0.2851</c:v>
                </c:pt>
                <c:pt idx="4">
                  <c:v>0.2577</c:v>
                </c:pt>
                <c:pt idx="5">
                  <c:v>0.4519</c:v>
                </c:pt>
                <c:pt idx="6">
                  <c:v>0.4528</c:v>
                </c:pt>
                <c:pt idx="7">
                  <c:v>0.4492</c:v>
                </c:pt>
                <c:pt idx="8">
                  <c:v>0.4454</c:v>
                </c:pt>
                <c:pt idx="9">
                  <c:v>0.5084</c:v>
                </c:pt>
                <c:pt idx="10">
                  <c:v>0.2127</c:v>
                </c:pt>
                <c:pt idx="11">
                  <c:v>0.4515</c:v>
                </c:pt>
                <c:pt idx="12">
                  <c:v>0.4518</c:v>
                </c:pt>
                <c:pt idx="13">
                  <c:v>0.4829</c:v>
                </c:pt>
                <c:pt idx="14">
                  <c:v>0.4551</c:v>
                </c:pt>
                <c:pt idx="15">
                  <c:v>0.4496</c:v>
                </c:pt>
              </c:numCache>
            </c:numRef>
          </c:yVal>
          <c:bubbleSize>
            <c:numRef>
              <c:f>Sheet1!$C$2:$C$17</c:f>
              <c:numCache>
                <c:formatCode>General</c:formatCode>
                <c:ptCount val="16"/>
                <c:pt idx="0">
                  <c:v>214.32432432432432</c:v>
                </c:pt>
                <c:pt idx="1">
                  <c:v>105.60975609756098</c:v>
                </c:pt>
                <c:pt idx="2">
                  <c:v>330.95</c:v>
                </c:pt>
                <c:pt idx="3">
                  <c:v>383.1025641025641</c:v>
                </c:pt>
                <c:pt idx="4">
                  <c:v>355.9767441860465</c:v>
                </c:pt>
                <c:pt idx="5">
                  <c:v>284.11538461538464</c:v>
                </c:pt>
                <c:pt idx="6">
                  <c:v>189.34615384615384</c:v>
                </c:pt>
                <c:pt idx="7">
                  <c:v>262.10526315789474</c:v>
                </c:pt>
                <c:pt idx="8">
                  <c:v>98.5</c:v>
                </c:pt>
                <c:pt idx="9">
                  <c:v>210.54545454545453</c:v>
                </c:pt>
                <c:pt idx="10">
                  <c:v>4592.25</c:v>
                </c:pt>
                <c:pt idx="11">
                  <c:v>578.945205479452</c:v>
                </c:pt>
                <c:pt idx="12">
                  <c:v>217.2941176470588</c:v>
                </c:pt>
                <c:pt idx="13">
                  <c:v>173.74418604651163</c:v>
                </c:pt>
                <c:pt idx="14">
                  <c:v>174.64</c:v>
                </c:pt>
                <c:pt idx="15">
                  <c:v>138.56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EC7AD4F-8D0B-424B-87B3-F7D74E74A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C366164-2940-4D66-B23C-25546CCDB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FA7CF9A-D584-42DE-A49C-C25C1F5AD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D6F33AD-3419-490E-885C-E58B5EAC6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AA28970-23FB-4FC8-B2BE-1C0ED15DB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467BD1C-E994-41DD-88CD-87E640C53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21A981A-2765-4825-8F90-FA8FBC77B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4F5729F-E40F-44F2-BBF8-183492679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053381D-CABA-4405-8870-2933CFA79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A8C3867-50EA-4FB9-98ED-BF4759AB1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7519092-7EB2-4A2F-B74D-F65BD3AD8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943812E-35EC-4C21-8D4F-B04C53083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ECE4760-2A14-4C04-B9B2-DFF1D4CAD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8C408EA-F2B9-4860-8F0F-AABEC15AD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2A7AF26-B439-4993-A7BF-7B4DE6AB5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FBC6E74-FBB7-43AE-8754-74C9D85A9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9B42763-0AE5-443D-9D1C-ED2AC62B2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EC3880B-0F7D-4E34-BE87-C1CA9E352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FFFEA11-D72E-49EF-B8FB-FA5787F32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92772C3-FBBA-43EB-B57D-65073C69D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A0E52D2-1DC8-414A-86B6-40BD295717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809A30C-4D52-4586-A305-12DBA24D8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4047806-0C45-4F76-87C0-3F39F6181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54B58EE-95A2-4528-8467-7E3D0CA1C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30E0233-352B-4840-82F0-A65A34736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4F0A86D-A334-4B8B-977A-84C0FE9F1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A462969-DE77-41EC-832C-36D353FE5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3598B12-0819-4164-8C1C-6D6E74060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6DE64C6-3E53-4136-99C4-211F1C150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EE3D63B-6236-4249-AE43-B4D9481DF1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09E9C48-8181-4D30-BB5E-9BC8BC532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E162A8F-7624-4D20-864E-0F12C4AD0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7B7FB3F-DA87-4350-B66A-50D759581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DDA2C9B-D891-4C47-B460-C0A61BB52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8BA8935-064B-46AC-B2CB-E3436953B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4563235-C58C-4709-B40C-535F4EEA9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3AA02EA-9EBD-43CA-A6F6-CD817E04A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9E6B591-567B-4606-AE53-947ED0577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AE81BBA-72E0-4426-9834-B6F06D479B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36E54CE-9D56-47B0-AD99-2221967B1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B2F386C-FCE9-456D-80A2-FC48FA05D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B3E6808-3584-40ED-A501-BADAD5FA1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14442909-CF9F-412B-B0A5-C66CC1E66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C839BED-451D-4777-A277-F40895F6F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8741A5A-3657-447B-B038-6A1FDB132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8D7FE4E-96FA-4A92-BABF-C359FB580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A0B7448-BC9B-437D-B8FE-76ABBFF9F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4182A41-B287-48C8-9A2F-A3A2C3585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79175AE-73D2-40B3-BBEA-D0A06E4CE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6BDA025-BA0D-4546-85AF-E43CCA8E4D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BB49987-FBD6-4672-932E-460CB9EF5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C0B2CE1-9B56-4C27-B864-8137C6FB3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EF689D6-46BE-44F1-BD69-C5A9F1204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50E17A5-A735-488F-9A27-4076DB448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7C08728-A815-4711-A3AE-60F334646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9C451B7-B0C6-4ABE-81E2-983E48C9B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52CC361-6423-4305-A23A-E6179B9E6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0.0813</c:v>
                </c:pt>
                <c:pt idx="1">
                  <c:v>0.0693</c:v>
                </c:pt>
                <c:pt idx="2">
                  <c:v>0.073</c:v>
                </c:pt>
                <c:pt idx="3">
                  <c:v>0.0041</c:v>
                </c:pt>
                <c:pt idx="4">
                  <c:v>0.0008</c:v>
                </c:pt>
                <c:pt idx="5">
                  <c:v>-0.0366</c:v>
                </c:pt>
                <c:pt idx="6">
                  <c:v>0.0983</c:v>
                </c:pt>
                <c:pt idx="7">
                  <c:v>-0.0037</c:v>
                </c:pt>
                <c:pt idx="8">
                  <c:v>0.0362</c:v>
                </c:pt>
                <c:pt idx="9">
                  <c:v>0.1014</c:v>
                </c:pt>
                <c:pt idx="10">
                  <c:v>0.0899</c:v>
                </c:pt>
                <c:pt idx="11">
                  <c:v>0.1348</c:v>
                </c:pt>
                <c:pt idx="12">
                  <c:v>0.0262</c:v>
                </c:pt>
                <c:pt idx="13">
                  <c:v>0.0424</c:v>
                </c:pt>
                <c:pt idx="14">
                  <c:v>0.0814</c:v>
                </c:pt>
                <c:pt idx="15">
                  <c:v>0.0524</c:v>
                </c:pt>
                <c:pt idx="16">
                  <c:v>0.0471</c:v>
                </c:pt>
                <c:pt idx="17">
                  <c:v>0.1241</c:v>
                </c:pt>
                <c:pt idx="18">
                  <c:v>0.0131</c:v>
                </c:pt>
                <c:pt idx="19">
                  <c:v>0.0568</c:v>
                </c:pt>
                <c:pt idx="20">
                  <c:v>0.0542</c:v>
                </c:pt>
              </c:numCache>
            </c:numRef>
          </c:xVal>
          <c:yVal>
            <c:numRef>
              <c:f>Sheet1!$B$2:$B$22</c:f>
              <c:numCache>
                <c:formatCode>General</c:formatCode>
                <c:ptCount val="21"/>
                <c:pt idx="0">
                  <c:v>0.5086</c:v>
                </c:pt>
                <c:pt idx="1">
                  <c:v>0.5211</c:v>
                </c:pt>
                <c:pt idx="2">
                  <c:v>0.482</c:v>
                </c:pt>
                <c:pt idx="3">
                  <c:v>0.2839</c:v>
                </c:pt>
                <c:pt idx="4">
                  <c:v>0.2559</c:v>
                </c:pt>
                <c:pt idx="5">
                  <c:v>0.4509</c:v>
                </c:pt>
                <c:pt idx="6">
                  <c:v>0.4528</c:v>
                </c:pt>
                <c:pt idx="7">
                  <c:v>0.4492</c:v>
                </c:pt>
                <c:pt idx="8">
                  <c:v>0.4457</c:v>
                </c:pt>
                <c:pt idx="9">
                  <c:v>0.4894</c:v>
                </c:pt>
                <c:pt idx="10">
                  <c:v>0.4601</c:v>
                </c:pt>
                <c:pt idx="11">
                  <c:v>0.4491</c:v>
                </c:pt>
                <c:pt idx="12">
                  <c:v>0.5132</c:v>
                </c:pt>
                <c:pt idx="13">
                  <c:v>0.2116</c:v>
                </c:pt>
                <c:pt idx="14">
                  <c:v>0.4508</c:v>
                </c:pt>
                <c:pt idx="15">
                  <c:v>0.4446</c:v>
                </c:pt>
                <c:pt idx="16">
                  <c:v>0.4812</c:v>
                </c:pt>
                <c:pt idx="17">
                  <c:v>0.4528</c:v>
                </c:pt>
                <c:pt idx="18">
                  <c:v>0.4574</c:v>
                </c:pt>
                <c:pt idx="19">
                  <c:v>0.4382</c:v>
                </c:pt>
                <c:pt idx="20">
                  <c:v>0.4503</c:v>
                </c:pt>
              </c:numCache>
            </c:numRef>
          </c:yVal>
          <c:bubbleSize>
            <c:numRef>
              <c:f>Sheet1!$C$2:$C$22</c:f>
              <c:numCache>
                <c:formatCode>General</c:formatCode>
                <c:ptCount val="21"/>
                <c:pt idx="0">
                  <c:v>1603.5833333333333</c:v>
                </c:pt>
                <c:pt idx="1">
                  <c:v>1250.962962962963</c:v>
                </c:pt>
                <c:pt idx="2">
                  <c:v>2556.3571428571427</c:v>
                </c:pt>
                <c:pt idx="3">
                  <c:v>3170.375</c:v>
                </c:pt>
                <c:pt idx="4">
                  <c:v>2988.0338983050847</c:v>
                </c:pt>
                <c:pt idx="5">
                  <c:v>2029.1923076923076</c:v>
                </c:pt>
                <c:pt idx="6">
                  <c:v>1121.388888888889</c:v>
                </c:pt>
                <c:pt idx="7">
                  <c:v>2824.0666666666666</c:v>
                </c:pt>
                <c:pt idx="8">
                  <c:v>1489.388888888889</c:v>
                </c:pt>
                <c:pt idx="9">
                  <c:v>1025.0</c:v>
                </c:pt>
                <c:pt idx="10">
                  <c:v>1141.2222222222222</c:v>
                </c:pt>
                <c:pt idx="11">
                  <c:v>2045.0</c:v>
                </c:pt>
                <c:pt idx="12">
                  <c:v>2088.78125</c:v>
                </c:pt>
                <c:pt idx="13">
                  <c:v>27681.21212121212</c:v>
                </c:pt>
                <c:pt idx="14">
                  <c:v>4890.927272727272</c:v>
                </c:pt>
                <c:pt idx="15">
                  <c:v>2986.0</c:v>
                </c:pt>
                <c:pt idx="16">
                  <c:v>1302.878787878788</c:v>
                </c:pt>
                <c:pt idx="17">
                  <c:v>1233.5</c:v>
                </c:pt>
                <c:pt idx="18">
                  <c:v>770.59375</c:v>
                </c:pt>
                <c:pt idx="19">
                  <c:v>879.1818181818181</c:v>
                </c:pt>
                <c:pt idx="20">
                  <c:v>891.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4CF9FCF-77A6-4071-B7D3-7B1E14505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5A74B83-4F77-4804-80F0-ABDD28677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189D789-454F-483C-8E6A-1D85550926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8596B29-97D4-4658-A0E9-0A15D1486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F3979A3-3D42-4C84-A8BD-0C10706E2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63F803B-8C91-4FF6-A5B0-78F8ACB75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D824555-712C-492F-970A-E60006FDC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41F2F9B-8EFF-43FE-B934-68967FFC3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EF430B1-CE85-4A04-8366-20A52D63D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38A4955-9478-4CAB-936D-60176F2FF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A0BFEDE-0351-461D-9282-59E3A25E3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EBC684A-EEF7-4183-8015-2AEDD838B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53466AB-492A-4075-AE7C-7027B0C91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29FD33E-8960-41B1-8207-E0332159E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DD96A03-58DB-48E1-8BC6-4B8204C7E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910019E-A4A4-4A2D-A9BC-D7382BEE0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56C1587-0A69-4A81-9908-1C1B9A209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9DAC8B6-4A5A-43CC-9FCB-08BB1CF43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FE2FBC4-35F4-48F4-8175-30ED70E08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1C6C86E-56C2-47E9-B4A7-A66405325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3E922FC-5AED-48CF-9068-FEA1DB768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34249B1-9D95-4965-BEFE-A538BF18E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3DCD1D5-27CF-4C47-9178-4F913DD77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304428E-C7BC-4875-B1AA-89022E37A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8E89C97-32FD-4610-9A15-C73180206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449FE37-77FF-461D-B692-4AFCF9892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D9C5E95-7375-435C-9BBD-037D064F59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A68508B-DE79-4425-B886-72FF82DFC7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D698F44-DBC2-47A8-9204-BBDF3B506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B88AD80-D7F7-461E-A3A7-4CCFB5B447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26C615B-7DFE-4652-9B99-AC3B8E005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36812DB-5AF7-4FC7-B477-EBB6CA45F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3E33EB7-F9D8-4C81-BF38-D1B6B0F2A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1C15BD8-3B6F-46E0-9342-32CB55DF9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39E4D8F-F223-4EAA-B4DE-6C0869048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D2B6F4B-E72C-450A-B258-5139C78FA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20677C0-51E1-4329-9E32-4E85A0092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FF3D4F6-60FB-4374-A4D8-13DA1DD85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7198D58-F292-44F8-933B-56D0EFE0E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A41011C-DD44-401E-99AF-25E637B36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0B1AF8B-C2B6-4CAB-9D11-9ACCDFF03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278995D-F28F-4249-9B90-A1C36192F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E743915-D156-4794-B12E-C3C81AFC4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2CBD4F4-7DE8-44AF-9923-64760C49E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9B71A5F-690A-45DA-AF7E-B90BB8B42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4793EAF-16D6-4838-BC38-7AE090D4E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BD3C255-FDBC-4B87-842B-E1F7CB7FC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402A1EA-10D2-40F6-8B38-E70AACF04B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1C50AB0-3072-43E3-8613-FCEF1EBDC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6F92762-632F-4770-900D-44D0534EA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91A5A67-E3FB-4850-9BEA-8504EE8EC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3EDB59D-3015-4C80-B025-5489B1EB4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8EB0D1D-6441-45B6-94DA-08F434662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7638E5D-3B60-4A60-A459-AA9E649D2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33DC21A-4C7E-4259-BF4E-E3E4E5DB7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D0CA28D-83E7-4395-B5A3-AAA5325E6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F76878B-2E96-45F0-A48D-2BB719014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0.0939</c:v>
                </c:pt>
                <c:pt idx="1">
                  <c:v>0.0843</c:v>
                </c:pt>
                <c:pt idx="2">
                  <c:v>0.1049</c:v>
                </c:pt>
                <c:pt idx="3">
                  <c:v>0.0143</c:v>
                </c:pt>
                <c:pt idx="4">
                  <c:v>0.0015</c:v>
                </c:pt>
                <c:pt idx="5">
                  <c:v>-0.024</c:v>
                </c:pt>
                <c:pt idx="6">
                  <c:v>0.1159</c:v>
                </c:pt>
                <c:pt idx="7">
                  <c:v>0.0135</c:v>
                </c:pt>
                <c:pt idx="8">
                  <c:v>0.045</c:v>
                </c:pt>
                <c:pt idx="9">
                  <c:v>0.1377</c:v>
                </c:pt>
                <c:pt idx="10">
                  <c:v>0.1402</c:v>
                </c:pt>
                <c:pt idx="11">
                  <c:v>0.1568</c:v>
                </c:pt>
                <c:pt idx="12">
                  <c:v>0.0364</c:v>
                </c:pt>
                <c:pt idx="13">
                  <c:v>0.0408</c:v>
                </c:pt>
                <c:pt idx="14">
                  <c:v>0.0864</c:v>
                </c:pt>
                <c:pt idx="15">
                  <c:v>0.104</c:v>
                </c:pt>
                <c:pt idx="16">
                  <c:v>0.0609</c:v>
                </c:pt>
                <c:pt idx="17">
                  <c:v>0.1456</c:v>
                </c:pt>
                <c:pt idx="18">
                  <c:v>0.0299</c:v>
                </c:pt>
                <c:pt idx="19">
                  <c:v>0.0821</c:v>
                </c:pt>
                <c:pt idx="20">
                  <c:v>0.0956</c:v>
                </c:pt>
              </c:numCache>
            </c:numRef>
          </c:xVal>
          <c:yVal>
            <c:numRef>
              <c:f>Sheet1!$B$2:$B$22</c:f>
              <c:numCache>
                <c:formatCode>General</c:formatCode>
                <c:ptCount val="21"/>
                <c:pt idx="0">
                  <c:v>0.5086</c:v>
                </c:pt>
                <c:pt idx="1">
                  <c:v>0.5221</c:v>
                </c:pt>
                <c:pt idx="2">
                  <c:v>0.4827</c:v>
                </c:pt>
                <c:pt idx="3">
                  <c:v>0.2844</c:v>
                </c:pt>
                <c:pt idx="4">
                  <c:v>0.2564</c:v>
                </c:pt>
                <c:pt idx="5">
                  <c:v>0.451</c:v>
                </c:pt>
                <c:pt idx="6">
                  <c:v>0.4528</c:v>
                </c:pt>
                <c:pt idx="7">
                  <c:v>0.4492</c:v>
                </c:pt>
                <c:pt idx="8">
                  <c:v>0.4475</c:v>
                </c:pt>
                <c:pt idx="9">
                  <c:v>0.4904</c:v>
                </c:pt>
                <c:pt idx="10">
                  <c:v>0.4621</c:v>
                </c:pt>
                <c:pt idx="11">
                  <c:v>0.4491</c:v>
                </c:pt>
                <c:pt idx="12">
                  <c:v>0.5115</c:v>
                </c:pt>
                <c:pt idx="13">
                  <c:v>0.2119</c:v>
                </c:pt>
                <c:pt idx="14">
                  <c:v>0.451</c:v>
                </c:pt>
                <c:pt idx="15">
                  <c:v>0.4483</c:v>
                </c:pt>
                <c:pt idx="16">
                  <c:v>0.481</c:v>
                </c:pt>
                <c:pt idx="17">
                  <c:v>0.4528</c:v>
                </c:pt>
                <c:pt idx="18">
                  <c:v>0.4571</c:v>
                </c:pt>
                <c:pt idx="19">
                  <c:v>0.4382</c:v>
                </c:pt>
                <c:pt idx="20">
                  <c:v>0.4503</c:v>
                </c:pt>
              </c:numCache>
            </c:numRef>
          </c:yVal>
          <c:bubbleSize>
            <c:numRef>
              <c:f>Sheet1!$C$2:$C$22</c:f>
              <c:numCache>
                <c:formatCode>General</c:formatCode>
                <c:ptCount val="21"/>
                <c:pt idx="0">
                  <c:v>1861.5238095238096</c:v>
                </c:pt>
                <c:pt idx="1">
                  <c:v>1655.4208754208755</c:v>
                </c:pt>
                <c:pt idx="2">
                  <c:v>3376.959064327485</c:v>
                </c:pt>
                <c:pt idx="3">
                  <c:v>3678.779527559055</c:v>
                </c:pt>
                <c:pt idx="4">
                  <c:v>4430.93949044586</c:v>
                </c:pt>
                <c:pt idx="5">
                  <c:v>3148.787483702738</c:v>
                </c:pt>
                <c:pt idx="6">
                  <c:v>1560.5508474576272</c:v>
                </c:pt>
                <c:pt idx="7">
                  <c:v>3041.15</c:v>
                </c:pt>
                <c:pt idx="8">
                  <c:v>1814.1062801932367</c:v>
                </c:pt>
                <c:pt idx="9">
                  <c:v>1171.4814814814815</c:v>
                </c:pt>
                <c:pt idx="10">
                  <c:v>1485.2380952380952</c:v>
                </c:pt>
                <c:pt idx="11">
                  <c:v>2277.777777777778</c:v>
                </c:pt>
                <c:pt idx="12">
                  <c:v>2524.742268041237</c:v>
                </c:pt>
                <c:pt idx="13">
                  <c:v>41115.46092184369</c:v>
                </c:pt>
                <c:pt idx="14">
                  <c:v>6637.264957264957</c:v>
                </c:pt>
                <c:pt idx="15">
                  <c:v>2362.121212121212</c:v>
                </c:pt>
                <c:pt idx="16">
                  <c:v>1793.0085959885387</c:v>
                </c:pt>
                <c:pt idx="17">
                  <c:v>1330.5263157894738</c:v>
                </c:pt>
                <c:pt idx="18">
                  <c:v>1162.6512968299712</c:v>
                </c:pt>
                <c:pt idx="19">
                  <c:v>1050.0</c:v>
                </c:pt>
                <c:pt idx="20">
                  <c:v>1170.687830687830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ED088B6-B0A7-4088-922F-AB2CC93FC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891E63B-D46F-465A-AFF5-4079128B0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6AC3262-26BE-4506-A03D-B8FB634D3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DEDB7ED-24A2-428B-98CC-21551C163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48702AD-5DDC-48D4-9651-B192AB964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01E8658-366F-49F6-89C5-5A88AE0D7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BA3A689-3273-4C9D-B12E-ECE6F4CC7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884E6B3-837C-4407-89AA-46E64DA19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1.3579</c:v>
                </c:pt>
                <c:pt idx="1">
                  <c:v>11.0271</c:v>
                </c:pt>
                <c:pt idx="2">
                  <c:v>10.8842</c:v>
                </c:pt>
                <c:pt idx="3">
                  <c:v>10.9679</c:v>
                </c:pt>
                <c:pt idx="4">
                  <c:v>10.9755</c:v>
                </c:pt>
              </c:numCache>
            </c:numRef>
          </c:xVal>
          <c:yVal>
            <c:numRef>
              <c:f>Sheet1!$B$2:$B$6</c:f>
              <c:numCache>
                <c:formatCode>General</c:formatCode>
                <c:ptCount val="5"/>
                <c:pt idx="0">
                  <c:v>0.4696</c:v>
                </c:pt>
                <c:pt idx="1">
                  <c:v>0.4673</c:v>
                </c:pt>
                <c:pt idx="2">
                  <c:v>0.4655</c:v>
                </c:pt>
                <c:pt idx="3">
                  <c:v>0.4663</c:v>
                </c:pt>
                <c:pt idx="4">
                  <c:v>0.4649</c:v>
                </c:pt>
              </c:numCache>
            </c:numRef>
          </c:yVal>
          <c:bubbleSize>
            <c:numRef>
              <c:f>Sheet1!$C$2:$C$6</c:f>
              <c:numCache>
                <c:formatCode>General</c:formatCode>
                <c:ptCount val="5"/>
                <c:pt idx="0">
                  <c:v>14356.338300000003</c:v>
                </c:pt>
                <c:pt idx="1">
                  <c:v>8579.0638</c:v>
                </c:pt>
                <c:pt idx="2">
                  <c:v>9708.7252</c:v>
                </c:pt>
                <c:pt idx="3">
                  <c:v>11450.4441</c:v>
                </c:pt>
                <c:pt idx="4">
                  <c:v>12347.44049999999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629480000000001"/>
          <c:min val="8.7073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668474925908869"/>
        <c:crossBetween val="midCat"/>
      </c:valAx>
      <c:valAx>
        <c:axId val="1011451359"/>
        <c:scaling>
          <c:orientation val="minMax"/>
          <c:max val="0.92352"/>
          <c:min val="0.1319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0633620960724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6E23DF3-25EF-4599-952F-18B5FD817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F399637-FF2D-49D5-B8F2-FD3B20F0E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B7240E1-E3CC-43DB-AB76-B97D1246B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A2CF272-CCEF-410D-8515-58AE3616C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9E6D7C2-45AB-4628-9685-49263615C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77262F8-F135-4E41-B952-6F90AB225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F08D5ED-AB78-4B3C-BBF8-26ED0EDA9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AD9C42B-D7CD-42F2-A43C-5209CC1AA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CA74B8A-244F-4262-BD05-8D068213E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B44620E-4107-4E98-B064-8538790592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85E3A3E-28DA-4E2E-918D-F4405F9FA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4336646-2C9C-4DC9-94E0-F04035FDB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A1B9073-3742-4B5A-9F6D-7D0D3E76F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C901C55-E667-4DD4-89AE-CE564D7F5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3F1D5F9-ADBF-455A-89BC-F19B9B729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8C0E9FD-EC91-41C0-880C-4BFCE0A00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809BA05-EE87-453F-8E0F-23C89AB4D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466FE36-D50C-416A-8E57-A7574B909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0B00E69-5745-472E-B5B3-7C02A8F52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AA6E23A-4C56-4CC2-B1CA-DF070E4D9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0B1AC2D-376C-48D6-9020-7B801AF82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1AA05C3-43A3-42FA-9AA8-C88F7385DA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8279FF1-E95B-4BD8-855C-60365A876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82EC646-E8DB-468C-A3FC-18BFA7E41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41C6FB2-2955-45D4-AA31-E08257A02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C547BE5-2541-49E7-889B-A164FDE68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84C466B-F57D-4D4C-A627-D8C8C1C23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705DFB6-F025-44D5-AAC8-BCFD61CB1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84EB6F5-46CA-4513-B258-B07A657D5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91AE308-C5D7-498B-9055-C8D2DB083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7E51804-5D96-40B9-9CD4-22ED43FF5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02BA7F3-5A8C-40EE-B694-F36CDA60C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58E0DC7-C19F-45AA-80FA-E7E50CF35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71CB384-40AE-4B5D-BB4F-B4573D2E2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300F58D9-D1DF-454D-BE17-C20D5DEFF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D82F348-67B6-4972-AABC-FC5BBCDF7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0DB36D4-9439-4198-BD16-5AEE29DF2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757E426-DD6B-4777-9E94-7995B6F27E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396E4500-04BE-4107-9456-4E4678E0E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BF15FBD-B7B0-4BB8-BA34-FDAAA06FB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62CB5F7-CFAC-475D-AB45-F81D3A243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0571D75-1FCA-4065-99AA-8B546C24F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625AC8E-EED1-4F9B-A924-A7D401B8C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B40F8AD-08D9-4226-AAE1-2FE7D32DA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E3A94CF-0C89-4A5F-91B6-262B36D86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B6DCCE2-9EAA-43A9-99A4-FB924936B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D779BC9-6D01-485E-8049-8ABB51E4AB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01D3411-1923-4EFF-B491-A9F429714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F80EEC6-A6ED-4D2F-937F-5D7CA3E28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69622FA-97C8-4D7E-9187-833DC3E44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ADCC27C-2354-4F1B-A2C1-C0CA047D5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698C2C6-062C-4F62-8601-502997234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20A2D02-3217-4984-96EB-A2575CBBA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1133CF6-4293-4E0E-954B-5BD868726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E4F4599-A7B4-4114-8006-3E12728D5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4257B0D-DCFD-4F00-A037-C615E65BE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6C1E7F1-BDA8-4DBC-B0E0-CBC6216DF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0.0845</c:v>
                </c:pt>
                <c:pt idx="1">
                  <c:v>0.07</c:v>
                </c:pt>
                <c:pt idx="2">
                  <c:v>0.0811</c:v>
                </c:pt>
                <c:pt idx="3">
                  <c:v>0.0042</c:v>
                </c:pt>
                <c:pt idx="4">
                  <c:v>0.0007</c:v>
                </c:pt>
                <c:pt idx="5">
                  <c:v>-0.0274</c:v>
                </c:pt>
                <c:pt idx="6">
                  <c:v>0.1007</c:v>
                </c:pt>
                <c:pt idx="7">
                  <c:v>-0.0026</c:v>
                </c:pt>
                <c:pt idx="8">
                  <c:v>0.0391</c:v>
                </c:pt>
                <c:pt idx="9">
                  <c:v>0.1172</c:v>
                </c:pt>
                <c:pt idx="10">
                  <c:v>0.1086</c:v>
                </c:pt>
                <c:pt idx="11">
                  <c:v>0.136</c:v>
                </c:pt>
                <c:pt idx="12">
                  <c:v>0.0294</c:v>
                </c:pt>
                <c:pt idx="13">
                  <c:v>0.0427</c:v>
                </c:pt>
                <c:pt idx="14">
                  <c:v>0.0831</c:v>
                </c:pt>
                <c:pt idx="15">
                  <c:v>0.0847</c:v>
                </c:pt>
                <c:pt idx="16">
                  <c:v>0.0465</c:v>
                </c:pt>
                <c:pt idx="17">
                  <c:v>0.1298</c:v>
                </c:pt>
                <c:pt idx="18">
                  <c:v>0.0062</c:v>
                </c:pt>
                <c:pt idx="19">
                  <c:v>0.057</c:v>
                </c:pt>
                <c:pt idx="20">
                  <c:v>0.0669</c:v>
                </c:pt>
              </c:numCache>
            </c:numRef>
          </c:xVal>
          <c:yVal>
            <c:numRef>
              <c:f>Sheet1!$B$2:$B$22</c:f>
              <c:numCache>
                <c:formatCode>General</c:formatCode>
                <c:ptCount val="21"/>
                <c:pt idx="0">
                  <c:v>0.5086</c:v>
                </c:pt>
                <c:pt idx="1">
                  <c:v>0.5217</c:v>
                </c:pt>
                <c:pt idx="2">
                  <c:v>0.4821</c:v>
                </c:pt>
                <c:pt idx="3">
                  <c:v>0.2843</c:v>
                </c:pt>
                <c:pt idx="4">
                  <c:v>0.256</c:v>
                </c:pt>
                <c:pt idx="5">
                  <c:v>0.4511</c:v>
                </c:pt>
                <c:pt idx="6">
                  <c:v>0.4528</c:v>
                </c:pt>
                <c:pt idx="7">
                  <c:v>0.4492</c:v>
                </c:pt>
                <c:pt idx="8">
                  <c:v>0.4454</c:v>
                </c:pt>
                <c:pt idx="9">
                  <c:v>0.4911</c:v>
                </c:pt>
                <c:pt idx="10">
                  <c:v>0.4614</c:v>
                </c:pt>
                <c:pt idx="11">
                  <c:v>0.4491</c:v>
                </c:pt>
                <c:pt idx="12">
                  <c:v>0.5115</c:v>
                </c:pt>
                <c:pt idx="13">
                  <c:v>0.2117</c:v>
                </c:pt>
                <c:pt idx="14">
                  <c:v>0.4509</c:v>
                </c:pt>
                <c:pt idx="15">
                  <c:v>0.4345</c:v>
                </c:pt>
                <c:pt idx="16">
                  <c:v>0.4815</c:v>
                </c:pt>
                <c:pt idx="17">
                  <c:v>0.4528</c:v>
                </c:pt>
                <c:pt idx="18">
                  <c:v>0.4583</c:v>
                </c:pt>
                <c:pt idx="19">
                  <c:v>0.4382</c:v>
                </c:pt>
                <c:pt idx="20">
                  <c:v>0.4499</c:v>
                </c:pt>
              </c:numCache>
            </c:numRef>
          </c:yVal>
          <c:bubbleSize>
            <c:numRef>
              <c:f>Sheet1!$C$2:$C$22</c:f>
              <c:numCache>
                <c:formatCode>General</c:formatCode>
                <c:ptCount val="21"/>
                <c:pt idx="0">
                  <c:v>886.9642857142856</c:v>
                </c:pt>
                <c:pt idx="1">
                  <c:v>925.52</c:v>
                </c:pt>
                <c:pt idx="2">
                  <c:v>2128.0833333333335</c:v>
                </c:pt>
                <c:pt idx="3">
                  <c:v>2173.1666666666665</c:v>
                </c:pt>
                <c:pt idx="4">
                  <c:v>1972.5833333333333</c:v>
                </c:pt>
                <c:pt idx="5">
                  <c:v>1336.0</c:v>
                </c:pt>
                <c:pt idx="6">
                  <c:v>539.4814814814815</c:v>
                </c:pt>
                <c:pt idx="7">
                  <c:v>1529.5263157894738</c:v>
                </c:pt>
                <c:pt idx="8">
                  <c:v>1029.1764705882354</c:v>
                </c:pt>
                <c:pt idx="9">
                  <c:v>960.75</c:v>
                </c:pt>
                <c:pt idx="10">
                  <c:v>804.125</c:v>
                </c:pt>
                <c:pt idx="11">
                  <c:v>1130.0</c:v>
                </c:pt>
                <c:pt idx="12">
                  <c:v>1241.6756756756756</c:v>
                </c:pt>
                <c:pt idx="13">
                  <c:v>18113.01</c:v>
                </c:pt>
                <c:pt idx="14">
                  <c:v>2986.666666666667</c:v>
                </c:pt>
                <c:pt idx="15">
                  <c:v>2744.3333333333335</c:v>
                </c:pt>
                <c:pt idx="16">
                  <c:v>893.375</c:v>
                </c:pt>
                <c:pt idx="17">
                  <c:v>1024.5</c:v>
                </c:pt>
                <c:pt idx="18">
                  <c:v>495.65625</c:v>
                </c:pt>
                <c:pt idx="19">
                  <c:v>455.49999999999994</c:v>
                </c:pt>
                <c:pt idx="20">
                  <c:v>496.8888888888889</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D6B60CD-1B72-4DAB-80C8-5664573B7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F6E0AEE-0A68-4ECC-A85D-756D8A493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314B401-9AF9-4508-A0B2-5E89AEE3C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52F1527-B719-474B-9C9A-E475643D6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EB4974A-545B-4B6E-AB77-035431244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3D3596A-6C2F-46B4-92D3-319D14843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AB4A350-3A14-4F52-9B76-BB123B117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9727AF1-2A4F-41E8-B3F8-0A918B82A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69BF5E9-6650-4D60-909A-BDEECADF9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CC06699-6FC3-4F51-AE49-CEDF4350E6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EF7E7C1-9F2E-4118-B3DF-E9D532791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F9F20E6-2136-43F9-912F-707760434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05778EA-8019-41C0-92D7-F956F893A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FE0F0AC-A623-4E99-8A55-4D35EB643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C30388E-1C44-46DF-AA49-61E36AFF9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E6AE292-58F6-4B86-A7BD-72534E45C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45B318D-5A57-403D-A68B-C25CA0AC2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8190E2A-9CAC-4858-8298-3686C95B9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55EE153-AB6D-448D-B43E-161308008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D7E64D7-BFED-425A-AF83-F6EEBC642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8FA7EEF-A582-48F2-BC6D-16063550D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C84D21E-0179-4454-9E36-83206B104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5B223C5-8968-4C4B-8FE9-EF9B972F9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832E668-90A6-4D90-A139-E02398739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9A8E562-C83C-4E0A-A468-894DE784A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C025FC9-35DA-4E8E-A722-B0D7E7569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C991333-E8BA-4AB2-9B26-4232A8BC50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5FA24E6-7BF9-4594-8E45-9A45C4381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EA00F9C-C333-49B1-8F7F-E8432580E4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E3DF357-AA10-4E09-AA90-459AD7AB8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9579D3C-BCE8-44A4-90E9-C717E4B8F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5E35D07-9B12-4D2E-8B09-DBC0EB99A4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8E09FA0-9DD6-4096-ADDE-B3761899E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5E3880C-3380-4B0E-B9DF-0CD4A8D3B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FA9F8C0-DD47-4606-8745-D152F020B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58A7E15-085A-4F0B-9AFE-AAB83C29C1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F7FE262-14CB-45AA-A56D-FF2A0FD1B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C4AD2EB-99DE-4B92-9C82-8CDA5FB1B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97B5316-795D-45C8-9382-183F0AB00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483B722-887C-4C4B-A270-75307F7AE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E5090D7-A1EE-4BA0-B563-08B32C9E7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49675C3D-0B3F-4633-AAB6-0B48F4DB5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12A8C3D-6BB5-430C-B0D0-4A236F3D3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BF15DB5-D2B9-4ED8-883C-2C506E018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0A05068-65B9-4420-9053-6D81AA19D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77C7B2A-FC67-40C3-B35B-C3704836F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5AE1F9B-D336-4B9B-86A9-D20071F92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F5893EB-376B-4731-941F-4A15B2192C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16DB479-ECC3-46F2-9A19-6D49D90A2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7F4716F-F06C-4E18-8886-20A229995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3760C54-0C4F-4008-AEE0-880612CB7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81EA7BA-0AFD-4D9B-80F5-15F255FD8D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88C9B80-0CA5-4EFC-81DA-89DF3307A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FFDC623-D354-4662-9021-C875E17B2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034EB16-55B1-4A83-89B8-5F5556CD4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C2CCF73-CFD9-4EB7-B916-97FD15929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5EFD9EB-E88F-4D88-B151-22D01154D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0.0872</c:v>
                </c:pt>
                <c:pt idx="1">
                  <c:v>0.078</c:v>
                </c:pt>
                <c:pt idx="2">
                  <c:v>0.0942</c:v>
                </c:pt>
                <c:pt idx="3">
                  <c:v>-0.0003</c:v>
                </c:pt>
                <c:pt idx="4">
                  <c:v>-0.007</c:v>
                </c:pt>
                <c:pt idx="5">
                  <c:v>-0.0544</c:v>
                </c:pt>
                <c:pt idx="6">
                  <c:v>0.1119</c:v>
                </c:pt>
                <c:pt idx="7">
                  <c:v>0.0105</c:v>
                </c:pt>
                <c:pt idx="8">
                  <c:v>0.0381</c:v>
                </c:pt>
                <c:pt idx="9">
                  <c:v>0.1542</c:v>
                </c:pt>
                <c:pt idx="10">
                  <c:v>0.1389</c:v>
                </c:pt>
                <c:pt idx="11">
                  <c:v>0.157</c:v>
                </c:pt>
                <c:pt idx="12">
                  <c:v>0.0318</c:v>
                </c:pt>
                <c:pt idx="13">
                  <c:v>0.0375</c:v>
                </c:pt>
                <c:pt idx="14">
                  <c:v>0.0829</c:v>
                </c:pt>
                <c:pt idx="15">
                  <c:v>0.0799</c:v>
                </c:pt>
                <c:pt idx="16">
                  <c:v>0.0416</c:v>
                </c:pt>
                <c:pt idx="17">
                  <c:v>0.1699</c:v>
                </c:pt>
                <c:pt idx="18">
                  <c:v>-0.0171</c:v>
                </c:pt>
                <c:pt idx="19">
                  <c:v>0.0502</c:v>
                </c:pt>
                <c:pt idx="20">
                  <c:v>0.0994</c:v>
                </c:pt>
              </c:numCache>
            </c:numRef>
          </c:xVal>
          <c:yVal>
            <c:numRef>
              <c:f>Sheet1!$B$2:$B$22</c:f>
              <c:numCache>
                <c:formatCode>General</c:formatCode>
                <c:ptCount val="21"/>
                <c:pt idx="0">
                  <c:v>0.5086</c:v>
                </c:pt>
                <c:pt idx="1">
                  <c:v>0.5227</c:v>
                </c:pt>
                <c:pt idx="2">
                  <c:v>0.4822</c:v>
                </c:pt>
                <c:pt idx="3">
                  <c:v>0.2842</c:v>
                </c:pt>
                <c:pt idx="4">
                  <c:v>0.2565</c:v>
                </c:pt>
                <c:pt idx="5">
                  <c:v>0.4507</c:v>
                </c:pt>
                <c:pt idx="6">
                  <c:v>0.4528</c:v>
                </c:pt>
                <c:pt idx="7">
                  <c:v>0.4492</c:v>
                </c:pt>
                <c:pt idx="8">
                  <c:v>0.4503</c:v>
                </c:pt>
                <c:pt idx="9">
                  <c:v>0.4868</c:v>
                </c:pt>
                <c:pt idx="10">
                  <c:v>0.4598</c:v>
                </c:pt>
                <c:pt idx="11">
                  <c:v>0.4491</c:v>
                </c:pt>
                <c:pt idx="12">
                  <c:v>0.5104</c:v>
                </c:pt>
                <c:pt idx="13">
                  <c:v>0.212</c:v>
                </c:pt>
                <c:pt idx="14">
                  <c:v>0.4511</c:v>
                </c:pt>
                <c:pt idx="15">
                  <c:v>0.4576</c:v>
                </c:pt>
                <c:pt idx="16">
                  <c:v>0.4776</c:v>
                </c:pt>
                <c:pt idx="17">
                  <c:v>0.4528</c:v>
                </c:pt>
                <c:pt idx="18">
                  <c:v>0.4582</c:v>
                </c:pt>
                <c:pt idx="19">
                  <c:v>0.4382</c:v>
                </c:pt>
                <c:pt idx="20">
                  <c:v>0.4495</c:v>
                </c:pt>
              </c:numCache>
            </c:numRef>
          </c:yVal>
          <c:bubbleSize>
            <c:numRef>
              <c:f>Sheet1!$C$2:$C$22</c:f>
              <c:numCache>
                <c:formatCode>General</c:formatCode>
                <c:ptCount val="21"/>
                <c:pt idx="0">
                  <c:v>423.5357142857142</c:v>
                </c:pt>
                <c:pt idx="1">
                  <c:v>408.96</c:v>
                </c:pt>
                <c:pt idx="2">
                  <c:v>793.125</c:v>
                </c:pt>
                <c:pt idx="3">
                  <c:v>784.0833333333334</c:v>
                </c:pt>
                <c:pt idx="4">
                  <c:v>1087.5081967213114</c:v>
                </c:pt>
                <c:pt idx="5">
                  <c:v>775.1621621621622</c:v>
                </c:pt>
                <c:pt idx="6">
                  <c:v>840.2727272727273</c:v>
                </c:pt>
                <c:pt idx="7">
                  <c:v>759.5714285714284</c:v>
                </c:pt>
                <c:pt idx="8">
                  <c:v>541.3157894736842</c:v>
                </c:pt>
                <c:pt idx="9">
                  <c:v>344.125</c:v>
                </c:pt>
                <c:pt idx="10">
                  <c:v>421.6666666666667</c:v>
                </c:pt>
                <c:pt idx="11">
                  <c:v>409.0</c:v>
                </c:pt>
                <c:pt idx="12">
                  <c:v>680.5</c:v>
                </c:pt>
                <c:pt idx="13">
                  <c:v>8910.333333333334</c:v>
                </c:pt>
                <c:pt idx="14">
                  <c:v>1670.543859649123</c:v>
                </c:pt>
                <c:pt idx="15">
                  <c:v>627.125</c:v>
                </c:pt>
                <c:pt idx="16">
                  <c:v>450.6785714285714</c:v>
                </c:pt>
                <c:pt idx="17">
                  <c:v>210.33333333333334</c:v>
                </c:pt>
                <c:pt idx="18">
                  <c:v>264.4782608695652</c:v>
                </c:pt>
                <c:pt idx="19">
                  <c:v>339.72727272727275</c:v>
                </c:pt>
                <c:pt idx="20">
                  <c:v>339.1818181818182</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1053AA9-1CCE-448A-A9D9-E3E4EF1BD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7CB72FD-D9D8-4973-84F9-2944071C0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24452ED-962D-45D0-B87C-E6852A6DA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DD1A305-F978-4A29-86E9-26B3C0F86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9C01B95-7793-4492-B535-E3B177965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5954AEC-D328-46A0-AEF1-3D33B86D7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7B0A813-240C-44D1-B865-99F0A3F428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C52A56D-51BD-46DA-A403-915FB9302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931FDE4-5199-44E8-AFCF-072BA6B7D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3121E50-53C6-4022-A5EF-93BE2DA3B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7F82F10-887D-4021-B54B-E6ECC1E272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43F51A3-940F-4059-972A-7FBF23F1C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62E54E5-E159-4A96-A49F-D77A61E92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156FF18-42DB-49C0-B09B-3D183D634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B8987C1-89D5-41F7-829D-E3F37FCAB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E6974CD-2C8E-475F-9DAF-06BBFD870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24AFE21-33D2-41D3-AD65-E259129BD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9FF4DCF-A326-42ED-8C16-ED4910372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6099B81-9567-4972-98FD-3AF3885F3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D6F2155-1611-4DA2-80CC-FC404186E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FAFBA36-B2C9-49EE-B9CB-8F53365B1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5E4DD10-A62E-4821-A571-B3C086F72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9CEE7B3-22E1-4A52-8B09-2D3FD2129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D33CD3C-209F-4F4B-A493-F054ED6AE1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A22A92E-186A-4A6C-9C3A-7E8F53FFC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784409C-F31F-43C5-A829-F0A256933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7D02019-6A2E-404C-A618-F67440B75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BF8B914-27DE-4C56-9C07-DDED227F4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3F4ECBB-F1ED-4781-853F-DA9F7BE954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CC0AD03F-4618-42A7-9854-F312CC292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5C5B25A-832D-40DD-8562-F024F4D6E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027F475-5A92-400D-9D5D-3CF54E867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DEBDBFC-F702-4EAE-B76E-3549F1EFE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54E66BD-C77F-4914-825C-D9EC7D513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38F7230-150C-4459-9D3E-EEB3714A9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4EF55E2-6177-40CF-8EA1-A748A9B22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7549163-6E56-4833-896D-C67635451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9138AE1-8C80-4A20-A082-8A3537621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F9C21B4-755A-4DD3-8AD5-FA1C2FDADD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C751660-7082-4F11-BAD5-6354A7C9E5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D65A1AD-B5CF-4760-AD28-318CDCC2DB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8B86BE2-6D78-45DB-A740-899E706B7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DFDC959-C5A4-404F-B4B5-1FEF4F3B8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CA51502-C0AA-4781-AA08-22FE28272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B79541C-E76A-496E-BD89-B6C85329F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FD9E803-F85C-4F4A-B0AC-4C3663EAA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F29A0B27-3D6E-43AE-A82B-CD3AB0739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C4C48CD-4CA7-4DC0-9EEE-2E848A6C14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42B7939-0521-42AD-AC25-4B20AAC493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E4D113F-AEB9-4ECD-AF26-103C70231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94546D5-28FA-495E-A164-1947E0F49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484E91C-DCB1-4B4A-BCBD-B930F7E15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57C1E9D-29FC-4CD9-99FB-7698841D2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1D2887B-0C5A-4AAF-9FBF-A73B3C17D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04B5F2E-C660-461D-97CB-595126B34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B0B0282-E467-4BAF-B2CD-FE094E488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B9F9235-BCF7-4CC8-8DA4-99E4A29D6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51</c:v>
                </c:pt>
                <c:pt idx="1">
                  <c:v>0.1186</c:v>
                </c:pt>
                <c:pt idx="2">
                  <c:v>0.1236</c:v>
                </c:pt>
                <c:pt idx="3">
                  <c:v>0.0177</c:v>
                </c:pt>
                <c:pt idx="4">
                  <c:v>0.0068</c:v>
                </c:pt>
                <c:pt idx="5">
                  <c:v>0.0292</c:v>
                </c:pt>
                <c:pt idx="6">
                  <c:v>0.1352</c:v>
                </c:pt>
                <c:pt idx="7">
                  <c:v>0.0342</c:v>
                </c:pt>
                <c:pt idx="8">
                  <c:v>0.0747</c:v>
                </c:pt>
                <c:pt idx="9">
                  <c:v>0.055</c:v>
                </c:pt>
                <c:pt idx="10">
                  <c:v>0.0447</c:v>
                </c:pt>
                <c:pt idx="11">
                  <c:v>0.0966</c:v>
                </c:pt>
                <c:pt idx="12">
                  <c:v>0.2121</c:v>
                </c:pt>
                <c:pt idx="13">
                  <c:v>0.015</c:v>
                </c:pt>
                <c:pt idx="14">
                  <c:v>0.1195</c:v>
                </c:pt>
              </c:numCache>
            </c:numRef>
          </c:xVal>
          <c:yVal>
            <c:numRef>
              <c:f>Sheet1!$B$2:$B$16</c:f>
              <c:numCache>
                <c:formatCode>General</c:formatCode>
                <c:ptCount val="15"/>
                <c:pt idx="0">
                  <c:v>0.5086</c:v>
                </c:pt>
                <c:pt idx="1">
                  <c:v>0.5245</c:v>
                </c:pt>
                <c:pt idx="2">
                  <c:v>0.4826</c:v>
                </c:pt>
                <c:pt idx="3">
                  <c:v>0.2843</c:v>
                </c:pt>
                <c:pt idx="4">
                  <c:v>0.2574</c:v>
                </c:pt>
                <c:pt idx="5">
                  <c:v>0.4519</c:v>
                </c:pt>
                <c:pt idx="6">
                  <c:v>0.4528</c:v>
                </c:pt>
                <c:pt idx="7">
                  <c:v>0.4492</c:v>
                </c:pt>
                <c:pt idx="8">
                  <c:v>0.4475</c:v>
                </c:pt>
                <c:pt idx="9">
                  <c:v>0.5078</c:v>
                </c:pt>
                <c:pt idx="10">
                  <c:v>0.2126</c:v>
                </c:pt>
                <c:pt idx="11">
                  <c:v>0.4508</c:v>
                </c:pt>
                <c:pt idx="12">
                  <c:v>0.464</c:v>
                </c:pt>
                <c:pt idx="13">
                  <c:v>0.4763</c:v>
                </c:pt>
                <c:pt idx="14">
                  <c:v>0.4526</c:v>
                </c:pt>
              </c:numCache>
            </c:numRef>
          </c:yVal>
          <c:bubbleSize>
            <c:numRef>
              <c:f>Sheet1!$C$2:$C$16</c:f>
              <c:numCache>
                <c:formatCode>General</c:formatCode>
                <c:ptCount val="15"/>
                <c:pt idx="0">
                  <c:v>93.03030303030303</c:v>
                </c:pt>
                <c:pt idx="1">
                  <c:v>66.04255319148936</c:v>
                </c:pt>
                <c:pt idx="2">
                  <c:v>181.44444444444446</c:v>
                </c:pt>
                <c:pt idx="3">
                  <c:v>239.525</c:v>
                </c:pt>
                <c:pt idx="4">
                  <c:v>238.43055555555554</c:v>
                </c:pt>
                <c:pt idx="5">
                  <c:v>221.125</c:v>
                </c:pt>
                <c:pt idx="6">
                  <c:v>216.78571428571425</c:v>
                </c:pt>
                <c:pt idx="7">
                  <c:v>133.1153846153846</c:v>
                </c:pt>
                <c:pt idx="8">
                  <c:v>92.63636363636364</c:v>
                </c:pt>
                <c:pt idx="9">
                  <c:v>105.62499999999999</c:v>
                </c:pt>
                <c:pt idx="10">
                  <c:v>1794.81</c:v>
                </c:pt>
                <c:pt idx="11">
                  <c:v>265.6666666666667</c:v>
                </c:pt>
                <c:pt idx="12">
                  <c:v>106.21052631578948</c:v>
                </c:pt>
                <c:pt idx="13">
                  <c:v>85.72</c:v>
                </c:pt>
                <c:pt idx="14">
                  <c:v>82.03030303030303</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30BF86E-45D7-4D86-A8EA-1276ABAFC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39230B0-1B1E-4FD0-8E2E-87502F098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46DAF1B-2539-427D-A4C0-5509C603E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A1C2098-827E-4C74-AA97-C3A80440BA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E7C10CF-A6BD-4145-908F-BD7E1CD9A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3EBE274-2BED-40D4-A7C6-2EA04EE32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1304201-101F-4438-87C7-6817BECB3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0815B57-4571-4C02-8247-365D789F0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D5EEF36-76A5-42B5-A9DF-97905035F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9077E9C-2082-4A13-B565-38DFC852C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6880091-DEE4-4512-A807-59DB49FBD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5D76E2E-C2E4-477B-82AD-418F203C5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6C9E97A-6344-4E1B-8A6A-40E854376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FA91F4E-AB9C-42A3-A7A2-4CE2B8A13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DE64B27-31BB-464C-95E5-31F1B8994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1492F00-AA39-4396-A88D-809727E25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D65F4B3-3CC9-43DF-B637-0A06F2B9B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6B57CC7-FF78-4B51-BFBA-E73235217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A089038-061C-4F01-9AE7-CFC487DC2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E9C8BC1-8A2D-49CA-9617-CEFA39B8C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5674D3A-6476-4DC2-912B-A915A5BDA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DEA5342-164B-4C8C-AFFD-0500B55AC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7C46262-CD74-47C5-9758-72AF8F47D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5EE1C50-22AF-4BDF-AEB5-4B849579A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14BF62C-A5F3-42D8-8A9E-A5DD36624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AD7B52A-F885-4730-BC35-4A47ED839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2FB1F4D-2CA5-4248-AD9D-09E10E780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BAF707D-E392-4AF3-8E67-09F57492E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ED8B214-B274-407A-91CF-AC7D27D5C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0E6DFDC-2EFB-429C-B767-FBD0321FC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A6BF3F5-5A95-4214-876D-72D5739BD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9B99AA4-9DE7-4BD1-8998-7C1FDC216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908C39E-0D6E-4C6F-8C3E-B58E202EB9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8CADD58-BAE4-4FDE-89DE-A13C29457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C9D7904-1563-4BEB-970B-7E0B92D71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538A1BE-DB4D-47F0-BEF9-F6C2A0F37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D965658-A233-4844-AE1E-9C8953158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3A7C18A-A778-4984-AAB8-DB635E30B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3B11F00-D62B-4844-AC7A-06F384379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C3B6367-4D52-44C3-A3DB-992E238E7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05B613D-E313-4D42-B437-51C685DC1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BC6A26D-48FB-46AB-878A-215A22AEC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99AC897-E9D1-44FB-8BC5-B86A0298E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F1E12AB-7284-483B-B480-E9FDCA994B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E0119CB-767A-4C36-8867-CE1FBD3FB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6004B52-9177-40A9-B65B-98A3A5A9B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9DCE22C-D0A9-47FE-958A-2BD6F81E4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C530A42-5E9F-4A37-9A6B-2107E909B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0F08532-20A7-4762-B2F9-8EB1DBFFF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EF54308-B21F-43CF-9FAA-CBCC94659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9A79353-9E59-4954-8772-B3FC67998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9C32DC0-AEDD-4E68-BD29-B8AFCB69E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A1F7DF3-CD6D-4449-A4A4-BF521589A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268BD24-E0D5-4651-9DDC-AC4F1D32A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169AF0E-4E05-4EAF-88DE-52470ED96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1339908-047A-430A-86D5-F53D8385A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457C194-46FF-42EC-8ACF-FD012B63B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0937</c:v>
                </c:pt>
                <c:pt idx="1">
                  <c:v>0.0002</c:v>
                </c:pt>
                <c:pt idx="2">
                  <c:v>-0.028</c:v>
                </c:pt>
                <c:pt idx="3">
                  <c:v>0.0537</c:v>
                </c:pt>
                <c:pt idx="4">
                  <c:v>0.0445</c:v>
                </c:pt>
                <c:pt idx="5">
                  <c:v>0.0402</c:v>
                </c:pt>
                <c:pt idx="6">
                  <c:v>0.0619</c:v>
                </c:pt>
                <c:pt idx="7">
                  <c:v>0.0184</c:v>
                </c:pt>
                <c:pt idx="8">
                  <c:v>0.0989</c:v>
                </c:pt>
                <c:pt idx="9">
                  <c:v>0.1445</c:v>
                </c:pt>
              </c:numCache>
            </c:numRef>
          </c:xVal>
          <c:yVal>
            <c:numRef>
              <c:f>Sheet1!$B$2:$B$11</c:f>
              <c:numCache>
                <c:formatCode>General</c:formatCode>
                <c:ptCount val="10"/>
                <c:pt idx="0">
                  <c:v>0.5247</c:v>
                </c:pt>
                <c:pt idx="1">
                  <c:v>0.2844</c:v>
                </c:pt>
                <c:pt idx="2">
                  <c:v>0.2565</c:v>
                </c:pt>
                <c:pt idx="3">
                  <c:v>0.4515</c:v>
                </c:pt>
                <c:pt idx="4">
                  <c:v>0.4492</c:v>
                </c:pt>
                <c:pt idx="5">
                  <c:v>0.4583</c:v>
                </c:pt>
                <c:pt idx="6">
                  <c:v>0.5084</c:v>
                </c:pt>
                <c:pt idx="7">
                  <c:v>0.2118</c:v>
                </c:pt>
                <c:pt idx="8">
                  <c:v>0.4524</c:v>
                </c:pt>
                <c:pt idx="9">
                  <c:v>0.4817</c:v>
                </c:pt>
              </c:numCache>
            </c:numRef>
          </c:yVal>
          <c:bubbleSize>
            <c:numRef>
              <c:f>Sheet1!$C$2:$C$11</c:f>
              <c:numCache>
                <c:formatCode>General</c:formatCode>
                <c:ptCount val="10"/>
                <c:pt idx="0">
                  <c:v>56.64705882352941</c:v>
                </c:pt>
                <c:pt idx="1">
                  <c:v>69.28125</c:v>
                </c:pt>
                <c:pt idx="2">
                  <c:v>197.51351351351352</c:v>
                </c:pt>
                <c:pt idx="3">
                  <c:v>54.00000000000001</c:v>
                </c:pt>
                <c:pt idx="4">
                  <c:v>88.07407407407408</c:v>
                </c:pt>
                <c:pt idx="5">
                  <c:v>55.523809523809526</c:v>
                </c:pt>
                <c:pt idx="6">
                  <c:v>35.32</c:v>
                </c:pt>
                <c:pt idx="7">
                  <c:v>1057.96</c:v>
                </c:pt>
                <c:pt idx="8">
                  <c:v>192.46511627906978</c:v>
                </c:pt>
                <c:pt idx="9">
                  <c:v>56.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0065A6D-5FAC-49DE-9ED9-8E3203D97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5CA384C-7A21-4C8D-B094-043226263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6D9537E-C387-481A-B9EF-9D06B17C3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C2E0270-C37B-47E0-A51F-EDA317E6B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4750D68-972F-49C8-BDB8-0D902B4BD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D69CBE2-E2F9-4CCF-B0E4-5415F075A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711FCC6-A71D-4D69-AAD6-F85E6E2AC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22F1F8F-E724-4889-8812-48D060C7D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2C4EB0D-2362-47E5-A3AC-E3A6C10FA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D889652-0D5B-432D-A11A-4394453DB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5A33671-5EC0-4505-BCFE-27A0587C7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6D3CEC1-114C-45D8-A9F5-D733EB4D1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6308CB9-8A52-4350-8124-7BFDF7BBE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3208FD6-18D0-4EBA-91BE-B5E355D5F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D2E94F3-94A0-44CF-BCF9-BC55097E0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79DC6BD-8550-4E52-9E0D-3BA271E83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8C69375-A9F7-494D-BA79-42C8D2290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FF10008-5AB9-4719-B6FF-73DF66954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9EE6004-4D6C-4E5A-B88B-CE183CCDA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AD4D53B-FA1A-4FD8-9155-C171B5374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7EE83FD-48C8-4D11-8261-BAF794112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77FAC0F-BB83-4728-B053-D1B6E79D3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0BF2ED5-186E-4C7F-B520-A009C499F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D009D35-5BC4-4233-BDB5-80732C71C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7105FD1-0D99-4D47-89EF-480FD6E2C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E4623F0-DB5B-401E-A20B-8F7E7DCB5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E0B196F-C503-48A9-8336-A4AA51FA0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A02C6FB-82C6-4413-BB24-E096533BF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02E179E-D7F9-4BE4-8112-F351A98C6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2C5D674-6241-45DE-966F-7FBB8C558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4C5B3A0-F9CD-41D8-93B5-8EDA79190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95560CA-16B4-467D-B5B5-992A238BB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C696402-928B-48CC-B78E-D37CF09E9B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AF95FE0-F892-4B88-A2B4-4808A2EB09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A1DF437-EC8F-4DA4-BE85-F9DCF0DE9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4596F94-A455-49F1-8ED0-1EDD58832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AD21CA0-E621-4571-9A71-8918E82AB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732C0F8-3B39-4FEB-9032-61AB7556A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76A8CBE-6566-47AA-B194-3C74C9E64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9F61CB3-3478-4ACC-910C-AFA17E782A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16DE459-BC09-459B-ABAF-B7A2CC852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D468791-D353-46A9-9478-1D396B5CA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5FCEDF0-879E-405B-8091-C2EDADBC9B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A8D5DD8-7977-41ED-85C0-C973689BD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02D1970-01DC-4064-B176-B04A760D7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5AE7C70-242F-49F4-8AA1-BD6CBFE6F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9ED11C7-C85E-4F76-AA44-4E2E0D0C1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B328680-7E53-40F3-AA44-4F0695DB63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5EA519E-629F-460C-9070-EC71F57D5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FAF3266-7D59-447A-9146-E546AA806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F67B50A-33C3-4452-8819-EB1BA7036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DDFF91A-A042-4FC1-A6CE-F7AD241C4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E3EAAC2-FE5E-49D8-A377-5CA3500E3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1D57DE0-85C8-403B-9941-988F39C37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5BF1703-81C6-455F-A03C-FD4090460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07ACBFD-A891-49A7-81CC-4C97994E8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AD2BA3C-0F75-4583-9E78-355C17957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0</c:f>
              <c:numCache>
                <c:formatCode>General</c:formatCode>
                <c:ptCount val="19"/>
                <c:pt idx="0">
                  <c:v>0.0883</c:v>
                </c:pt>
                <c:pt idx="1">
                  <c:v>0.0738</c:v>
                </c:pt>
                <c:pt idx="2">
                  <c:v>0.088</c:v>
                </c:pt>
                <c:pt idx="3">
                  <c:v>0.0056</c:v>
                </c:pt>
                <c:pt idx="4">
                  <c:v>0.0016</c:v>
                </c:pt>
                <c:pt idx="5">
                  <c:v>-0.0269</c:v>
                </c:pt>
                <c:pt idx="6">
                  <c:v>0.1397</c:v>
                </c:pt>
                <c:pt idx="7">
                  <c:v>0.0142</c:v>
                </c:pt>
                <c:pt idx="8">
                  <c:v>0.0459</c:v>
                </c:pt>
                <c:pt idx="9">
                  <c:v>0.1424</c:v>
                </c:pt>
                <c:pt idx="10">
                  <c:v>0.1569</c:v>
                </c:pt>
                <c:pt idx="11">
                  <c:v>0.0297</c:v>
                </c:pt>
                <c:pt idx="12">
                  <c:v>0.04</c:v>
                </c:pt>
                <c:pt idx="13">
                  <c:v>0.0826</c:v>
                </c:pt>
                <c:pt idx="14">
                  <c:v>0.0988</c:v>
                </c:pt>
                <c:pt idx="15">
                  <c:v>0.061</c:v>
                </c:pt>
                <c:pt idx="16">
                  <c:v>0.0587</c:v>
                </c:pt>
                <c:pt idx="17">
                  <c:v>0.0872</c:v>
                </c:pt>
                <c:pt idx="18">
                  <c:v>0.0921</c:v>
                </c:pt>
              </c:numCache>
            </c:numRef>
          </c:xVal>
          <c:yVal>
            <c:numRef>
              <c:f>Sheet1!$B$2:$B$20</c:f>
              <c:numCache>
                <c:formatCode>General</c:formatCode>
                <c:ptCount val="19"/>
                <c:pt idx="0">
                  <c:v>0.5086</c:v>
                </c:pt>
                <c:pt idx="1">
                  <c:v>0.5209</c:v>
                </c:pt>
                <c:pt idx="2">
                  <c:v>0.4848</c:v>
                </c:pt>
                <c:pt idx="3">
                  <c:v>0.2846</c:v>
                </c:pt>
                <c:pt idx="4">
                  <c:v>0.2561</c:v>
                </c:pt>
                <c:pt idx="5">
                  <c:v>0.4509</c:v>
                </c:pt>
                <c:pt idx="6">
                  <c:v>0.4528</c:v>
                </c:pt>
                <c:pt idx="7">
                  <c:v>0.4492</c:v>
                </c:pt>
                <c:pt idx="8">
                  <c:v>0.4474</c:v>
                </c:pt>
                <c:pt idx="9">
                  <c:v>0.4895</c:v>
                </c:pt>
                <c:pt idx="10">
                  <c:v>0.4652</c:v>
                </c:pt>
                <c:pt idx="11">
                  <c:v>0.5125</c:v>
                </c:pt>
                <c:pt idx="12">
                  <c:v>0.212</c:v>
                </c:pt>
                <c:pt idx="13">
                  <c:v>0.4509</c:v>
                </c:pt>
                <c:pt idx="14">
                  <c:v>0.4555</c:v>
                </c:pt>
                <c:pt idx="15">
                  <c:v>0.4806</c:v>
                </c:pt>
                <c:pt idx="16">
                  <c:v>0.4551</c:v>
                </c:pt>
                <c:pt idx="17">
                  <c:v>0.4382</c:v>
                </c:pt>
                <c:pt idx="18">
                  <c:v>0.4516</c:v>
                </c:pt>
              </c:numCache>
            </c:numRef>
          </c:yVal>
          <c:bubbleSize>
            <c:numRef>
              <c:f>Sheet1!$C$2:$C$20</c:f>
              <c:numCache>
                <c:formatCode>General</c:formatCode>
                <c:ptCount val="19"/>
                <c:pt idx="0">
                  <c:v>624.6</c:v>
                </c:pt>
                <c:pt idx="1">
                  <c:v>500.30434782608694</c:v>
                </c:pt>
                <c:pt idx="2">
                  <c:v>946.8461538461538</c:v>
                </c:pt>
                <c:pt idx="3">
                  <c:v>1297.4705882352941</c:v>
                </c:pt>
                <c:pt idx="4">
                  <c:v>1071.767857142857</c:v>
                </c:pt>
                <c:pt idx="5">
                  <c:v>779.1688311688312</c:v>
                </c:pt>
                <c:pt idx="6">
                  <c:v>1504.1666666666667</c:v>
                </c:pt>
                <c:pt idx="7">
                  <c:v>741.2777777777778</c:v>
                </c:pt>
                <c:pt idx="8">
                  <c:v>572.5882352941177</c:v>
                </c:pt>
                <c:pt idx="9">
                  <c:v>391.6666666666667</c:v>
                </c:pt>
                <c:pt idx="10">
                  <c:v>392.1111111111111</c:v>
                </c:pt>
                <c:pt idx="11">
                  <c:v>636.6666666666666</c:v>
                </c:pt>
                <c:pt idx="12">
                  <c:v>9504.58</c:v>
                </c:pt>
                <c:pt idx="13">
                  <c:v>1649.4313725490197</c:v>
                </c:pt>
                <c:pt idx="14">
                  <c:v>940.8333333333334</c:v>
                </c:pt>
                <c:pt idx="15">
                  <c:v>517.75</c:v>
                </c:pt>
                <c:pt idx="16">
                  <c:v>267.60714285714283</c:v>
                </c:pt>
                <c:pt idx="17">
                  <c:v>175.6875</c:v>
                </c:pt>
                <c:pt idx="18">
                  <c:v>311.63157894736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B4E34E4-D8C9-4C4F-96C6-B1D084E5E0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D8A808C-79AD-40B1-B560-826B07E29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98DA3CF-E7EF-433F-9719-9F4ED8EB8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B49959F-52DA-4B13-AF25-4925ECE9C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4684933-2FF4-4164-8A93-732CF0ADE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F23B374-9E05-4356-9CCE-9FE414B8C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9627A57-0FBB-4CDB-B888-1BDDC5D059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C1614B5-70A3-42D9-9266-8A19DD86D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EDBDFF3-CBED-4035-9C30-98B939BB7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2B20FDA-1808-40AF-878C-1EF40F1F7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FC0AFA5-080D-43EA-9528-D1BEE471F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A84A23C-0635-4808-8C68-F6F23970B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FE35E08-3F1F-45B9-8268-CA2A89527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003E387-D58F-431F-B832-A317D9F05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2E514BF-DED1-465D-AA62-118680A13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9AE9D50-67C8-46F3-8859-349C59558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E1A9E61-650E-47B3-92BD-19ED7129B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CD4F8CD-5B77-47BF-86D4-31D918ADB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859CBCC-9B03-4BF1-8D6F-FE1539C15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A54FE80-2F47-4BE7-99CB-9D11D6855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8E27439-FE79-42E6-99BD-450866AC0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CA57159-7565-4ADE-B6D9-90B4B3C81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F7D41A5-6A8B-45F6-BFF0-5A3CD50F2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F6DB851-7A68-4C94-9B98-5526A13EB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4E2771E-85E4-4F84-95DB-9234DC7D4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2FCC690-F795-416C-9EEE-C1C869A74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8FDE3E9-47C9-48B6-8C7F-D0FF4A688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3EA60A3-BD13-4A01-B5B6-D88362C34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5A91C8C-F5FD-4A60-AD41-150070BF1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7FBAF2D-7A01-4744-BB0C-B3C887CB1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3EA8D74-A471-4E25-81AD-68516D573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4C45E10-70F7-44DD-A317-7744B5ED1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5E33877-A2FE-4DDE-83A7-62986FD3E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82F815E-81FC-4652-A2E5-91E059ECC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031DBF1-0F71-4EC7-A3D4-784985312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754B327-298A-455F-B1A8-EEA0EEFFF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E22A653-7781-4282-B78A-B8F1CBC54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0B2F7B6-D9CB-4587-BE51-177CD5AB3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47414D9-DEB3-4D76-8768-D204F3F58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AED5FC1-F36F-4125-95CA-97F0F6C44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FB46CB4-E106-4A6B-88B8-DB0F6C943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4CD1E89F-2625-4765-AFDE-68AAFD938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E2F4412-15FB-440C-8E5B-C7937426A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269CBDA-2101-475D-B952-388B55CFE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F9D48A6-D78C-4A54-94CA-056B9E1E3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C6EB006-4A82-42C4-A0C3-2FC653F7F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A897EBD-0EEF-4243-87AF-5354AB2FB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F47C25E-7120-4289-9489-47EBB0D3B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FC5A236-C5D5-4A7A-AAC0-F2FBA682A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CEE456D-B757-4CE3-9C02-47F5A1865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E3DC61A-79DE-47FA-8A61-2E0E76E32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C04F4B5-60E1-47F4-9D36-6DDB41A7A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CFF3C56-256F-4C83-AB48-CC44D9D643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4C516EE-6E14-45EA-AA0E-7C35B30AD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C8EBB91-1ED5-41F9-BD81-0CC4E4C77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5F943C9-618A-4DA2-9C0C-3EE6358F5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175B48A-BA8B-4291-ABD3-7445B4376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0.0908</c:v>
                </c:pt>
                <c:pt idx="1">
                  <c:v>0.0826</c:v>
                </c:pt>
                <c:pt idx="2">
                  <c:v>0.0933</c:v>
                </c:pt>
                <c:pt idx="3">
                  <c:v>0.0152</c:v>
                </c:pt>
                <c:pt idx="4">
                  <c:v>0.0021</c:v>
                </c:pt>
                <c:pt idx="5">
                  <c:v>-0.0227</c:v>
                </c:pt>
                <c:pt idx="6">
                  <c:v>0.1225</c:v>
                </c:pt>
                <c:pt idx="7">
                  <c:v>0.0089</c:v>
                </c:pt>
                <c:pt idx="8">
                  <c:v>0.0624</c:v>
                </c:pt>
                <c:pt idx="9">
                  <c:v>0.0798</c:v>
                </c:pt>
                <c:pt idx="10">
                  <c:v>0.1055</c:v>
                </c:pt>
                <c:pt idx="11">
                  <c:v>0.0324</c:v>
                </c:pt>
                <c:pt idx="12">
                  <c:v>0.0439</c:v>
                </c:pt>
                <c:pt idx="13">
                  <c:v>0.0867</c:v>
                </c:pt>
                <c:pt idx="14">
                  <c:v>0.1168</c:v>
                </c:pt>
                <c:pt idx="15">
                  <c:v>0.0516</c:v>
                </c:pt>
                <c:pt idx="16">
                  <c:v>0.1369</c:v>
                </c:pt>
                <c:pt idx="17">
                  <c:v>0.0328</c:v>
                </c:pt>
                <c:pt idx="18">
                  <c:v>0.0508</c:v>
                </c:pt>
                <c:pt idx="19">
                  <c:v>0.0705</c:v>
                </c:pt>
              </c:numCache>
            </c:numRef>
          </c:xVal>
          <c:yVal>
            <c:numRef>
              <c:f>Sheet1!$B$2:$B$21</c:f>
              <c:numCache>
                <c:formatCode>General</c:formatCode>
                <c:ptCount val="20"/>
                <c:pt idx="0">
                  <c:v>0.5086</c:v>
                </c:pt>
                <c:pt idx="1">
                  <c:v>0.522</c:v>
                </c:pt>
                <c:pt idx="2">
                  <c:v>0.485</c:v>
                </c:pt>
                <c:pt idx="3">
                  <c:v>0.284</c:v>
                </c:pt>
                <c:pt idx="4">
                  <c:v>0.2566</c:v>
                </c:pt>
                <c:pt idx="5">
                  <c:v>0.4514</c:v>
                </c:pt>
                <c:pt idx="6">
                  <c:v>0.4528</c:v>
                </c:pt>
                <c:pt idx="7">
                  <c:v>0.4492</c:v>
                </c:pt>
                <c:pt idx="8">
                  <c:v>0.4462</c:v>
                </c:pt>
                <c:pt idx="9">
                  <c:v>0.4839</c:v>
                </c:pt>
                <c:pt idx="10">
                  <c:v>0.468</c:v>
                </c:pt>
                <c:pt idx="11">
                  <c:v>0.5099</c:v>
                </c:pt>
                <c:pt idx="12">
                  <c:v>0.212</c:v>
                </c:pt>
                <c:pt idx="13">
                  <c:v>0.4513</c:v>
                </c:pt>
                <c:pt idx="14">
                  <c:v>0.4556</c:v>
                </c:pt>
                <c:pt idx="15">
                  <c:v>0.4831</c:v>
                </c:pt>
                <c:pt idx="16">
                  <c:v>0.4528</c:v>
                </c:pt>
                <c:pt idx="17">
                  <c:v>0.4548</c:v>
                </c:pt>
                <c:pt idx="18">
                  <c:v>0.4382</c:v>
                </c:pt>
                <c:pt idx="19">
                  <c:v>0.4489</c:v>
                </c:pt>
              </c:numCache>
            </c:numRef>
          </c:yVal>
          <c:bubbleSize>
            <c:numRef>
              <c:f>Sheet1!$C$2:$C$21</c:f>
              <c:numCache>
                <c:formatCode>General</c:formatCode>
                <c:ptCount val="20"/>
                <c:pt idx="0">
                  <c:v>653.5333333333333</c:v>
                </c:pt>
                <c:pt idx="1">
                  <c:v>442.8888888888889</c:v>
                </c:pt>
                <c:pt idx="2">
                  <c:v>1009.75</c:v>
                </c:pt>
                <c:pt idx="3">
                  <c:v>1152.0666666666666</c:v>
                </c:pt>
                <c:pt idx="4">
                  <c:v>999.2452830188679</c:v>
                </c:pt>
                <c:pt idx="5">
                  <c:v>714.1290322580645</c:v>
                </c:pt>
                <c:pt idx="6">
                  <c:v>1150.3333333333333</c:v>
                </c:pt>
                <c:pt idx="7">
                  <c:v>745.8888888888889</c:v>
                </c:pt>
                <c:pt idx="8">
                  <c:v>474.61538461538464</c:v>
                </c:pt>
                <c:pt idx="9">
                  <c:v>248.99999999999997</c:v>
                </c:pt>
                <c:pt idx="10">
                  <c:v>628.0</c:v>
                </c:pt>
                <c:pt idx="11">
                  <c:v>760.28</c:v>
                </c:pt>
                <c:pt idx="12">
                  <c:v>7373.949494949495</c:v>
                </c:pt>
                <c:pt idx="13">
                  <c:v>1265.2941176470588</c:v>
                </c:pt>
                <c:pt idx="14">
                  <c:v>1255.6666666666667</c:v>
                </c:pt>
                <c:pt idx="15">
                  <c:v>494.5357142857142</c:v>
                </c:pt>
                <c:pt idx="16">
                  <c:v>556.3333333333334</c:v>
                </c:pt>
                <c:pt idx="17">
                  <c:v>297.49999999999994</c:v>
                </c:pt>
                <c:pt idx="18">
                  <c:v>254.6</c:v>
                </c:pt>
                <c:pt idx="19">
                  <c:v>535.0</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8BC6666-550E-4A67-8F26-55A7C4CD4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C355BFD-5E35-4DF7-8B00-44A04021B2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86DC1EB-A812-4346-9C6C-41029C070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A5F0C01-AC42-48F8-A6F4-1ADC9580D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2FCCCB3-1216-4688-BA19-E178BB62C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D6DE26F-E100-4ECF-A932-64763CAB1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CC01EF3-3421-440C-84A1-C6028340B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DE88378-EC46-4C7D-BA0E-60A0E16B8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95CA50A-9B57-456C-B593-92AF2EEBD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9AE4BE4-5F8E-4FA2-938F-20D335800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ABA7267-7970-44C8-8971-638DB0A4B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6432854-4C72-4F35-87B5-DC72C673C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FFFAB45-8598-4E35-94FC-D3184B749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D122EDD-0ACF-441A-ADE0-3238FA1BA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7C06FAC-1807-4117-BA28-26334C2A8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E964EA2-0AF0-48F5-9EEC-DAC82B127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DB27D7F-4326-4C5D-9355-256076E725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A105BDA-9EA4-43F9-8C40-D69CF473C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69A84D2-CF90-4675-B469-49DEABA84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6D843D8-5800-4D4B-8DF8-96F160057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5A12C9C-F173-4F8E-BD78-C01754DEB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BD86562-B3B5-41E7-A67E-8594C1932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217A07C-6BD7-4F9B-ADB9-9CA97D411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3F5B0F4-39CD-4A0C-B8E0-14101EF6D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1DD65A1-7B3E-4CC1-861C-9B012B215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C05CDEE-1930-4FA0-A3CF-BF46B08D9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EF8CF0A-466E-484E-B1DA-7F318DDBA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7C4F70C-4416-4F21-B8BF-C1BBD2627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79F8AAA-DA49-441C-9DFA-6D99614A1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4A8F06B-A0E4-4BD1-B14E-8F27ED1D9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D148A65-054D-4D69-BDC3-FD3FD2048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A2ABCDC-B1BF-49EC-8BDD-50105A2BA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15FD4A4-0385-4F51-9809-A37E0793C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57041F4-5539-40C8-B899-7E822A578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5FD9BF87-4E5E-4F3D-AE35-12A7ABA0F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067DD8F-FC4A-40C6-8157-F29F03A1E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BA17C6D-9E1E-4A11-943F-798A9EF57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B152B92-954D-499C-B77E-246464445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07ADEA2C-C2B0-4072-87CC-7DB26FE2F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3634335-4AC1-4272-88C3-1BC83DB28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87CFC6A-A691-428F-8EC2-E33E9B062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FE08491-8DB6-497C-95C7-C926E6827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3C690D2-D991-4970-9907-1494CDF21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421C2A0-B065-4E88-B904-88C262E69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2289B32-9358-4369-86FF-404F75B522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B7093B3-FF8B-448F-8DDC-BD534C33D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4CB6718-A0F1-49F5-A888-15F13C76A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57A47A0-40AC-4E32-A881-6307C82BC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9A91F2A-BE7C-448C-8906-0A2DFC30A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8DED8FC-055E-4D69-9462-3A5C46425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16419C1-46B0-4F82-824F-B0818FE340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4D50B91-B48B-4937-A2E5-1B40B51E1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637939D-8EBA-43FE-8824-A4D8A6BBD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CC1AC43-94B9-41C2-93E9-3E8EBA845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237AE27-E5BF-4272-A106-99FC07B89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60DE83E-C70E-4EDE-B1A1-847A4DC2B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0712DBB-65DA-482B-B235-5450858C3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0.0856</c:v>
                </c:pt>
                <c:pt idx="1">
                  <c:v>0.0831</c:v>
                </c:pt>
                <c:pt idx="2">
                  <c:v>0.0814</c:v>
                </c:pt>
                <c:pt idx="3">
                  <c:v>0.0119</c:v>
                </c:pt>
                <c:pt idx="4">
                  <c:v>0.0003</c:v>
                </c:pt>
                <c:pt idx="5">
                  <c:v>-0.022</c:v>
                </c:pt>
                <c:pt idx="6">
                  <c:v>0.122</c:v>
                </c:pt>
                <c:pt idx="7">
                  <c:v>0.0105</c:v>
                </c:pt>
                <c:pt idx="8">
                  <c:v>0.0559</c:v>
                </c:pt>
                <c:pt idx="9">
                  <c:v>0.133</c:v>
                </c:pt>
                <c:pt idx="10">
                  <c:v>0.1511</c:v>
                </c:pt>
                <c:pt idx="11">
                  <c:v>0.0346</c:v>
                </c:pt>
                <c:pt idx="12">
                  <c:v>0.0428</c:v>
                </c:pt>
                <c:pt idx="13">
                  <c:v>0.0845</c:v>
                </c:pt>
                <c:pt idx="14">
                  <c:v>0.0997</c:v>
                </c:pt>
                <c:pt idx="15">
                  <c:v>0.0544</c:v>
                </c:pt>
                <c:pt idx="16">
                  <c:v>0.1585</c:v>
                </c:pt>
                <c:pt idx="17">
                  <c:v>-0.0143</c:v>
                </c:pt>
                <c:pt idx="18">
                  <c:v>0.0433</c:v>
                </c:pt>
                <c:pt idx="19">
                  <c:v>0.131</c:v>
                </c:pt>
              </c:numCache>
            </c:numRef>
          </c:xVal>
          <c:yVal>
            <c:numRef>
              <c:f>Sheet1!$B$2:$B$21</c:f>
              <c:numCache>
                <c:formatCode>General</c:formatCode>
                <c:ptCount val="20"/>
                <c:pt idx="0">
                  <c:v>0.5086</c:v>
                </c:pt>
                <c:pt idx="1">
                  <c:v>0.5239</c:v>
                </c:pt>
                <c:pt idx="2">
                  <c:v>0.4835</c:v>
                </c:pt>
                <c:pt idx="3">
                  <c:v>0.2846</c:v>
                </c:pt>
                <c:pt idx="4">
                  <c:v>0.2565</c:v>
                </c:pt>
                <c:pt idx="5">
                  <c:v>0.4509</c:v>
                </c:pt>
                <c:pt idx="6">
                  <c:v>0.4528</c:v>
                </c:pt>
                <c:pt idx="7">
                  <c:v>0.4492</c:v>
                </c:pt>
                <c:pt idx="8">
                  <c:v>0.4486</c:v>
                </c:pt>
                <c:pt idx="9">
                  <c:v>0.4889</c:v>
                </c:pt>
                <c:pt idx="10">
                  <c:v>0.4491</c:v>
                </c:pt>
                <c:pt idx="11">
                  <c:v>0.5111</c:v>
                </c:pt>
                <c:pt idx="12">
                  <c:v>0.2118</c:v>
                </c:pt>
                <c:pt idx="13">
                  <c:v>0.4514</c:v>
                </c:pt>
                <c:pt idx="14">
                  <c:v>0.451</c:v>
                </c:pt>
                <c:pt idx="15">
                  <c:v>0.4829</c:v>
                </c:pt>
                <c:pt idx="16">
                  <c:v>0.4528</c:v>
                </c:pt>
                <c:pt idx="17">
                  <c:v>0.4575</c:v>
                </c:pt>
                <c:pt idx="18">
                  <c:v>0.4382</c:v>
                </c:pt>
                <c:pt idx="19">
                  <c:v>0.4547</c:v>
                </c:pt>
              </c:numCache>
            </c:numRef>
          </c:yVal>
          <c:bubbleSize>
            <c:numRef>
              <c:f>Sheet1!$C$2:$C$21</c:f>
              <c:numCache>
                <c:formatCode>General</c:formatCode>
                <c:ptCount val="20"/>
                <c:pt idx="0">
                  <c:v>642.0</c:v>
                </c:pt>
                <c:pt idx="1">
                  <c:v>464.65</c:v>
                </c:pt>
                <c:pt idx="2">
                  <c:v>1263.2</c:v>
                </c:pt>
                <c:pt idx="3">
                  <c:v>1184.0</c:v>
                </c:pt>
                <c:pt idx="4">
                  <c:v>1188.088888888889</c:v>
                </c:pt>
                <c:pt idx="5">
                  <c:v>658.1272727272726</c:v>
                </c:pt>
                <c:pt idx="6">
                  <c:v>1187.8333333333333</c:v>
                </c:pt>
                <c:pt idx="7">
                  <c:v>1202.6</c:v>
                </c:pt>
                <c:pt idx="8">
                  <c:v>783.4285714285713</c:v>
                </c:pt>
                <c:pt idx="9">
                  <c:v>839.75</c:v>
                </c:pt>
                <c:pt idx="10">
                  <c:v>818.25</c:v>
                </c:pt>
                <c:pt idx="11">
                  <c:v>800.1818181818181</c:v>
                </c:pt>
                <c:pt idx="12">
                  <c:v>7707.412371134021</c:v>
                </c:pt>
                <c:pt idx="13">
                  <c:v>2260.529411764706</c:v>
                </c:pt>
                <c:pt idx="14">
                  <c:v>790.3333333333334</c:v>
                </c:pt>
                <c:pt idx="15">
                  <c:v>480.29411764705884</c:v>
                </c:pt>
                <c:pt idx="16">
                  <c:v>663.75</c:v>
                </c:pt>
                <c:pt idx="17">
                  <c:v>357.30232558139534</c:v>
                </c:pt>
                <c:pt idx="18">
                  <c:v>383.2307692307692</c:v>
                </c:pt>
                <c:pt idx="19">
                  <c:v>83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A24BA49-DDC1-49B3-8159-798BC4FC7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7594C4F-D809-4072-B652-CA213E865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226C88B-A9A1-427C-A8A2-937970B433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A08ABFD-19D9-42B7-AEDD-A0C68989A1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F25B675-8381-4C77-8A94-44C56A7F9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2EE1AC6-69D7-4FC2-AED2-C4B88F559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EE02FEF-C6E3-42D8-8190-62956C95C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405C151-1B85-4CCD-83D7-D98B7CD65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6206</c:v>
                </c:pt>
                <c:pt idx="1">
                  <c:v>9.4971</c:v>
                </c:pt>
                <c:pt idx="2">
                  <c:v>9.5114</c:v>
                </c:pt>
                <c:pt idx="3">
                  <c:v>9.6295</c:v>
                </c:pt>
                <c:pt idx="4">
                  <c:v>9.4279</c:v>
                </c:pt>
              </c:numCache>
            </c:numRef>
          </c:xVal>
          <c:yVal>
            <c:numRef>
              <c:f>Sheet1!$B$2:$B$6</c:f>
              <c:numCache>
                <c:formatCode>General</c:formatCode>
                <c:ptCount val="5"/>
                <c:pt idx="0">
                  <c:v>0.5441</c:v>
                </c:pt>
                <c:pt idx="1">
                  <c:v>0.5455</c:v>
                </c:pt>
                <c:pt idx="2">
                  <c:v>0.5453</c:v>
                </c:pt>
                <c:pt idx="3">
                  <c:v>0.5391</c:v>
                </c:pt>
                <c:pt idx="4">
                  <c:v>0.5465</c:v>
                </c:pt>
              </c:numCache>
            </c:numRef>
          </c:yVal>
          <c:bubbleSize>
            <c:numRef>
              <c:f>Sheet1!$C$2:$C$6</c:f>
              <c:numCache>
                <c:formatCode>General</c:formatCode>
                <c:ptCount val="5"/>
                <c:pt idx="0">
                  <c:v>328697.09859999997</c:v>
                </c:pt>
                <c:pt idx="1">
                  <c:v>188726.68739999997</c:v>
                </c:pt>
                <c:pt idx="2">
                  <c:v>237023.93499999997</c:v>
                </c:pt>
                <c:pt idx="3">
                  <c:v>402704.71079999994</c:v>
                </c:pt>
                <c:pt idx="4">
                  <c:v>201710.90859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5554"/>
          <c:min val="7.5423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433782414096834"/>
        <c:crossBetween val="midCat"/>
      </c:valAx>
      <c:valAx>
        <c:axId val="1011451359"/>
        <c:scaling>
          <c:orientation val="minMax"/>
          <c:max val="1.0158"/>
          <c:min val="0.19128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9.55843305705183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487A9A1-0A37-4AF4-8D38-B3039784D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B1A927F-12D9-462D-AF6F-4E5F49CBB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2A37FC6-CD53-4F00-BD8B-D26B11FF8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5C30F8E-D9DE-4058-9D63-65D1DCE02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3350D3D-7778-4519-9C4E-A60709309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1442F7A-FEB9-49B5-B7B2-CCC15A6F7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E473047-8CC2-431C-B50F-825543F67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9C66795-682F-4489-8B52-B9C1CF094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62A5B01-2BCE-4471-A98E-18C203979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BD639A4-979A-4B2A-93D0-31F39FA77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8B048FF-72D6-4D63-A8C9-5D1DE6D2A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63A046E-1E07-4C1F-8507-92E5E3389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435502A-47C3-4656-A27C-8BCCE87985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48B3220-CB16-465F-9EB7-E5BE2D3B5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9E42D1A-A877-44AA-920D-5425DDFCD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905798B-FCF2-48B1-953C-8F6C04649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F1BE2C9-2AA6-40DF-BE89-B23C8BE99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F22630D-E78B-4B16-9A15-36F24E6C4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49889B5-7325-4034-86EC-B69E6018C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A61A8FF-1F2D-4CA6-9E72-F28A5DB38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E38869B-C92B-405A-BAE3-B4256DB91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9D72C1A-8DFF-4C60-8628-238EBFDDA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2A6ED64-8C99-4019-8D00-5DC65386E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D503678-96EB-4442-85CB-30B4DAFDA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A1B0617-96BE-49D9-B04C-5957A47CE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F58D9D6-944C-4F42-90B9-8937F9F97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94FD07D-620D-45A8-923E-BB3357616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F6272FE-EADC-456D-832C-7FBD9515B0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28262A3-2CB7-4FA7-8F9A-8C535D0E2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756A12D-512A-4C1B-849E-330F33F3C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80B358C-EB12-4DF0-88E6-353B3E4FA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6E91648-09B8-476A-B8A9-C9FD02F26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FF6C928-28D6-474A-ABF8-430368A192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FD4FA4E-2E7A-48DC-BD8F-B07A341B6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BB19A63-ECB6-4725-A0E5-DF8A49453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F190456-FAC7-40A1-AD04-49C5482AE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1346A85-1740-4B8A-904F-9EF5374A8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98C83EF-349F-4F57-902E-DC3B4680C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B95C80C-6486-411A-95DD-5C971E235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FF1E7ED-73C2-4AB9-AD64-7A9D5C40B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58E42BF-06E2-491D-8667-B4432C0E5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F8BCDCC-18F1-4498-B57F-AF9DF2E62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50D80D4-60CA-4714-83A4-69BE3811A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3F5A7B6-C559-4DEF-8782-BD66BE2D1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79389D2-DC59-4B86-9B27-B80F3AC35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2369393-FAB0-44F3-B250-6FA0AAD51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48A5EB9-7106-4AEF-913B-403810BF9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A2EBDFE-AE27-4208-A503-2468F4114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47D9D0F-DD66-49BE-A75C-3CBE22541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80E8D10-AC6B-4E7C-9ABD-757C9A351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C4EE303-6230-4F75-A576-2B7E306A3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FCEA531-55D2-4AD2-B63D-1D085AF95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14F288C-058B-4D29-99C6-0B95706B7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BCB1343-E310-48F6-BB03-15E3295729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21FCA5D-5132-4DC6-A2C0-AFA4626B9C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BAD77A7-DFB1-4C8E-A504-F55309647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8EFAE39-B202-4BFD-9904-217277D21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0.0845</c:v>
                </c:pt>
                <c:pt idx="1">
                  <c:v>0.07</c:v>
                </c:pt>
                <c:pt idx="2">
                  <c:v>0.0811</c:v>
                </c:pt>
                <c:pt idx="3">
                  <c:v>0.0042</c:v>
                </c:pt>
                <c:pt idx="4">
                  <c:v>0.0007</c:v>
                </c:pt>
                <c:pt idx="5">
                  <c:v>-0.0274</c:v>
                </c:pt>
                <c:pt idx="6">
                  <c:v>0.1007</c:v>
                </c:pt>
                <c:pt idx="7">
                  <c:v>-0.0026</c:v>
                </c:pt>
                <c:pt idx="8">
                  <c:v>0.0391</c:v>
                </c:pt>
                <c:pt idx="9">
                  <c:v>0.1172</c:v>
                </c:pt>
                <c:pt idx="10">
                  <c:v>0.1086</c:v>
                </c:pt>
                <c:pt idx="11">
                  <c:v>0.136</c:v>
                </c:pt>
                <c:pt idx="12">
                  <c:v>0.0294</c:v>
                </c:pt>
                <c:pt idx="13">
                  <c:v>0.0427</c:v>
                </c:pt>
                <c:pt idx="14">
                  <c:v>0.0831</c:v>
                </c:pt>
                <c:pt idx="15">
                  <c:v>0.0847</c:v>
                </c:pt>
                <c:pt idx="16">
                  <c:v>0.0465</c:v>
                </c:pt>
                <c:pt idx="17">
                  <c:v>0.1298</c:v>
                </c:pt>
                <c:pt idx="18">
                  <c:v>0.0062</c:v>
                </c:pt>
                <c:pt idx="19">
                  <c:v>0.057</c:v>
                </c:pt>
                <c:pt idx="20">
                  <c:v>0.0669</c:v>
                </c:pt>
              </c:numCache>
            </c:numRef>
          </c:xVal>
          <c:yVal>
            <c:numRef>
              <c:f>Sheet1!$B$2:$B$22</c:f>
              <c:numCache>
                <c:formatCode>General</c:formatCode>
                <c:ptCount val="21"/>
                <c:pt idx="0">
                  <c:v>0.5086</c:v>
                </c:pt>
                <c:pt idx="1">
                  <c:v>0.5217</c:v>
                </c:pt>
                <c:pt idx="2">
                  <c:v>0.4821</c:v>
                </c:pt>
                <c:pt idx="3">
                  <c:v>0.2843</c:v>
                </c:pt>
                <c:pt idx="4">
                  <c:v>0.256</c:v>
                </c:pt>
                <c:pt idx="5">
                  <c:v>0.4511</c:v>
                </c:pt>
                <c:pt idx="6">
                  <c:v>0.4528</c:v>
                </c:pt>
                <c:pt idx="7">
                  <c:v>0.4492</c:v>
                </c:pt>
                <c:pt idx="8">
                  <c:v>0.4454</c:v>
                </c:pt>
                <c:pt idx="9">
                  <c:v>0.4911</c:v>
                </c:pt>
                <c:pt idx="10">
                  <c:v>0.4614</c:v>
                </c:pt>
                <c:pt idx="11">
                  <c:v>0.4491</c:v>
                </c:pt>
                <c:pt idx="12">
                  <c:v>0.5115</c:v>
                </c:pt>
                <c:pt idx="13">
                  <c:v>0.2117</c:v>
                </c:pt>
                <c:pt idx="14">
                  <c:v>0.4509</c:v>
                </c:pt>
                <c:pt idx="15">
                  <c:v>0.4345</c:v>
                </c:pt>
                <c:pt idx="16">
                  <c:v>0.4815</c:v>
                </c:pt>
                <c:pt idx="17">
                  <c:v>0.4528</c:v>
                </c:pt>
                <c:pt idx="18">
                  <c:v>0.4583</c:v>
                </c:pt>
                <c:pt idx="19">
                  <c:v>0.4382</c:v>
                </c:pt>
                <c:pt idx="20">
                  <c:v>0.4499</c:v>
                </c:pt>
              </c:numCache>
            </c:numRef>
          </c:yVal>
          <c:bubbleSize>
            <c:numRef>
              <c:f>Sheet1!$C$2:$C$22</c:f>
              <c:numCache>
                <c:formatCode>General</c:formatCode>
                <c:ptCount val="21"/>
                <c:pt idx="0">
                  <c:v>886.9642857142856</c:v>
                </c:pt>
                <c:pt idx="1">
                  <c:v>925.52</c:v>
                </c:pt>
                <c:pt idx="2">
                  <c:v>2128.0833333333335</c:v>
                </c:pt>
                <c:pt idx="3">
                  <c:v>2173.1666666666665</c:v>
                </c:pt>
                <c:pt idx="4">
                  <c:v>1972.5833333333333</c:v>
                </c:pt>
                <c:pt idx="5">
                  <c:v>1336.0</c:v>
                </c:pt>
                <c:pt idx="6">
                  <c:v>539.4814814814815</c:v>
                </c:pt>
                <c:pt idx="7">
                  <c:v>1529.5263157894738</c:v>
                </c:pt>
                <c:pt idx="8">
                  <c:v>1029.1764705882354</c:v>
                </c:pt>
                <c:pt idx="9">
                  <c:v>960.75</c:v>
                </c:pt>
                <c:pt idx="10">
                  <c:v>804.125</c:v>
                </c:pt>
                <c:pt idx="11">
                  <c:v>1130.0</c:v>
                </c:pt>
                <c:pt idx="12">
                  <c:v>1241.6756756756756</c:v>
                </c:pt>
                <c:pt idx="13">
                  <c:v>18113.01</c:v>
                </c:pt>
                <c:pt idx="14">
                  <c:v>2986.666666666667</c:v>
                </c:pt>
                <c:pt idx="15">
                  <c:v>2744.3333333333335</c:v>
                </c:pt>
                <c:pt idx="16">
                  <c:v>893.375</c:v>
                </c:pt>
                <c:pt idx="17">
                  <c:v>1024.5</c:v>
                </c:pt>
                <c:pt idx="18">
                  <c:v>495.65625</c:v>
                </c:pt>
                <c:pt idx="19">
                  <c:v>455.49999999999994</c:v>
                </c:pt>
                <c:pt idx="20">
                  <c:v>496.8888888888889</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474B340-431E-4DC8-880E-4085623AF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461F7C7-93CE-470B-8850-37832EFF0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04E103E-7C20-4FFC-94C1-0682F62FB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D6CF893-94DE-45AF-9D4B-1EA3702C7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88ACD18-F76B-4DD4-A499-DAC6601C5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EC57B11-C125-41D2-80A7-EFD10368B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965BEE9-4E5E-4C2E-8256-469E2BA69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B73198C-049D-4025-9D07-CD17F8A33E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358E157-B9DA-4A3D-91BF-B73139D65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530ABC2-1937-416F-A434-157C3A89B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4C5EEC0-065C-40A8-9B8D-7F4DDA658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BB4765D-6D98-499A-B9D8-6C2546E68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7DABACC-7371-4299-9F03-BFD9245E6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8C1AFC8-0E86-4958-BD9C-9314F883A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374649C-4202-4F92-8E54-E9BB1677C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3DFDE8D-BDC6-4D1E-9C38-447EFA1CB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9A4D8701-87D2-44EF-84DE-9F713AA07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EFC4F9D-88B8-4EF5-B9BF-D050A1C4E0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4BF8219-3ECA-495D-ABC4-44AC148491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EFD9B36-1B0A-4B2E-B7E3-59B7C8112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D3E3BE9-FFF9-4412-9D6D-88EB83D42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B885C81-7524-4A4A-AB75-D87763C4B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8779790-8DA6-467F-9757-45BCE2DCC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1981B09-04A6-4364-A87D-CBB1D61702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83C67F9-EF59-4970-A182-DA2A31B43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E3B9AA5-B1D1-4C8E-B780-1D2D619BC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18AEDEB-2237-41B8-ABDE-AED1C7BCD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3375315-696B-43D5-B256-8B5F6AE6B5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6347374-D40C-4195-B6A0-739AE3EB9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CF3C29B-3A58-484E-B949-DA20FE3DA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5132CA3-F7B8-4CAA-A0A1-478D7DCF1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C06ADD7-7CC9-4922-8F46-232F19661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FACCD23-6692-480E-BD62-87AB96C0B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0627C08-D3D3-49DB-8AEE-2AC342613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5E61082-61A8-4B95-91F3-3CFF0C7DC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708C493-F417-4654-8087-10F37E28F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1FA6D91-A50A-44FB-9E4D-A5C89759D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57929DC-8486-4471-A2AB-669AAB4C2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009DD7CB-FFFF-4BCF-9390-1F4663E05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D018309-AF01-4B6F-8DCB-8D650D58F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F61D76E-9140-4D37-B84C-A5E97007E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2A73E5B-5FAF-46B3-992E-381610E11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3405F5A-3A73-4ACA-B349-7C78ADA0A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BAA29FC-1ABF-4EFD-A03D-E7EBE29088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8511F96-639C-42D5-85BA-8153032FF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42266AE-8048-43E7-B69A-186BEBF9D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6BAEB42-762F-437E-A5C8-BFF7038C69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FDF3EAC-E6C2-4CBD-A315-2D812A531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171D987-02DE-4DA2-876C-FF08DF3A6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EE7C340-17D1-41A7-8569-3FA18F988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C88F001-0D8E-4511-B34A-19FF32F25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33FB15A-87FF-44AE-8E81-6BF9388FF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12A2947-8BF8-4155-95C3-1C9F96301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03E1312-60B2-44D7-9217-B11F8AD69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E8DA78C-8B03-4BBD-A6DF-042F87E62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443FDC7-E3BA-4D46-BFA9-59A270767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07173FE-CCA3-4530-BD44-83071CDFE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0.0939</c:v>
                </c:pt>
                <c:pt idx="1">
                  <c:v>0.0843</c:v>
                </c:pt>
                <c:pt idx="2">
                  <c:v>0.1049</c:v>
                </c:pt>
                <c:pt idx="3">
                  <c:v>0.0143</c:v>
                </c:pt>
                <c:pt idx="4">
                  <c:v>0.0015</c:v>
                </c:pt>
                <c:pt idx="5">
                  <c:v>-0.024</c:v>
                </c:pt>
                <c:pt idx="6">
                  <c:v>0.1159</c:v>
                </c:pt>
                <c:pt idx="7">
                  <c:v>0.0135</c:v>
                </c:pt>
                <c:pt idx="8">
                  <c:v>0.045</c:v>
                </c:pt>
                <c:pt idx="9">
                  <c:v>0.1377</c:v>
                </c:pt>
                <c:pt idx="10">
                  <c:v>0.1402</c:v>
                </c:pt>
                <c:pt idx="11">
                  <c:v>0.1568</c:v>
                </c:pt>
                <c:pt idx="12">
                  <c:v>0.0364</c:v>
                </c:pt>
                <c:pt idx="13">
                  <c:v>0.0408</c:v>
                </c:pt>
                <c:pt idx="14">
                  <c:v>0.0864</c:v>
                </c:pt>
                <c:pt idx="15">
                  <c:v>0.104</c:v>
                </c:pt>
                <c:pt idx="16">
                  <c:v>0.0609</c:v>
                </c:pt>
                <c:pt idx="17">
                  <c:v>0.1456</c:v>
                </c:pt>
                <c:pt idx="18">
                  <c:v>0.0299</c:v>
                </c:pt>
                <c:pt idx="19">
                  <c:v>0.0821</c:v>
                </c:pt>
                <c:pt idx="20">
                  <c:v>0.0956</c:v>
                </c:pt>
              </c:numCache>
            </c:numRef>
          </c:xVal>
          <c:yVal>
            <c:numRef>
              <c:f>Sheet1!$B$2:$B$22</c:f>
              <c:numCache>
                <c:formatCode>General</c:formatCode>
                <c:ptCount val="21"/>
                <c:pt idx="0">
                  <c:v>0.5086</c:v>
                </c:pt>
                <c:pt idx="1">
                  <c:v>0.5221</c:v>
                </c:pt>
                <c:pt idx="2">
                  <c:v>0.4827</c:v>
                </c:pt>
                <c:pt idx="3">
                  <c:v>0.2844</c:v>
                </c:pt>
                <c:pt idx="4">
                  <c:v>0.2564</c:v>
                </c:pt>
                <c:pt idx="5">
                  <c:v>0.451</c:v>
                </c:pt>
                <c:pt idx="6">
                  <c:v>0.4528</c:v>
                </c:pt>
                <c:pt idx="7">
                  <c:v>0.4492</c:v>
                </c:pt>
                <c:pt idx="8">
                  <c:v>0.4475</c:v>
                </c:pt>
                <c:pt idx="9">
                  <c:v>0.4904</c:v>
                </c:pt>
                <c:pt idx="10">
                  <c:v>0.4621</c:v>
                </c:pt>
                <c:pt idx="11">
                  <c:v>0.4491</c:v>
                </c:pt>
                <c:pt idx="12">
                  <c:v>0.5115</c:v>
                </c:pt>
                <c:pt idx="13">
                  <c:v>0.2119</c:v>
                </c:pt>
                <c:pt idx="14">
                  <c:v>0.451</c:v>
                </c:pt>
                <c:pt idx="15">
                  <c:v>0.4483</c:v>
                </c:pt>
                <c:pt idx="16">
                  <c:v>0.481</c:v>
                </c:pt>
                <c:pt idx="17">
                  <c:v>0.4528</c:v>
                </c:pt>
                <c:pt idx="18">
                  <c:v>0.4571</c:v>
                </c:pt>
                <c:pt idx="19">
                  <c:v>0.4382</c:v>
                </c:pt>
                <c:pt idx="20">
                  <c:v>0.4503</c:v>
                </c:pt>
              </c:numCache>
            </c:numRef>
          </c:yVal>
          <c:bubbleSize>
            <c:numRef>
              <c:f>Sheet1!$C$2:$C$22</c:f>
              <c:numCache>
                <c:formatCode>General</c:formatCode>
                <c:ptCount val="21"/>
                <c:pt idx="0">
                  <c:v>1861.5238095238096</c:v>
                </c:pt>
                <c:pt idx="1">
                  <c:v>1655.4208754208755</c:v>
                </c:pt>
                <c:pt idx="2">
                  <c:v>3376.959064327485</c:v>
                </c:pt>
                <c:pt idx="3">
                  <c:v>3678.779527559055</c:v>
                </c:pt>
                <c:pt idx="4">
                  <c:v>4430.93949044586</c:v>
                </c:pt>
                <c:pt idx="5">
                  <c:v>3148.787483702738</c:v>
                </c:pt>
                <c:pt idx="6">
                  <c:v>1560.5508474576272</c:v>
                </c:pt>
                <c:pt idx="7">
                  <c:v>3041.15</c:v>
                </c:pt>
                <c:pt idx="8">
                  <c:v>1814.1062801932367</c:v>
                </c:pt>
                <c:pt idx="9">
                  <c:v>1171.4814814814815</c:v>
                </c:pt>
                <c:pt idx="10">
                  <c:v>1485.2380952380952</c:v>
                </c:pt>
                <c:pt idx="11">
                  <c:v>2277.777777777778</c:v>
                </c:pt>
                <c:pt idx="12">
                  <c:v>2524.742268041237</c:v>
                </c:pt>
                <c:pt idx="13">
                  <c:v>41115.46092184369</c:v>
                </c:pt>
                <c:pt idx="14">
                  <c:v>6637.264957264957</c:v>
                </c:pt>
                <c:pt idx="15">
                  <c:v>2362.121212121212</c:v>
                </c:pt>
                <c:pt idx="16">
                  <c:v>1793.0085959885387</c:v>
                </c:pt>
                <c:pt idx="17">
                  <c:v>1330.5263157894738</c:v>
                </c:pt>
                <c:pt idx="18">
                  <c:v>1162.6512968299712</c:v>
                </c:pt>
                <c:pt idx="19">
                  <c:v>1050.0</c:v>
                </c:pt>
                <c:pt idx="20">
                  <c:v>1170.687830687830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FFE9241-A514-4C9C-98A8-D851056D1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2BF5891-2006-4AE3-AD01-5E22CA4F44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7FEF197-D4C6-444E-BCCD-9537B2814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49DCC43-6552-4716-8FBC-EFAFB22AB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08E7566-CB49-47B5-91EC-D23288EB9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6E0A411-C62B-4E35-9C28-910C18819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189163C-7297-4D1A-A3EC-674CBC3FE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E7E7950-E950-4B21-B61D-5D565AC20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0213237-4DA8-436B-A88E-A7322CB4C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62B3C8B-E291-4A48-A0E1-1B303CBBD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BF26E32-7DED-406B-A422-EDA3243D2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7CE9371-78D2-483B-ABD2-239D856F1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37BE465-9555-4234-BC13-6F66E44C4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A10B2FB-0170-4D66-8BE7-C73E75468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CAEE9F8-A251-4C6F-9FC1-182E5D44A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CB455C1-277F-4E40-B8E4-6A6740E0D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E70E3DD-7ABC-48FA-870D-78D02CFBE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2DD72CD-E238-45AD-AA7A-D1223644F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9E7DDF8-45A0-4913-A787-C4D6A2022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DDBAF77-FD2B-470C-BD09-B0B8E8E21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621DC40-B57D-43D2-8931-E136BD190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34CCA81-AB7B-470A-820C-C961763B5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DF58E92-AFF1-4F13-AEA6-F3333AE4C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9C67C09-17E2-496B-8FC3-7B099B14D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8AB9A42-22F2-47FE-963A-C085DE47C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C90CAFC-7F0E-439B-BA54-799C4B4EC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9BDAFEA-72BC-49FF-994E-877D869B1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097FD6B-E7A3-45E5-A075-703F0BEAD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2719B6D-86B3-4A22-AA11-36DD94C64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DC0DEDD-EEF0-440E-A009-17B3898676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FAEF7CE-A345-4F05-9144-249F554C7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3052115-72C6-452A-9EA6-EAB8F8E6F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11B245E-2B2F-47E7-8F54-A2D623070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DEE34B4-F498-4D57-A329-916A81884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9B23420-C43A-45C3-B646-007DA3D56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3B7FE0D-D2C4-42D1-BFC9-C9A7BBA65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9D76259-90FA-4E61-AB34-8A327A5AA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446E085-37D6-4DC7-AA24-5BF1F66BCB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54D5EB5-04E3-42C4-8AE9-5518998C9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DA65197-0215-4450-90FF-687422628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3AC93BA-21BC-4B4B-A389-A453BFD64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412BC62-07A7-42D8-9D42-219781F5E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28BB136-8D04-4DDD-AA4E-3BE9DAB9D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6693C47-3F60-46F3-BCE8-2B021FFB5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AA7D827-7BEB-4579-8967-6FED149FF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9DD98DB-42B1-4E5A-B8D5-47F78A712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F7CDEFC1-507B-40DD-BA17-707EA32F5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3C7F832-AB7D-43A6-8DCD-960810F96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568480E-F2A6-452B-8D70-A04E01150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FB4BE41-AC41-4E99-A083-81C07B4B8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67FA79B-7358-4140-8937-C90F06E23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B561CF8-4C08-4C5C-8C88-E8C4C9498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9F48936-94B5-4F54-B6F7-CD671570F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2BA6EFD-E1B4-46E7-92B6-C13E3CE9E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7257988-12CE-4614-93E0-00A2B363A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AD9DB3D-C7F3-4185-911F-D6C5575B4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CBF0EED-CE16-47CC-88CB-67304A005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0.0872</c:v>
                </c:pt>
                <c:pt idx="1">
                  <c:v>0.078</c:v>
                </c:pt>
                <c:pt idx="2">
                  <c:v>0.0942</c:v>
                </c:pt>
                <c:pt idx="3">
                  <c:v>-0.0003</c:v>
                </c:pt>
                <c:pt idx="4">
                  <c:v>-0.007</c:v>
                </c:pt>
                <c:pt idx="5">
                  <c:v>-0.0544</c:v>
                </c:pt>
                <c:pt idx="6">
                  <c:v>0.1119</c:v>
                </c:pt>
                <c:pt idx="7">
                  <c:v>0.0105</c:v>
                </c:pt>
                <c:pt idx="8">
                  <c:v>0.0381</c:v>
                </c:pt>
                <c:pt idx="9">
                  <c:v>0.1542</c:v>
                </c:pt>
                <c:pt idx="10">
                  <c:v>0.1389</c:v>
                </c:pt>
                <c:pt idx="11">
                  <c:v>0.157</c:v>
                </c:pt>
                <c:pt idx="12">
                  <c:v>0.0318</c:v>
                </c:pt>
                <c:pt idx="13">
                  <c:v>0.0375</c:v>
                </c:pt>
                <c:pt idx="14">
                  <c:v>0.0829</c:v>
                </c:pt>
                <c:pt idx="15">
                  <c:v>0.0799</c:v>
                </c:pt>
                <c:pt idx="16">
                  <c:v>0.0416</c:v>
                </c:pt>
                <c:pt idx="17">
                  <c:v>0.1699</c:v>
                </c:pt>
                <c:pt idx="18">
                  <c:v>-0.0171</c:v>
                </c:pt>
                <c:pt idx="19">
                  <c:v>0.0502</c:v>
                </c:pt>
                <c:pt idx="20">
                  <c:v>0.0994</c:v>
                </c:pt>
              </c:numCache>
            </c:numRef>
          </c:xVal>
          <c:yVal>
            <c:numRef>
              <c:f>Sheet1!$B$2:$B$22</c:f>
              <c:numCache>
                <c:formatCode>General</c:formatCode>
                <c:ptCount val="21"/>
                <c:pt idx="0">
                  <c:v>0.5086</c:v>
                </c:pt>
                <c:pt idx="1">
                  <c:v>0.5227</c:v>
                </c:pt>
                <c:pt idx="2">
                  <c:v>0.4822</c:v>
                </c:pt>
                <c:pt idx="3">
                  <c:v>0.2842</c:v>
                </c:pt>
                <c:pt idx="4">
                  <c:v>0.2565</c:v>
                </c:pt>
                <c:pt idx="5">
                  <c:v>0.4507</c:v>
                </c:pt>
                <c:pt idx="6">
                  <c:v>0.4528</c:v>
                </c:pt>
                <c:pt idx="7">
                  <c:v>0.4492</c:v>
                </c:pt>
                <c:pt idx="8">
                  <c:v>0.4503</c:v>
                </c:pt>
                <c:pt idx="9">
                  <c:v>0.4868</c:v>
                </c:pt>
                <c:pt idx="10">
                  <c:v>0.4598</c:v>
                </c:pt>
                <c:pt idx="11">
                  <c:v>0.4491</c:v>
                </c:pt>
                <c:pt idx="12">
                  <c:v>0.5104</c:v>
                </c:pt>
                <c:pt idx="13">
                  <c:v>0.212</c:v>
                </c:pt>
                <c:pt idx="14">
                  <c:v>0.4511</c:v>
                </c:pt>
                <c:pt idx="15">
                  <c:v>0.4576</c:v>
                </c:pt>
                <c:pt idx="16">
                  <c:v>0.4776</c:v>
                </c:pt>
                <c:pt idx="17">
                  <c:v>0.4528</c:v>
                </c:pt>
                <c:pt idx="18">
                  <c:v>0.4582</c:v>
                </c:pt>
                <c:pt idx="19">
                  <c:v>0.4382</c:v>
                </c:pt>
                <c:pt idx="20">
                  <c:v>0.4495</c:v>
                </c:pt>
              </c:numCache>
            </c:numRef>
          </c:yVal>
          <c:bubbleSize>
            <c:numRef>
              <c:f>Sheet1!$C$2:$C$22</c:f>
              <c:numCache>
                <c:formatCode>General</c:formatCode>
                <c:ptCount val="21"/>
                <c:pt idx="0">
                  <c:v>423.5357142857142</c:v>
                </c:pt>
                <c:pt idx="1">
                  <c:v>408.96</c:v>
                </c:pt>
                <c:pt idx="2">
                  <c:v>793.125</c:v>
                </c:pt>
                <c:pt idx="3">
                  <c:v>784.0833333333334</c:v>
                </c:pt>
                <c:pt idx="4">
                  <c:v>1087.5081967213114</c:v>
                </c:pt>
                <c:pt idx="5">
                  <c:v>775.1621621621622</c:v>
                </c:pt>
                <c:pt idx="6">
                  <c:v>840.2727272727273</c:v>
                </c:pt>
                <c:pt idx="7">
                  <c:v>759.5714285714284</c:v>
                </c:pt>
                <c:pt idx="8">
                  <c:v>541.3157894736842</c:v>
                </c:pt>
                <c:pt idx="9">
                  <c:v>344.125</c:v>
                </c:pt>
                <c:pt idx="10">
                  <c:v>421.6666666666667</c:v>
                </c:pt>
                <c:pt idx="11">
                  <c:v>409.0</c:v>
                </c:pt>
                <c:pt idx="12">
                  <c:v>680.5</c:v>
                </c:pt>
                <c:pt idx="13">
                  <c:v>8910.333333333334</c:v>
                </c:pt>
                <c:pt idx="14">
                  <c:v>1670.543859649123</c:v>
                </c:pt>
                <c:pt idx="15">
                  <c:v>627.125</c:v>
                </c:pt>
                <c:pt idx="16">
                  <c:v>450.6785714285714</c:v>
                </c:pt>
                <c:pt idx="17">
                  <c:v>210.33333333333334</c:v>
                </c:pt>
                <c:pt idx="18">
                  <c:v>264.4782608695652</c:v>
                </c:pt>
                <c:pt idx="19">
                  <c:v>339.72727272727275</c:v>
                </c:pt>
                <c:pt idx="20">
                  <c:v>339.1818181818182</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29E61FE-1182-45C9-B560-0B75A9DC0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5AAAA55-96C1-413B-B775-02FBFA0FA2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B101DB8-BE00-4C26-8450-868792E28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2BE3EAD-4798-4DCB-9C15-D9EDCD7EB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B5945A8-191D-410F-B359-C136ECE68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D1BDAA2-0D15-4060-94CD-F54F7A7C6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1E95764-B861-495D-9599-603F5477F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3948B35-79C0-4ADE-9A81-95C59BA60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97F14E6-50DA-411C-B88A-6ED8E0E21A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742E3E6-96FD-4A7C-86C2-A4FEDB53D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B384D4D-5C09-4ECC-B783-EB226EB62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F85CA1B-41C4-4189-BDA2-27E8510B4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9083D0F-9BB7-4083-B317-2D573B2F63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98A3E25-DDA8-4C66-94A6-BDAE6C1B3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BF6140A-4213-4875-9B26-7D2F9063C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5ACAA2E-7F9B-4BB3-A332-2BA2A580A8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2725919-6E51-47CA-9841-A92489DDB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10086D1-4AD1-45A4-83DA-D93ABA413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A17688E-5028-4678-A740-FF59631DE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2534224-6BE3-47C1-8795-44CBF8267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2503911-B07C-4361-AC03-35063965D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1331C9CF-74D5-4E61-B309-0D2316E12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AD26736-EDE6-4281-A95C-AD2147058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889CEA6-688C-49EF-8EEA-BA4A74446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CD3426E-5D4F-420D-9AB7-C1BDE6696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542C8C5-77E6-4930-9D86-0BA8E109F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13D5C68-D00C-42A4-93F1-97EB916E1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F65D47C-E46B-42E9-BE75-5C43C15B3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9B77DFE-896A-4258-B253-8184B9E91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8EACF5F-AD04-4FFF-9F92-9B1C6424A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F0A0B10-40DC-491E-8217-D7823D8F30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05214EB-195E-407B-8F11-6C4244C88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519E349-BC2F-4BC3-ABE2-CC92C3360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2413D57-80E2-40B5-9B56-60FCE8501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2E2402F-C631-4769-A6AE-D7FD5CE88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B56CD1A-4633-4D98-9941-069CC2B1D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3B8BEA1-FCA2-44D4-B387-E44D5476A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9A6F94E-B7D9-459F-80C7-F5D39F561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F4CC5FB-B2CB-4A23-9C0D-9876B2223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1F7B127-41F6-4240-8E86-DA26AF701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A5A93AF-FE94-46F3-937C-93C6622492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4F932E1-043F-491E-B537-F541F7A67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90F5322-DA05-475F-97F0-672E72133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A367EA1-60AD-48BD-96F6-29643FD9A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E21D8C8-D482-4F75-9E81-E458CEF78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0618DA6-506A-4BB7-A847-7315C4AEE3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8AB2E6D-5E3E-44DD-8470-CFC9CD184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1F006B7-7B3D-40D2-ACC9-F98F83A60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9D25EB1-0E05-4A06-A027-E943F0B01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0216F6B-7F13-4ED5-88D7-E88B9E514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8B4310A-8110-489D-8065-4B0ED54CFB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3830422-CC99-47F1-A437-756E38A9B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17B3F31-7E53-4C2B-83E5-97B36C2E5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FB05617-DB1F-45AF-A867-655A4CEBA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62CE15C-0D6B-4C34-9540-26B5C1463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317856A-104E-4779-94EC-F84065DBFE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5E73990-3A22-49F1-86C4-B165A66B95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1052</c:v>
                </c:pt>
                <c:pt idx="1">
                  <c:v>0.138</c:v>
                </c:pt>
                <c:pt idx="2">
                  <c:v>0.126</c:v>
                </c:pt>
                <c:pt idx="3">
                  <c:v>0.0427</c:v>
                </c:pt>
                <c:pt idx="4">
                  <c:v>0.0092</c:v>
                </c:pt>
                <c:pt idx="5">
                  <c:v>0.0044</c:v>
                </c:pt>
                <c:pt idx="6">
                  <c:v>0.0583</c:v>
                </c:pt>
                <c:pt idx="7">
                  <c:v>0.0811</c:v>
                </c:pt>
                <c:pt idx="8">
                  <c:v>0.04</c:v>
                </c:pt>
                <c:pt idx="9">
                  <c:v>0.0938</c:v>
                </c:pt>
                <c:pt idx="10">
                  <c:v>0.054</c:v>
                </c:pt>
              </c:numCache>
            </c:numRef>
          </c:xVal>
          <c:yVal>
            <c:numRef>
              <c:f>Sheet1!$B$2:$B$12</c:f>
              <c:numCache>
                <c:formatCode>General</c:formatCode>
                <c:ptCount val="11"/>
                <c:pt idx="0">
                  <c:v>0.5086</c:v>
                </c:pt>
                <c:pt idx="1">
                  <c:v>0.5234</c:v>
                </c:pt>
                <c:pt idx="2">
                  <c:v>0.4828</c:v>
                </c:pt>
                <c:pt idx="3">
                  <c:v>0.2848</c:v>
                </c:pt>
                <c:pt idx="4">
                  <c:v>0.2576</c:v>
                </c:pt>
                <c:pt idx="5">
                  <c:v>0.4509</c:v>
                </c:pt>
                <c:pt idx="6">
                  <c:v>0.4535</c:v>
                </c:pt>
                <c:pt idx="7">
                  <c:v>0.5038</c:v>
                </c:pt>
                <c:pt idx="8">
                  <c:v>0.2125</c:v>
                </c:pt>
                <c:pt idx="9">
                  <c:v>0.4516</c:v>
                </c:pt>
                <c:pt idx="10">
                  <c:v>0.479</c:v>
                </c:pt>
              </c:numCache>
            </c:numRef>
          </c:yVal>
          <c:bubbleSize>
            <c:numRef>
              <c:f>Sheet1!$C$2:$C$12</c:f>
              <c:numCache>
                <c:formatCode>General</c:formatCode>
                <c:ptCount val="11"/>
                <c:pt idx="0">
                  <c:v>50.15094339622642</c:v>
                </c:pt>
                <c:pt idx="1">
                  <c:v>48.13953488372093</c:v>
                </c:pt>
                <c:pt idx="2">
                  <c:v>103.61764705882354</c:v>
                </c:pt>
                <c:pt idx="3">
                  <c:v>117.4</c:v>
                </c:pt>
                <c:pt idx="4">
                  <c:v>163.08536585365854</c:v>
                </c:pt>
                <c:pt idx="5">
                  <c:v>134.71052631578948</c:v>
                </c:pt>
                <c:pt idx="6">
                  <c:v>78.1304347826087</c:v>
                </c:pt>
                <c:pt idx="7">
                  <c:v>38.91803278688525</c:v>
                </c:pt>
                <c:pt idx="8">
                  <c:v>1744.57</c:v>
                </c:pt>
                <c:pt idx="9">
                  <c:v>276.32307692307694</c:v>
                </c:pt>
                <c:pt idx="10">
                  <c:v>61.30769230769231</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98ABB55-BAAF-43F8-B4A1-64F20F560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C9A4261-4FCC-46B0-8C17-CF04AD97B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C1A05C1-AE6E-486D-BF32-912DF5744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7B17BB7-4355-484A-B78B-9904ACFEC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1C560B2-F973-4981-96F2-7CAEE258E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CA35B51-5B93-4789-A867-3AC1B470A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A7FA18E-B532-4AE8-AE50-F7D543AD8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9517D8A-C630-41C3-AB06-590C08D00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3AE442E-6870-42AD-9817-4F7D32551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7ECDA4D-5BBD-49DF-9673-3AE6C0E8F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5D0C255-4271-4458-8BB7-E3D8C9BFF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A83575F-A766-4CD6-A08A-FE458A8AB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4C51CCC-73FD-49B4-B2B1-99C6D9D14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55D4FBF-9A0F-4A21-B5D6-3ED9A6469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D469BEA-7CDB-4DC2-A708-07236577B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5F96C6C-734D-4A5D-A94A-59D544CCC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382DB39-D53D-400E-AEFE-196E42F26D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991B30A-922C-461D-B6F1-95D052312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9ADD4E7-498B-4927-B1CC-AB8BD84C2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A68EA38-0FD3-4FF9-B5F6-D55407AB1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353B6D7-519D-4BF0-8DBC-6ECCA8B23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B9EEC91-C31E-4D7A-8B00-47456CA9F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E19B387-6A01-466D-9FA8-47B1E0B3E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18A5E3E-526B-46A3-8B60-92C2C47A02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0212B21-3CB4-4DEC-8041-C19499BF1C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F31DE16-3122-4A06-B973-228704AA5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82A2A83-E5E6-4B15-98A8-0529F1FF7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2C7C51F-312E-497F-8BF3-BA37758AF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EDD52E2-EFC8-4E91-8346-DE3A4F0D1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0122E9B-0F27-42DD-8D36-61937714C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4A5D647-0BB8-440E-BE6A-FAB203CD3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5FECF82-A9B7-4D76-B906-DE37B757D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71037D9-461C-4090-83EE-F9A47DF65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9899CB3-50BA-42B0-928F-5196DE8B2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F4C9209-FB4A-4523-A550-6E680C875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24EF303-F002-4587-8418-DA600BAE2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CADE791-928E-473B-8EEF-073794D70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D027E22-04CF-416A-B2B2-18D2D167F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23CFE4E-E973-4098-A904-AB2D3D386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51D1C4C-D0BF-44AC-B28F-A4DAC31C0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35F54D8-2E59-432B-B317-E36E7D6A6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B9AD675-40A2-4505-83E0-8929865B1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18172FF-7057-4F40-9319-5604A6D37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BC83BC8-E5E6-4897-9624-97A96F285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74A2E1A-FAA6-4613-9BEB-B1A2E4A83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C00CB60-0DCC-4DA5-8B05-A1419BA49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FF54C39-A885-42A5-829A-2C584B8FD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963CCE5-F753-4066-BCB5-E3E11DF9A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EF67F02-1F89-4A9C-ACB6-F33F43B41E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6E65D64-90D0-4975-ACFE-C27ACFC2E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BCF9B54-1852-4F2C-BC51-95AD35A38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D74E011A-5EF2-4415-ABA8-F86DABD38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3BD99EE-E18E-4F9E-BD34-C680125CC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0EFB520-A5AF-4953-A8F3-00BC286FA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FC7B99A-8CEE-4A07-9DEF-CCF866727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0807B98-C758-448E-A81C-467545BE6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FA536D8-9ADE-476C-A6A9-004A548B1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79</c:v>
                </c:pt>
                <c:pt idx="1">
                  <c:v>0.1056</c:v>
                </c:pt>
                <c:pt idx="2">
                  <c:v>0.1504</c:v>
                </c:pt>
                <c:pt idx="3">
                  <c:v>0.0411</c:v>
                </c:pt>
                <c:pt idx="4">
                  <c:v>0.0055</c:v>
                </c:pt>
                <c:pt idx="5">
                  <c:v>0.0257</c:v>
                </c:pt>
                <c:pt idx="6">
                  <c:v>0.0373</c:v>
                </c:pt>
                <c:pt idx="7">
                  <c:v>0.0424</c:v>
                </c:pt>
                <c:pt idx="8">
                  <c:v>0.0359</c:v>
                </c:pt>
                <c:pt idx="9">
                  <c:v>0.0431</c:v>
                </c:pt>
                <c:pt idx="10">
                  <c:v>0.0901</c:v>
                </c:pt>
                <c:pt idx="11">
                  <c:v>0.0902</c:v>
                </c:pt>
                <c:pt idx="12">
                  <c:v>0.0843</c:v>
                </c:pt>
                <c:pt idx="13">
                  <c:v>0.0714</c:v>
                </c:pt>
                <c:pt idx="14">
                  <c:v>0.0901</c:v>
                </c:pt>
              </c:numCache>
            </c:numRef>
          </c:xVal>
          <c:yVal>
            <c:numRef>
              <c:f>Sheet1!$B$2:$B$16</c:f>
              <c:numCache>
                <c:formatCode>General</c:formatCode>
                <c:ptCount val="15"/>
                <c:pt idx="0">
                  <c:v>0.5086</c:v>
                </c:pt>
                <c:pt idx="1">
                  <c:v>0.5203</c:v>
                </c:pt>
                <c:pt idx="2">
                  <c:v>0.4823</c:v>
                </c:pt>
                <c:pt idx="3">
                  <c:v>0.2834</c:v>
                </c:pt>
                <c:pt idx="4">
                  <c:v>0.2562</c:v>
                </c:pt>
                <c:pt idx="5">
                  <c:v>0.4508</c:v>
                </c:pt>
                <c:pt idx="6">
                  <c:v>0.4492</c:v>
                </c:pt>
                <c:pt idx="7">
                  <c:v>0.4493</c:v>
                </c:pt>
                <c:pt idx="8">
                  <c:v>0.5153</c:v>
                </c:pt>
                <c:pt idx="9">
                  <c:v>0.2115</c:v>
                </c:pt>
                <c:pt idx="10">
                  <c:v>0.4502</c:v>
                </c:pt>
                <c:pt idx="11">
                  <c:v>0.4722</c:v>
                </c:pt>
                <c:pt idx="12">
                  <c:v>0.4819</c:v>
                </c:pt>
                <c:pt idx="13">
                  <c:v>0.4591</c:v>
                </c:pt>
                <c:pt idx="14">
                  <c:v>0.4516</c:v>
                </c:pt>
              </c:numCache>
            </c:numRef>
          </c:yVal>
          <c:bubbleSize>
            <c:numRef>
              <c:f>Sheet1!$C$2:$C$16</c:f>
              <c:numCache>
                <c:formatCode>General</c:formatCode>
                <c:ptCount val="15"/>
                <c:pt idx="0">
                  <c:v>132.2051282051282</c:v>
                </c:pt>
                <c:pt idx="1">
                  <c:v>67.9090909090909</c:v>
                </c:pt>
                <c:pt idx="2">
                  <c:v>150.47368421052633</c:v>
                </c:pt>
                <c:pt idx="3">
                  <c:v>193.99999999999997</c:v>
                </c:pt>
                <c:pt idx="4">
                  <c:v>283.578125</c:v>
                </c:pt>
                <c:pt idx="5">
                  <c:v>169.55</c:v>
                </c:pt>
                <c:pt idx="6">
                  <c:v>280.6666666666667</c:v>
                </c:pt>
                <c:pt idx="7">
                  <c:v>133.56521739130434</c:v>
                </c:pt>
                <c:pt idx="8">
                  <c:v>136.1860465116279</c:v>
                </c:pt>
                <c:pt idx="9">
                  <c:v>2484.32</c:v>
                </c:pt>
                <c:pt idx="10">
                  <c:v>394.0508474576271</c:v>
                </c:pt>
                <c:pt idx="11">
                  <c:v>51.49999999999999</c:v>
                </c:pt>
                <c:pt idx="12">
                  <c:v>100.02631578947368</c:v>
                </c:pt>
                <c:pt idx="13">
                  <c:v>95.55</c:v>
                </c:pt>
                <c:pt idx="14">
                  <c:v>61.8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E3A058F-8728-41C0-9A85-174EA8D83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DA5FC2E-1786-47D5-8BB5-914F162AA9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5E6D0CA-54F2-4103-869A-9431F8673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123F3D6-FF2A-43BE-AF63-8727ACDAC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3616FD2-4C7C-454F-A54E-C3683FF9A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8284FF5-A12F-4855-A317-88E65EF7B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1253009-354C-4FB5-A20D-514030040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0DD5447-A2B6-4D21-8182-4BF7D37B4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13E8303-410C-4413-9260-C99E5364C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833340B-1EE1-4FE2-B0C8-05F274E8D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A72DBBA-9773-4D9C-B633-BF8EF26B2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429AB23-4450-4669-B68F-FA5F049A7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B650703-38F5-40D9-A085-A621978D7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FCEC25C-6874-431F-BDC0-EF57CC3B5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FACAF6C-626B-4E17-B202-657BD46B7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4AF9EA0-D2D9-4B0D-A9A0-D38AEE0B1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2CDED5D-E452-445A-BBCF-D18142128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EFFA28F-48FD-4DFF-BC87-D498617DF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95C08BB-3C10-4C0F-A2AC-438A4CC26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24F6C8B-646A-4CDD-AF39-5E154C6F83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DB45935-F9AB-4F2D-8736-4CB3E842A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158E7B3-954C-4437-92AB-6EF8883BD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CAEEC50-B6EB-46AF-8C95-D8D2B90C3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46A5DC4-CF10-4801-A9BB-CA5BD8AF2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369CFBD-C312-4D6F-BC46-83C0A91D9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B6A14E2-02DD-4E3B-A4CA-60EC98012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7713079-53DC-4C55-9973-D77F59D1F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2F65B65-F4FF-407A-BDA9-3F45C88FC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5B867E0-7CB6-4ED0-98E5-42FC28EBDD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FD99A67-CD30-487E-8A62-7FA817459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5A9E9F8-6D30-4E5A-9E3A-88B6D8DE0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B849B3C-CF01-43C6-82BE-A92118A2D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6774797-E7E8-4A32-9C84-2F9CA9C8E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5F6A4F3-0610-43BF-BA73-9FD1968CC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BF4017F-56A8-48D6-BFAB-CCBB813DC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19CA6EB-F642-4048-82E9-E0638F7D1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DEBFF7B-8E7E-45C2-B526-BC41C5DEE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23186A6-5AE5-4EAA-A9A4-123658592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E72F64F-000F-42AB-A76A-C457C292B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C9EE5EC-B403-4700-A94C-90B33C1B6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1E371DC-3B0E-4C03-9E4F-D0AF527ED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44EFC3E-64B2-4135-A9BF-27A99251D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065A670-AF3A-4DAF-A109-B1E9206C3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C8C7349-6243-47A4-811E-927DAC70D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F36BE85-610E-40E2-876F-E3FA37EDE2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510AA59-2530-4A3E-84EF-BFF9EE38C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CBE9929-1A92-4E50-8506-6576FBE89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FE2E292-94A8-4B10-96C4-67CF653B8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7A9EC37-7C69-492F-ADE4-174504B59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67FF10D-9F03-4B20-9CA7-9E59B6B81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D4B485E-E6A2-4B59-863D-8BA30F767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E0DDA99-2C88-4A1A-9264-08FCC2481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788B706-D10A-49AF-A4B5-F1547633C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6413F47-8C87-49D2-A76D-961B68D25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3B773CD-E8EE-4545-9880-C3E4B1388B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30D83C3-5293-483D-BF07-5A97095B5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7595BBF-C411-4C00-8A8E-D3EC130CB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0.0813</c:v>
                </c:pt>
                <c:pt idx="1">
                  <c:v>0.0693</c:v>
                </c:pt>
                <c:pt idx="2">
                  <c:v>0.073</c:v>
                </c:pt>
                <c:pt idx="3">
                  <c:v>0.0041</c:v>
                </c:pt>
                <c:pt idx="4">
                  <c:v>0.0008</c:v>
                </c:pt>
                <c:pt idx="5">
                  <c:v>-0.0366</c:v>
                </c:pt>
                <c:pt idx="6">
                  <c:v>0.0983</c:v>
                </c:pt>
                <c:pt idx="7">
                  <c:v>-0.0037</c:v>
                </c:pt>
                <c:pt idx="8">
                  <c:v>0.0362</c:v>
                </c:pt>
                <c:pt idx="9">
                  <c:v>0.1014</c:v>
                </c:pt>
                <c:pt idx="10">
                  <c:v>0.0899</c:v>
                </c:pt>
                <c:pt idx="11">
                  <c:v>0.1348</c:v>
                </c:pt>
                <c:pt idx="12">
                  <c:v>0.0262</c:v>
                </c:pt>
                <c:pt idx="13">
                  <c:v>0.0424</c:v>
                </c:pt>
                <c:pt idx="14">
                  <c:v>0.0814</c:v>
                </c:pt>
                <c:pt idx="15">
                  <c:v>0.0524</c:v>
                </c:pt>
                <c:pt idx="16">
                  <c:v>0.0471</c:v>
                </c:pt>
                <c:pt idx="17">
                  <c:v>0.1241</c:v>
                </c:pt>
                <c:pt idx="18">
                  <c:v>0.0131</c:v>
                </c:pt>
                <c:pt idx="19">
                  <c:v>0.0568</c:v>
                </c:pt>
                <c:pt idx="20">
                  <c:v>0.0542</c:v>
                </c:pt>
              </c:numCache>
            </c:numRef>
          </c:xVal>
          <c:yVal>
            <c:numRef>
              <c:f>Sheet1!$B$2:$B$22</c:f>
              <c:numCache>
                <c:formatCode>General</c:formatCode>
                <c:ptCount val="21"/>
                <c:pt idx="0">
                  <c:v>0.5086</c:v>
                </c:pt>
                <c:pt idx="1">
                  <c:v>0.5211</c:v>
                </c:pt>
                <c:pt idx="2">
                  <c:v>0.482</c:v>
                </c:pt>
                <c:pt idx="3">
                  <c:v>0.2839</c:v>
                </c:pt>
                <c:pt idx="4">
                  <c:v>0.2559</c:v>
                </c:pt>
                <c:pt idx="5">
                  <c:v>0.4509</c:v>
                </c:pt>
                <c:pt idx="6">
                  <c:v>0.4528</c:v>
                </c:pt>
                <c:pt idx="7">
                  <c:v>0.4492</c:v>
                </c:pt>
                <c:pt idx="8">
                  <c:v>0.4457</c:v>
                </c:pt>
                <c:pt idx="9">
                  <c:v>0.4894</c:v>
                </c:pt>
                <c:pt idx="10">
                  <c:v>0.4601</c:v>
                </c:pt>
                <c:pt idx="11">
                  <c:v>0.4491</c:v>
                </c:pt>
                <c:pt idx="12">
                  <c:v>0.5132</c:v>
                </c:pt>
                <c:pt idx="13">
                  <c:v>0.2116</c:v>
                </c:pt>
                <c:pt idx="14">
                  <c:v>0.4508</c:v>
                </c:pt>
                <c:pt idx="15">
                  <c:v>0.4446</c:v>
                </c:pt>
                <c:pt idx="16">
                  <c:v>0.4812</c:v>
                </c:pt>
                <c:pt idx="17">
                  <c:v>0.4528</c:v>
                </c:pt>
                <c:pt idx="18">
                  <c:v>0.4574</c:v>
                </c:pt>
                <c:pt idx="19">
                  <c:v>0.4382</c:v>
                </c:pt>
                <c:pt idx="20">
                  <c:v>0.4503</c:v>
                </c:pt>
              </c:numCache>
            </c:numRef>
          </c:yVal>
          <c:bubbleSize>
            <c:numRef>
              <c:f>Sheet1!$C$2:$C$22</c:f>
              <c:numCache>
                <c:formatCode>General</c:formatCode>
                <c:ptCount val="21"/>
                <c:pt idx="0">
                  <c:v>1603.5833333333333</c:v>
                </c:pt>
                <c:pt idx="1">
                  <c:v>1250.962962962963</c:v>
                </c:pt>
                <c:pt idx="2">
                  <c:v>2556.3571428571427</c:v>
                </c:pt>
                <c:pt idx="3">
                  <c:v>3170.375</c:v>
                </c:pt>
                <c:pt idx="4">
                  <c:v>2988.0338983050847</c:v>
                </c:pt>
                <c:pt idx="5">
                  <c:v>2029.1923076923076</c:v>
                </c:pt>
                <c:pt idx="6">
                  <c:v>1121.388888888889</c:v>
                </c:pt>
                <c:pt idx="7">
                  <c:v>2824.0666666666666</c:v>
                </c:pt>
                <c:pt idx="8">
                  <c:v>1489.388888888889</c:v>
                </c:pt>
                <c:pt idx="9">
                  <c:v>1025.0</c:v>
                </c:pt>
                <c:pt idx="10">
                  <c:v>1141.2222222222222</c:v>
                </c:pt>
                <c:pt idx="11">
                  <c:v>2045.0</c:v>
                </c:pt>
                <c:pt idx="12">
                  <c:v>2088.78125</c:v>
                </c:pt>
                <c:pt idx="13">
                  <c:v>27681.21212121212</c:v>
                </c:pt>
                <c:pt idx="14">
                  <c:v>4890.927272727272</c:v>
                </c:pt>
                <c:pt idx="15">
                  <c:v>2986.0</c:v>
                </c:pt>
                <c:pt idx="16">
                  <c:v>1302.878787878788</c:v>
                </c:pt>
                <c:pt idx="17">
                  <c:v>1233.5</c:v>
                </c:pt>
                <c:pt idx="18">
                  <c:v>770.59375</c:v>
                </c:pt>
                <c:pt idx="19">
                  <c:v>879.1818181818181</c:v>
                </c:pt>
                <c:pt idx="20">
                  <c:v>891.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82A9D0A-60AE-4ADA-A571-E8BA5CE80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B8D778D-4524-4BB3-B645-05B7A68C7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C34587C-8CF1-4FCA-805C-842B7004F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602164E-66FD-4344-94F9-CE16470C5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36ABFC8-D14E-4068-8282-11DEA5234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8079288-BD8E-4D89-9ED3-84C312CC9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2E5AAA0-87D2-4E28-BAFA-3EDF539C9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91EA621-08C9-4888-9727-684DB4BF3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E0E033D-CE17-46E9-97D5-9B564402C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8930311-695A-46D4-97C8-B01B9761F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BA7518A-5692-43A4-9C5B-2202D7DE0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FAF7DBF-2A67-429E-B2E7-B8E45EBB4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D9852D7-8BB1-4A42-B4E7-336A522C0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9FCD89F-AA18-466C-8844-8D31C39D9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550BD59D-7DC7-4EE5-A0C5-654BF9C26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CFC65D9-91AD-48E7-802D-16DDA301E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CBA2F44-E546-43F2-BB4D-20B16AB7E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EF27928-6343-4DCE-B441-DC1CB6182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D4C79C1-5E93-4023-A94B-E57BA402E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6EDD6A9-2797-4B76-A9E9-4F0C411F3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5A270A4-E490-463A-A761-98A5B7935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DE10197-422F-4023-B0A2-C68D7E859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4D4F3CD-A8D9-40D6-A75F-90956F9A08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95FDA5E-D085-4A16-BBEB-61DBE987E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A0D78B5-B935-4370-BFB7-8BD92E308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2AB874A-1B55-45D9-B47E-AFD40A1AC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A159459-22AE-4EC5-91F5-F11624200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CCCFF2F-4087-4BDA-9D83-759C08CCA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A8C6170-A157-4187-BBAC-BC868BC18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9D72734-D74E-4714-B987-75002BE98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85C6104-A93B-4D47-80BA-4134C33FF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FBED0E3-69BA-4106-AFFF-CE4D72E8C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39B74AB-76DC-4F7A-B4F7-DB71DD0C2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7CCA97E-C14B-4159-ABDD-E293E3760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DF2A498-7286-4184-8956-3A3E83E7C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7C47E6E-6CDC-4FE3-89EE-BE11DA7BB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1EE05DE-F6DA-4459-A1C8-38FF4C521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421C911-1372-4E97-AB17-84C3B9523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B0D23A5-9D10-462E-B5B9-AAC0AE7DA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17277AE-AA7C-455B-8323-A2AE9D982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733BC92-18C8-41FE-8854-AE80EA822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A3DB233-B319-4674-A8B0-16EF79E51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AC2274F-6087-4763-BA72-1E04CB91E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7F7861E-C48B-4145-899B-769BDE8AD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501229B-B59A-4373-9111-532EAEE04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F8B5480-EB90-4BBD-A3E5-C81A0D789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4F06AAA-788F-44B7-A9FD-2209175B9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28BE182-AB7C-40BE-A51B-2D3B5C8A3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CF2AD9F-87EF-4891-A294-FAEFCAF40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BE60C5B-06FF-4579-B7D0-8682AED3E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BE68AA3-ED4B-4C6E-9604-84D1596C33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518F87A-F52F-4396-BBEF-017998321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6AA5079-8BCE-49C4-AF0F-B4901F4C1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E403C29-DE25-42A6-89DA-F919178B9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B2DE0D3-7581-4EA9-A4B2-CE2BC1337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5974E1C-AC33-4039-BC41-29C004B7E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17F40D0-5DAC-4FF5-8486-13633E6CF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51</c:v>
                </c:pt>
                <c:pt idx="1">
                  <c:v>0.1186</c:v>
                </c:pt>
                <c:pt idx="2">
                  <c:v>0.1236</c:v>
                </c:pt>
                <c:pt idx="3">
                  <c:v>0.0177</c:v>
                </c:pt>
                <c:pt idx="4">
                  <c:v>0.0068</c:v>
                </c:pt>
                <c:pt idx="5">
                  <c:v>0.0292</c:v>
                </c:pt>
                <c:pt idx="6">
                  <c:v>0.1352</c:v>
                </c:pt>
                <c:pt idx="7">
                  <c:v>0.0342</c:v>
                </c:pt>
                <c:pt idx="8">
                  <c:v>0.0747</c:v>
                </c:pt>
                <c:pt idx="9">
                  <c:v>0.055</c:v>
                </c:pt>
                <c:pt idx="10">
                  <c:v>0.0447</c:v>
                </c:pt>
                <c:pt idx="11">
                  <c:v>0.0966</c:v>
                </c:pt>
                <c:pt idx="12">
                  <c:v>0.2121</c:v>
                </c:pt>
                <c:pt idx="13">
                  <c:v>0.015</c:v>
                </c:pt>
                <c:pt idx="14">
                  <c:v>0.1195</c:v>
                </c:pt>
              </c:numCache>
            </c:numRef>
          </c:xVal>
          <c:yVal>
            <c:numRef>
              <c:f>Sheet1!$B$2:$B$16</c:f>
              <c:numCache>
                <c:formatCode>General</c:formatCode>
                <c:ptCount val="15"/>
                <c:pt idx="0">
                  <c:v>0.5086</c:v>
                </c:pt>
                <c:pt idx="1">
                  <c:v>0.5245</c:v>
                </c:pt>
                <c:pt idx="2">
                  <c:v>0.4826</c:v>
                </c:pt>
                <c:pt idx="3">
                  <c:v>0.2843</c:v>
                </c:pt>
                <c:pt idx="4">
                  <c:v>0.2574</c:v>
                </c:pt>
                <c:pt idx="5">
                  <c:v>0.4519</c:v>
                </c:pt>
                <c:pt idx="6">
                  <c:v>0.4528</c:v>
                </c:pt>
                <c:pt idx="7">
                  <c:v>0.4492</c:v>
                </c:pt>
                <c:pt idx="8">
                  <c:v>0.4475</c:v>
                </c:pt>
                <c:pt idx="9">
                  <c:v>0.5078</c:v>
                </c:pt>
                <c:pt idx="10">
                  <c:v>0.2126</c:v>
                </c:pt>
                <c:pt idx="11">
                  <c:v>0.4508</c:v>
                </c:pt>
                <c:pt idx="12">
                  <c:v>0.464</c:v>
                </c:pt>
                <c:pt idx="13">
                  <c:v>0.4763</c:v>
                </c:pt>
                <c:pt idx="14">
                  <c:v>0.4526</c:v>
                </c:pt>
              </c:numCache>
            </c:numRef>
          </c:yVal>
          <c:bubbleSize>
            <c:numRef>
              <c:f>Sheet1!$C$2:$C$16</c:f>
              <c:numCache>
                <c:formatCode>General</c:formatCode>
                <c:ptCount val="15"/>
                <c:pt idx="0">
                  <c:v>93.03030303030303</c:v>
                </c:pt>
                <c:pt idx="1">
                  <c:v>66.04255319148936</c:v>
                </c:pt>
                <c:pt idx="2">
                  <c:v>181.44444444444446</c:v>
                </c:pt>
                <c:pt idx="3">
                  <c:v>239.525</c:v>
                </c:pt>
                <c:pt idx="4">
                  <c:v>238.43055555555554</c:v>
                </c:pt>
                <c:pt idx="5">
                  <c:v>221.125</c:v>
                </c:pt>
                <c:pt idx="6">
                  <c:v>216.78571428571425</c:v>
                </c:pt>
                <c:pt idx="7">
                  <c:v>133.1153846153846</c:v>
                </c:pt>
                <c:pt idx="8">
                  <c:v>92.63636363636364</c:v>
                </c:pt>
                <c:pt idx="9">
                  <c:v>105.62499999999999</c:v>
                </c:pt>
                <c:pt idx="10">
                  <c:v>1794.81</c:v>
                </c:pt>
                <c:pt idx="11">
                  <c:v>265.6666666666667</c:v>
                </c:pt>
                <c:pt idx="12">
                  <c:v>106.21052631578948</c:v>
                </c:pt>
                <c:pt idx="13">
                  <c:v>85.72</c:v>
                </c:pt>
                <c:pt idx="14">
                  <c:v>82.03030303030303</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BD815FA-23C2-4775-9C89-35C102BDC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4A55CFB-9F7E-4357-B662-C5C5C9DD6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E9E752F-B53D-4AB8-91E8-6CB89E148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3CA970D-684A-49A0-8667-350A94451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5D29A92-DEA6-4755-8CC4-C4246E301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C3D4EA3-1E8E-468A-892C-BCC0D4B02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73C34D4-E625-4673-BEF6-BF467AC06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6156D59-9D56-4E71-83DA-FA679DD7E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4D4606B-A949-4401-AA0A-3BFEFF8F7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347D927-5F6F-4BC5-AB96-2B2F81A16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59AA331-92F5-4D11-BD7D-8CFF18375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4C4A132-FD2B-4A79-979A-8564E4888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CD2909A-1C05-4E8C-9754-ECBD06CCA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E0AFDE8-851B-49BB-9A76-3B58C4FC1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EAE4380-25FB-4D2E-9D6A-2DF4C9EB06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8846B08-37F4-4D7A-B4E5-13128A09B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97D05D5D-5CF4-48DD-8314-736BF5082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DC88D6E-55AA-473A-8415-E0FDA5A58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594C7F6-17CF-44F1-83DE-16470A51A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3E7370F-FB52-461E-A54D-7814D96BAC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03EBDB5-CAD7-4004-A4DC-9366C5770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AFBA10A-B3AB-44E8-A420-1912EC348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AC77872-8073-4AFF-9273-FC61D25E8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223DD02-51FD-4D2C-8909-0763276DE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41622AE-47C0-465F-AA72-3B5EA247A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934666D-29A6-4F6B-BAF8-16B814164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CC87E57-FE9C-440B-A4AE-A97C974ED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56E15AB-0AFD-44F2-BD54-FC24572AC6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249054A-BE83-4585-9F14-18001598D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C4FD502-E114-4A0B-B12E-063F17E0B2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A61DA94-EFED-4E92-B2D6-B0E5F1EF0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57846A8-4AFA-493C-A4E3-0D40F2815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B845097-945E-4F4B-B84D-63BC6C4C5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5B575E1-80D6-4B8D-A5C5-DB54EE267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69454D5-B853-494E-85CC-5089ED6B8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1DAA6F3-2CFF-4E43-B268-52AB5FCF78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CDB644B-3187-4BC8-8D6E-962834084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44635A7-0DE0-4E49-8B2E-C1353D3BDB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C7FEFD4-28A3-4CA1-8269-1E83F785B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F4BD77F-57C8-4CDD-8A24-3B938FEC0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8EEDE47-A4BA-4F2D-B1AD-91E0F0126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DD72E55-68C0-456B-8972-3ED6D5A9C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FEA62EB-4DD5-4C29-BDEE-0731EFFD4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78971B0-2A30-4130-9D8F-49C6C79D9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F1C95B7-88B0-422B-9473-3AE8F4F4D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C866A70-F98B-46BA-9D66-988BC1A30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9314243-490E-4198-B83B-28CDFBEBA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A94B443-ADBB-4A53-9124-810DD369D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63D16C9-5B4D-477E-AF3C-1C7CC49E8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6125BFD-D1AA-4FA5-839C-B2BC1FD95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0C7A900-3DE3-47D7-9C17-EA5F5A503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3DBE066-925C-4B96-9479-1FC9AC7B8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364A912-1406-4919-9F16-9B7CCD4DC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802C84A-A0D4-4F68-9091-910CE4C81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6786CE4-A996-4F74-9E24-969B1462B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333D06C-EFE9-4D7E-A120-75B79995D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5555AE0-62DF-464B-AC8D-9CF5EBBF6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1099</c:v>
                </c:pt>
                <c:pt idx="1">
                  <c:v>0.0533</c:v>
                </c:pt>
                <c:pt idx="2">
                  <c:v>0.006</c:v>
                </c:pt>
                <c:pt idx="3">
                  <c:v>-0.0166</c:v>
                </c:pt>
                <c:pt idx="4">
                  <c:v>0.0751</c:v>
                </c:pt>
                <c:pt idx="5">
                  <c:v>0.0339</c:v>
                </c:pt>
                <c:pt idx="6">
                  <c:v>0.0969</c:v>
                </c:pt>
                <c:pt idx="7">
                  <c:v>0.0598</c:v>
                </c:pt>
                <c:pt idx="8">
                  <c:v>0.0639</c:v>
                </c:pt>
              </c:numCache>
            </c:numRef>
          </c:xVal>
          <c:yVal>
            <c:numRef>
              <c:f>Sheet1!$B$2:$B$10</c:f>
              <c:numCache>
                <c:formatCode>General</c:formatCode>
                <c:ptCount val="9"/>
                <c:pt idx="0">
                  <c:v>0.4843</c:v>
                </c:pt>
                <c:pt idx="1">
                  <c:v>0.286</c:v>
                </c:pt>
                <c:pt idx="2">
                  <c:v>0.2569</c:v>
                </c:pt>
                <c:pt idx="3">
                  <c:v>0.4507</c:v>
                </c:pt>
                <c:pt idx="4">
                  <c:v>0.5063</c:v>
                </c:pt>
                <c:pt idx="5">
                  <c:v>0.2129</c:v>
                </c:pt>
                <c:pt idx="6">
                  <c:v>0.4513</c:v>
                </c:pt>
                <c:pt idx="7">
                  <c:v>0.4791</c:v>
                </c:pt>
                <c:pt idx="8">
                  <c:v>0.4586</c:v>
                </c:pt>
              </c:numCache>
            </c:numRef>
          </c:yVal>
          <c:bubbleSize>
            <c:numRef>
              <c:f>Sheet1!$C$2:$C$10</c:f>
              <c:numCache>
                <c:formatCode>General</c:formatCode>
                <c:ptCount val="9"/>
                <c:pt idx="0">
                  <c:v>91.3125</c:v>
                </c:pt>
                <c:pt idx="1">
                  <c:v>92.72222222222223</c:v>
                </c:pt>
                <c:pt idx="2">
                  <c:v>165.33823529411765</c:v>
                </c:pt>
                <c:pt idx="3">
                  <c:v>128.18072289156626</c:v>
                </c:pt>
                <c:pt idx="4">
                  <c:v>73.23529411764706</c:v>
                </c:pt>
                <c:pt idx="5">
                  <c:v>1647.1</c:v>
                </c:pt>
                <c:pt idx="6">
                  <c:v>157.69642857142856</c:v>
                </c:pt>
                <c:pt idx="7">
                  <c:v>40.0</c:v>
                </c:pt>
                <c:pt idx="8">
                  <c:v>45.3947368421052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00C4558-833B-4167-A1A5-C0754D507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7B1D6D5-A987-43F9-9197-667699477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555B6BC-D9E8-4D8F-AF5C-F3D40F3E1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7ABCE8B-5B13-4177-917C-417D18FD1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2E1DADC-0B89-4F0E-86C2-231C13B45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BD4EF3C-4DAF-4C2D-9098-6B001EC3E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08FC361-E0B3-419E-B5E2-59314EC38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33F8E9B-DF13-4B80-8EB3-5915B21CF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B035C25-7EC7-4CE5-8332-5F53E3030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8A5FF50-6409-4CD1-BE16-A01BDA746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66F259E-E1EF-4C66-ABC2-0F2C0149E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FF72412-CB56-482F-8F1A-72160C434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C35AD72-BA43-42C2-BB82-5BC81727E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19200B5-E724-4B9E-99B9-EE4202395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85EE81F-0230-4707-AB77-5E9A9962E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6762007-D9DE-4FFD-8C2C-24ADC57C3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0D4AF29-2EC5-493D-9A5A-DE4922EB6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ED3E5AB-7D7A-4D86-A670-67FF6FFD92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CE1700A-882A-4C68-81FE-EBBFB2D13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6069BCB-EFEF-472F-B7EA-35FAC49F9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8F4E183-F526-4B1C-A774-61D14DD5D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B72D193-311E-4431-866C-0BF6D8241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4917C83-4F7A-43EE-AFF9-A43C9F911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BE643C7-F37A-4D95-8DF0-4DE11FE82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BAD3C33-D9EC-48A1-8B4D-C3E7EC2F2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B597778-68ED-4D6B-A8D8-F7BF83095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12B1960-147F-49AC-824E-72EB21571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FFDB36C-DEDB-41D1-A02D-1332A22DA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19BB8D3-C305-48A1-8298-BEF3A2E8B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66E53F8-409B-4D72-AF50-C578CFE257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9A938FE-031C-4F12-AD4E-74DA42F9D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1DE5FCF-AB30-43E6-AC78-42018B4BA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094D642-5698-4858-923A-E2FCE7C7D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CC53C10-3BD2-4C7E-8125-4B93EB1C7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4063F96-EC5A-4A90-A7BB-B58735FD5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A521F14-9E15-47EC-A914-544ECBF7E2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A94A7FA-016E-4AFD-B956-73F7EAA89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D777858-EA8A-46BE-A68D-34A0AAB8EE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6CA4DF5-F41F-435C-B871-DDC3281C5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6D0F86E-4BB4-418C-A238-04EBD4E91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632A12E-6415-4D8C-99C8-FDF781902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9BE8D41-BDF5-4B28-924C-FC501C3AB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ABE12E0-0442-4523-9AB0-E5BD071E8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9535BDD-EE17-4C18-95BA-50061E891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294A53C-A44D-4649-B133-BF7BAE920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9F4082E-DF71-4878-A103-0064AD5E0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77E322B-985C-468D-82AB-4EF9F4CFF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26982F6-3F6D-4784-8350-369572F0A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67136F9-97C2-43A5-983D-529054FA3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F923443-F38D-4E46-8815-945B0A78D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5D18141-36AC-49D9-8608-C58B6CF02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3635810-F336-4664-BF13-C62001D7D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6801B9E-AC4E-4E66-AF0A-6C731FF02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A7F3B74F-1CB5-4685-A257-D3AB47F9D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D60688D-9E91-4CF0-B390-ED33DF585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6C971BB-88D5-477C-AFB4-FCDF84AC7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22B8FED-70DD-4D31-87F1-4B6BFFE79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0.0908</c:v>
                </c:pt>
                <c:pt idx="1">
                  <c:v>0.0826</c:v>
                </c:pt>
                <c:pt idx="2">
                  <c:v>0.0933</c:v>
                </c:pt>
                <c:pt idx="3">
                  <c:v>0.0152</c:v>
                </c:pt>
                <c:pt idx="4">
                  <c:v>0.0021</c:v>
                </c:pt>
                <c:pt idx="5">
                  <c:v>-0.0227</c:v>
                </c:pt>
                <c:pt idx="6">
                  <c:v>0.1225</c:v>
                </c:pt>
                <c:pt idx="7">
                  <c:v>0.0089</c:v>
                </c:pt>
                <c:pt idx="8">
                  <c:v>0.0624</c:v>
                </c:pt>
                <c:pt idx="9">
                  <c:v>0.0798</c:v>
                </c:pt>
                <c:pt idx="10">
                  <c:v>0.1055</c:v>
                </c:pt>
                <c:pt idx="11">
                  <c:v>0.0324</c:v>
                </c:pt>
                <c:pt idx="12">
                  <c:v>0.0439</c:v>
                </c:pt>
                <c:pt idx="13">
                  <c:v>0.0867</c:v>
                </c:pt>
                <c:pt idx="14">
                  <c:v>0.1168</c:v>
                </c:pt>
                <c:pt idx="15">
                  <c:v>0.0516</c:v>
                </c:pt>
                <c:pt idx="16">
                  <c:v>0.1369</c:v>
                </c:pt>
                <c:pt idx="17">
                  <c:v>0.0328</c:v>
                </c:pt>
                <c:pt idx="18">
                  <c:v>0.0508</c:v>
                </c:pt>
                <c:pt idx="19">
                  <c:v>0.0705</c:v>
                </c:pt>
              </c:numCache>
            </c:numRef>
          </c:xVal>
          <c:yVal>
            <c:numRef>
              <c:f>Sheet1!$B$2:$B$21</c:f>
              <c:numCache>
                <c:formatCode>General</c:formatCode>
                <c:ptCount val="20"/>
                <c:pt idx="0">
                  <c:v>0.5086</c:v>
                </c:pt>
                <c:pt idx="1">
                  <c:v>0.522</c:v>
                </c:pt>
                <c:pt idx="2">
                  <c:v>0.485</c:v>
                </c:pt>
                <c:pt idx="3">
                  <c:v>0.284</c:v>
                </c:pt>
                <c:pt idx="4">
                  <c:v>0.2566</c:v>
                </c:pt>
                <c:pt idx="5">
                  <c:v>0.4514</c:v>
                </c:pt>
                <c:pt idx="6">
                  <c:v>0.4528</c:v>
                </c:pt>
                <c:pt idx="7">
                  <c:v>0.4492</c:v>
                </c:pt>
                <c:pt idx="8">
                  <c:v>0.4462</c:v>
                </c:pt>
                <c:pt idx="9">
                  <c:v>0.4839</c:v>
                </c:pt>
                <c:pt idx="10">
                  <c:v>0.468</c:v>
                </c:pt>
                <c:pt idx="11">
                  <c:v>0.5099</c:v>
                </c:pt>
                <c:pt idx="12">
                  <c:v>0.212</c:v>
                </c:pt>
                <c:pt idx="13">
                  <c:v>0.4513</c:v>
                </c:pt>
                <c:pt idx="14">
                  <c:v>0.4556</c:v>
                </c:pt>
                <c:pt idx="15">
                  <c:v>0.4831</c:v>
                </c:pt>
                <c:pt idx="16">
                  <c:v>0.4528</c:v>
                </c:pt>
                <c:pt idx="17">
                  <c:v>0.4548</c:v>
                </c:pt>
                <c:pt idx="18">
                  <c:v>0.4382</c:v>
                </c:pt>
                <c:pt idx="19">
                  <c:v>0.4489</c:v>
                </c:pt>
              </c:numCache>
            </c:numRef>
          </c:yVal>
          <c:bubbleSize>
            <c:numRef>
              <c:f>Sheet1!$C$2:$C$21</c:f>
              <c:numCache>
                <c:formatCode>General</c:formatCode>
                <c:ptCount val="20"/>
                <c:pt idx="0">
                  <c:v>653.5333333333333</c:v>
                </c:pt>
                <c:pt idx="1">
                  <c:v>442.8888888888889</c:v>
                </c:pt>
                <c:pt idx="2">
                  <c:v>1009.75</c:v>
                </c:pt>
                <c:pt idx="3">
                  <c:v>1152.0666666666666</c:v>
                </c:pt>
                <c:pt idx="4">
                  <c:v>999.2452830188679</c:v>
                </c:pt>
                <c:pt idx="5">
                  <c:v>714.1290322580645</c:v>
                </c:pt>
                <c:pt idx="6">
                  <c:v>1150.3333333333333</c:v>
                </c:pt>
                <c:pt idx="7">
                  <c:v>745.8888888888889</c:v>
                </c:pt>
                <c:pt idx="8">
                  <c:v>474.61538461538464</c:v>
                </c:pt>
                <c:pt idx="9">
                  <c:v>248.99999999999997</c:v>
                </c:pt>
                <c:pt idx="10">
                  <c:v>628.0</c:v>
                </c:pt>
                <c:pt idx="11">
                  <c:v>760.28</c:v>
                </c:pt>
                <c:pt idx="12">
                  <c:v>7373.949494949495</c:v>
                </c:pt>
                <c:pt idx="13">
                  <c:v>1265.2941176470588</c:v>
                </c:pt>
                <c:pt idx="14">
                  <c:v>1255.6666666666667</c:v>
                </c:pt>
                <c:pt idx="15">
                  <c:v>494.5357142857142</c:v>
                </c:pt>
                <c:pt idx="16">
                  <c:v>556.3333333333334</c:v>
                </c:pt>
                <c:pt idx="17">
                  <c:v>297.49999999999994</c:v>
                </c:pt>
                <c:pt idx="18">
                  <c:v>254.6</c:v>
                </c:pt>
                <c:pt idx="19">
                  <c:v>535.0</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896826E-3A98-4C5D-92EB-89D916390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E626D8E-26FE-4313-854D-5400CB42F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0B00EBF-5AC3-467C-8258-DE10235F6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8FCBFAB-244F-43EB-B278-EF47B59E7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DDC56B2-E940-4D61-8E19-2563460E9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BF37A97-C62B-477B-9764-688007056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1F9C328-3682-46BD-9BC4-5C3D4E454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81C96A3-CD74-488D-B036-722CDEEEF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0BB333F-554C-4835-9BB1-847158DE9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8DAA0A5-B821-47B0-8784-DF1063478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81BD7B2-372F-49A3-96F9-F9FB8968A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DEBD006-18B7-4E93-B2BB-DD3AAF091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E975282-52FA-4768-8DD1-31C27CE0C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6F641D8-475D-4609-8683-CF0A92F8A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26B953B-0A54-4693-AA46-13B2D20B8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88137C2-CF9E-49D0-8C05-5328E5205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3DD397B-EEC7-4AC6-AB54-D02A19B24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A4B572C-E1C3-4BE3-AFF9-6D084F88D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71A6B77-E2BB-4794-AAF3-0667899E6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73271BC-7BBA-421D-98ED-16AB0300E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A2E5D0C-D192-442B-9F5E-2AA2D021E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AF64110-5D33-491C-BDDD-7E7A755B2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BB7690C-B8A7-493E-A5A2-3C9563579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C68FA0C-9F2E-4912-817F-4BF1FE13D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3222ACD-A5AD-45F3-AAE0-C3B979E5B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F7A9358-443E-4F21-9623-CAE5B4F80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C16259C-235B-4A16-B9AC-8B3B7B348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8411E10-B1E0-4D1C-8E15-5DBC3E9D9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B10F10D-EC36-4171-81B1-941AE4B7E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F7D2DEC-F49C-44E2-A5E9-FCD9990DE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6E59753-3531-4950-BCCC-F08F60B71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F65D5BD-4B81-429D-A51B-5260C9DA05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B743C2E-0CC2-478A-930C-F18E02197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30FB8C8-DD35-47AF-BFC8-687233EB9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E7D14CA-4A2C-48DD-AE11-CF5B795A1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7B8D86D-9A10-4249-A380-C4EC6E820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299BB74-7E66-4A12-BE21-F7FE3F560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6F910A3-B87C-43C8-A67A-4B1C38323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4F0086E-0B88-4E2E-B27C-2D63C6A83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F0BCD66-474E-4321-8D72-3FA13D2A2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2D6115E-1618-4F10-938E-138DF51CE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6352663-A064-4DBA-ACE9-B1D04A716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A84A404-B0F5-4FDE-AA49-85E7474403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0896E39-F09A-4991-81A2-9F1759811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BA031AB-BA2C-4FEF-92A4-E00EC2584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AE535A2-2CA6-46CB-B645-06DDAFE29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2731AC0-96DA-40E0-8977-A8A2D4254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124BF25-044E-4FA7-AA22-F782282A7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F4A4B46-A008-4440-9FD8-4A47363F0D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C420AC1-C701-4B70-BF37-EBA43449B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0EDDA70-EFC3-433F-9DD1-7F2891788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3FF80CC-C207-47BC-94AA-802E6C32A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E847987-0961-4638-8BFE-0A77C848B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A1694D0-FDE0-45A8-B006-290644C6E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627CC72-96DD-4FD6-A6DC-2A5AF108B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33C89AB-627A-41FB-AAEF-08BD4D40C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7BC9E8E-2214-4DD9-BD4D-C0F1A04DB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0.0934</c:v>
                </c:pt>
                <c:pt idx="1">
                  <c:v>0.0867</c:v>
                </c:pt>
                <c:pt idx="2">
                  <c:v>0.1007</c:v>
                </c:pt>
                <c:pt idx="3">
                  <c:v>0.0236</c:v>
                </c:pt>
                <c:pt idx="4">
                  <c:v>0.0031</c:v>
                </c:pt>
                <c:pt idx="5">
                  <c:v>-0.0308</c:v>
                </c:pt>
                <c:pt idx="6">
                  <c:v>0.1338</c:v>
                </c:pt>
                <c:pt idx="7">
                  <c:v>0.0142</c:v>
                </c:pt>
                <c:pt idx="8">
                  <c:v>0.0493</c:v>
                </c:pt>
                <c:pt idx="9">
                  <c:v>0.1539</c:v>
                </c:pt>
                <c:pt idx="10">
                  <c:v>0.0322</c:v>
                </c:pt>
                <c:pt idx="11">
                  <c:v>0.0395</c:v>
                </c:pt>
                <c:pt idx="12">
                  <c:v>0.0833</c:v>
                </c:pt>
                <c:pt idx="13">
                  <c:v>0.0978</c:v>
                </c:pt>
                <c:pt idx="14">
                  <c:v>0.0704</c:v>
                </c:pt>
                <c:pt idx="15">
                  <c:v>0.0479</c:v>
                </c:pt>
                <c:pt idx="16">
                  <c:v>0.0683</c:v>
                </c:pt>
              </c:numCache>
            </c:numRef>
          </c:xVal>
          <c:yVal>
            <c:numRef>
              <c:f>Sheet1!$B$2:$B$18</c:f>
              <c:numCache>
                <c:formatCode>General</c:formatCode>
                <c:ptCount val="17"/>
                <c:pt idx="0">
                  <c:v>0.5086</c:v>
                </c:pt>
                <c:pt idx="1">
                  <c:v>0.522</c:v>
                </c:pt>
                <c:pt idx="2">
                  <c:v>0.4792</c:v>
                </c:pt>
                <c:pt idx="3">
                  <c:v>0.2841</c:v>
                </c:pt>
                <c:pt idx="4">
                  <c:v>0.2562</c:v>
                </c:pt>
                <c:pt idx="5">
                  <c:v>0.4509</c:v>
                </c:pt>
                <c:pt idx="6">
                  <c:v>0.4528</c:v>
                </c:pt>
                <c:pt idx="7">
                  <c:v>0.4492</c:v>
                </c:pt>
                <c:pt idx="8">
                  <c:v>0.4456</c:v>
                </c:pt>
                <c:pt idx="9">
                  <c:v>0.452</c:v>
                </c:pt>
                <c:pt idx="10">
                  <c:v>0.5112</c:v>
                </c:pt>
                <c:pt idx="11">
                  <c:v>0.2118</c:v>
                </c:pt>
                <c:pt idx="12">
                  <c:v>0.451</c:v>
                </c:pt>
                <c:pt idx="13">
                  <c:v>0.4285</c:v>
                </c:pt>
                <c:pt idx="14">
                  <c:v>0.4818</c:v>
                </c:pt>
                <c:pt idx="15">
                  <c:v>0.4595</c:v>
                </c:pt>
                <c:pt idx="16">
                  <c:v>0.4494</c:v>
                </c:pt>
              </c:numCache>
            </c:numRef>
          </c:yVal>
          <c:bubbleSize>
            <c:numRef>
              <c:f>Sheet1!$C$2:$C$18</c:f>
              <c:numCache>
                <c:formatCode>General</c:formatCode>
                <c:ptCount val="17"/>
                <c:pt idx="0">
                  <c:v>226.33333333333334</c:v>
                </c:pt>
                <c:pt idx="1">
                  <c:v>210.625</c:v>
                </c:pt>
                <c:pt idx="2">
                  <c:v>456.8421052631579</c:v>
                </c:pt>
                <c:pt idx="3">
                  <c:v>461.2857142857143</c:v>
                </c:pt>
                <c:pt idx="4">
                  <c:v>516.92</c:v>
                </c:pt>
                <c:pt idx="5">
                  <c:v>361.032967032967</c:v>
                </c:pt>
                <c:pt idx="6">
                  <c:v>409.5833333333333</c:v>
                </c:pt>
                <c:pt idx="7">
                  <c:v>378.9047619047619</c:v>
                </c:pt>
                <c:pt idx="8">
                  <c:v>256.3809523809524</c:v>
                </c:pt>
                <c:pt idx="9">
                  <c:v>176.1875</c:v>
                </c:pt>
                <c:pt idx="10">
                  <c:v>364.9555555555556</c:v>
                </c:pt>
                <c:pt idx="11">
                  <c:v>6289.38</c:v>
                </c:pt>
                <c:pt idx="12">
                  <c:v>791.8985507246376</c:v>
                </c:pt>
                <c:pt idx="13">
                  <c:v>578.6</c:v>
                </c:pt>
                <c:pt idx="14">
                  <c:v>272.1875</c:v>
                </c:pt>
                <c:pt idx="15">
                  <c:v>103.70454545454545</c:v>
                </c:pt>
                <c:pt idx="16">
                  <c:v>210.5217391304347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89E4EF3-8304-4F0C-85EF-9810DF00D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B455338-D081-4BCD-BF08-9E64BB7F2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A7677CC-A762-42E2-B8D1-0FC60AC7F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EEE4EBF-5B70-4F26-92CF-B14B95185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C6A6B8A-84B7-434D-8164-08014C705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B5C8ECD-8F96-405E-8296-E513CA75B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15C06A8-A991-4411-8AA6-5574E14104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6FD9512-CE17-4E4A-881C-2ECC57A1C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4428C83-7E65-434B-A6F1-4E104B4E4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67E9702-6588-4BFF-89B6-B9C9AB15A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8F1611C-3136-41A2-AB63-46C314BA2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9C87794-40A9-48AE-B3A7-52D679D02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7026FBF-91B7-4606-A659-02F5941E0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21FB170-1D5C-48E0-9006-22E59C92A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49AC72B-A9CC-45A0-8B03-43C9BFC09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C42CF2D-7065-49DA-80AC-2F600CA44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68F4C58-5F96-4205-8734-E29C554B2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9BBF253-299A-4101-BFF6-5FE80FD98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BD3D54E-6570-4BEA-A9CE-65A074E9E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4D72446-ACEC-407F-BB46-BD36169DB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5DF9D5A-C870-4CE0-8F58-D1BC469F0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24097B0-0C2E-44CC-BFAB-75FDBCB3C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FA4BBB7-197C-4BA3-9706-BF9ECF1E9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5B62DEB-7452-4284-BE86-B144758DF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925D732-18FA-4624-8829-991A20F25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07BFE4A-5F12-42FF-B4B4-4DD269913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2E3061E-DF2D-4323-AC23-1F91442D1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869D682-1B8C-478A-B30E-169E3EC48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0625FB3-F1EE-4BBA-83EC-FF3D0E65E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B7079E4-AD10-4DE7-9285-32502B39F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5A4FD70-6279-4364-8121-E75DCDC9B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2A1EF00-65B1-4C5A-8A5E-2C394C897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D111646-DEB4-4774-965F-57FB643D95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2E2F1D5-1734-4012-9E5F-D45EC48A19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7131A71-CDC7-44AF-9DF6-35891C03F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3FB0524-3622-4E21-A84F-DAAEE6607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7EB3D03-5D70-4AA2-B487-ED782DDD5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899371C-BE44-4575-AB8F-4ED47CF2D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789D88C-2F63-49DF-82D8-8466DA77D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AF60FD5-09AC-46EB-B95C-397EDE315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1A355A2-3EE6-4912-B522-4B8BB5B20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1E8D2D9-B21E-4A29-AB8D-91792DFDD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B4F3B63-F5F4-46A1-A01B-0DF06421B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92B1FF3-0C58-42A6-9BB9-30749A0FD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12C3509-E832-46A8-BD93-12AE12A8F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AEEE63C-5457-4DEB-98BA-432AE8957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EDD5DBE-146C-4B90-85E8-E885F92B9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93AEBB5-5E58-472A-9872-A82456A5B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5F5D4D1-3700-47FD-8A48-18B2AA205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82127F4-0333-429B-A69D-6ACEEE834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2B2CF01-17BE-4AE6-9B63-13BA363C7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D64F7EF-18B9-4B4E-BB2A-0C604AD7C5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52B0DD7-2B9F-4B43-AA9C-D64514969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6C7DC2D-28F4-4F41-9274-BA47ABAC7A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F5D95A3-A103-4507-B3BF-36A12D2A9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FFE8939-D7D5-46F8-B600-E46D52EA5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ACCE316-938F-452F-AEF0-0BC619EA3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0.0856</c:v>
                </c:pt>
                <c:pt idx="1">
                  <c:v>0.0831</c:v>
                </c:pt>
                <c:pt idx="2">
                  <c:v>0.0814</c:v>
                </c:pt>
                <c:pt idx="3">
                  <c:v>0.0119</c:v>
                </c:pt>
                <c:pt idx="4">
                  <c:v>0.0003</c:v>
                </c:pt>
                <c:pt idx="5">
                  <c:v>-0.022</c:v>
                </c:pt>
                <c:pt idx="6">
                  <c:v>0.122</c:v>
                </c:pt>
                <c:pt idx="7">
                  <c:v>0.0105</c:v>
                </c:pt>
                <c:pt idx="8">
                  <c:v>0.0559</c:v>
                </c:pt>
                <c:pt idx="9">
                  <c:v>0.133</c:v>
                </c:pt>
                <c:pt idx="10">
                  <c:v>0.1511</c:v>
                </c:pt>
                <c:pt idx="11">
                  <c:v>0.0346</c:v>
                </c:pt>
                <c:pt idx="12">
                  <c:v>0.0428</c:v>
                </c:pt>
                <c:pt idx="13">
                  <c:v>0.0845</c:v>
                </c:pt>
                <c:pt idx="14">
                  <c:v>0.0997</c:v>
                </c:pt>
                <c:pt idx="15">
                  <c:v>0.0544</c:v>
                </c:pt>
                <c:pt idx="16">
                  <c:v>0.1585</c:v>
                </c:pt>
                <c:pt idx="17">
                  <c:v>-0.0143</c:v>
                </c:pt>
                <c:pt idx="18">
                  <c:v>0.0433</c:v>
                </c:pt>
                <c:pt idx="19">
                  <c:v>0.131</c:v>
                </c:pt>
              </c:numCache>
            </c:numRef>
          </c:xVal>
          <c:yVal>
            <c:numRef>
              <c:f>Sheet1!$B$2:$B$21</c:f>
              <c:numCache>
                <c:formatCode>General</c:formatCode>
                <c:ptCount val="20"/>
                <c:pt idx="0">
                  <c:v>0.5086</c:v>
                </c:pt>
                <c:pt idx="1">
                  <c:v>0.5239</c:v>
                </c:pt>
                <c:pt idx="2">
                  <c:v>0.4835</c:v>
                </c:pt>
                <c:pt idx="3">
                  <c:v>0.2846</c:v>
                </c:pt>
                <c:pt idx="4">
                  <c:v>0.2565</c:v>
                </c:pt>
                <c:pt idx="5">
                  <c:v>0.4509</c:v>
                </c:pt>
                <c:pt idx="6">
                  <c:v>0.4528</c:v>
                </c:pt>
                <c:pt idx="7">
                  <c:v>0.4492</c:v>
                </c:pt>
                <c:pt idx="8">
                  <c:v>0.4486</c:v>
                </c:pt>
                <c:pt idx="9">
                  <c:v>0.4889</c:v>
                </c:pt>
                <c:pt idx="10">
                  <c:v>0.4491</c:v>
                </c:pt>
                <c:pt idx="11">
                  <c:v>0.5111</c:v>
                </c:pt>
                <c:pt idx="12">
                  <c:v>0.2118</c:v>
                </c:pt>
                <c:pt idx="13">
                  <c:v>0.4514</c:v>
                </c:pt>
                <c:pt idx="14">
                  <c:v>0.451</c:v>
                </c:pt>
                <c:pt idx="15">
                  <c:v>0.4829</c:v>
                </c:pt>
                <c:pt idx="16">
                  <c:v>0.4528</c:v>
                </c:pt>
                <c:pt idx="17">
                  <c:v>0.4575</c:v>
                </c:pt>
                <c:pt idx="18">
                  <c:v>0.4382</c:v>
                </c:pt>
                <c:pt idx="19">
                  <c:v>0.4547</c:v>
                </c:pt>
              </c:numCache>
            </c:numRef>
          </c:yVal>
          <c:bubbleSize>
            <c:numRef>
              <c:f>Sheet1!$C$2:$C$21</c:f>
              <c:numCache>
                <c:formatCode>General</c:formatCode>
                <c:ptCount val="20"/>
                <c:pt idx="0">
                  <c:v>642.0</c:v>
                </c:pt>
                <c:pt idx="1">
                  <c:v>464.65</c:v>
                </c:pt>
                <c:pt idx="2">
                  <c:v>1263.2</c:v>
                </c:pt>
                <c:pt idx="3">
                  <c:v>1184.0</c:v>
                </c:pt>
                <c:pt idx="4">
                  <c:v>1188.088888888889</c:v>
                </c:pt>
                <c:pt idx="5">
                  <c:v>658.1272727272726</c:v>
                </c:pt>
                <c:pt idx="6">
                  <c:v>1187.8333333333333</c:v>
                </c:pt>
                <c:pt idx="7">
                  <c:v>1202.6</c:v>
                </c:pt>
                <c:pt idx="8">
                  <c:v>783.4285714285713</c:v>
                </c:pt>
                <c:pt idx="9">
                  <c:v>839.75</c:v>
                </c:pt>
                <c:pt idx="10">
                  <c:v>818.25</c:v>
                </c:pt>
                <c:pt idx="11">
                  <c:v>800.1818181818181</c:v>
                </c:pt>
                <c:pt idx="12">
                  <c:v>7707.412371134021</c:v>
                </c:pt>
                <c:pt idx="13">
                  <c:v>2260.529411764706</c:v>
                </c:pt>
                <c:pt idx="14">
                  <c:v>790.3333333333334</c:v>
                </c:pt>
                <c:pt idx="15">
                  <c:v>480.29411764705884</c:v>
                </c:pt>
                <c:pt idx="16">
                  <c:v>663.75</c:v>
                </c:pt>
                <c:pt idx="17">
                  <c:v>357.30232558139534</c:v>
                </c:pt>
                <c:pt idx="18">
                  <c:v>383.2307692307692</c:v>
                </c:pt>
                <c:pt idx="19">
                  <c:v>83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F2DDDDF-4363-4A83-AAE9-D525BA233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D3779C1-BD66-4795-B891-1610BD058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16152FA-D74E-4B86-81D4-F59FD9B963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F0532D7-62DA-4DBE-9A1B-CB250A181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25E2EC6-6095-4D16-95E0-080F7C1B2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AE4C165-BB7F-40BC-B22C-095E59A32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3D3334C-8A60-47A0-9253-1E1ECC3BB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6EE3370-D978-4591-925A-F410F3384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4043C86-EEA4-43B3-BD0B-AB9E34044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D1C4278-9CB9-46E9-A760-6174A0EB40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F242BA9-8F61-4A0B-B78B-3D35F332E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5BC595F-03DF-4FC3-A6A4-8C2BC7A95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7EB922C-4346-4864-840E-A17AE58F9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B3F5A83-C5BF-42F4-AD11-F63336866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1FB9AA7-73BE-4203-BA55-C9495132B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F378F13-0688-4B4D-8C8E-9FF3EF5AE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9952AC0-F4F7-4E39-8002-7D39B310D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06D0B64-D361-415A-AE65-DFA20EE57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2FD5BF5-D38F-4A70-B304-C3B905DB6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3578709-1EC4-454B-9F18-17D66D975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C095F09-3219-4D6C-B0A2-E1DA3D7BC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CCD8C7F-2676-4232-A226-49E863FC9B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FCBB0A9-FDF3-40EF-BC87-32F16A821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19150E0-BF30-442B-983C-F28D4E92E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244EF0D-48D0-4C8F-BA55-7FD69EF6C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3B2E30A-6779-4AFA-AEE4-8BDC10AE94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EB0C42F-AB36-4FA8-A68F-1E759597B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547F1B6-D03E-475F-9415-9D1810843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AF8E62C-F39D-4980-8AEC-36BB7ED09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5C74994-A22C-4DF4-A81A-F370972C1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766087F-F96B-4C3A-85B6-F4F5F6AA3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821A56B-EBD5-4CE1-B3C9-89290869D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47385F8-9574-4B13-AE50-10BADF5E9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A11BF44-91F3-49DC-BE7E-4010B0A73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62366A8-A69C-47C0-BABD-5E92F8C5E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E9046C6-73B3-45C2-A278-1BB9C4A03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07ACC90-9C29-497C-A809-70E5934B3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77D44A1-D677-4916-B325-48AA129EF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CDD6D00-BA98-4A6D-95BB-156043A26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3D5FA9C-B3B2-4FD9-A423-584CE15CC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17283AD-792C-46FB-9A7C-3B8A83276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FBFEE05-4386-4D63-B386-4D9D069A4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141CE89-2A62-49FD-83ED-7468DCCB0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084634E-5F86-436A-B103-00C672CDA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ACE51C7-E62F-4771-9642-81AC46F67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E74F4D7-05AA-4647-BA46-C0F40F3A7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352CFCEC-3474-446B-BEB1-8CE195324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B679156-5BF7-4154-9B1D-BD14150A0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77737FE-CD94-4EFF-A66C-5E2E75510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E2F0B3C-EE50-4E59-B581-B44CC0D12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DBE631A-ACAE-4372-B494-422C5173D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C131429-00EC-4A29-9942-01E9C1BCF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A571EE6-20B0-47CF-9BF4-078AD0EE7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FAF0161-BE27-493B-9484-FB850770F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7CA3599-BA62-4E80-86EB-23B62862E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F698E60-1C01-412B-BB9F-3D456DD5D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A13854C-6C9B-4D0B-9045-F0B6391BC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0</c:f>
              <c:numCache>
                <c:formatCode>General</c:formatCode>
                <c:ptCount val="19"/>
                <c:pt idx="0">
                  <c:v>0.0883</c:v>
                </c:pt>
                <c:pt idx="1">
                  <c:v>0.0738</c:v>
                </c:pt>
                <c:pt idx="2">
                  <c:v>0.088</c:v>
                </c:pt>
                <c:pt idx="3">
                  <c:v>0.0056</c:v>
                </c:pt>
                <c:pt idx="4">
                  <c:v>0.0016</c:v>
                </c:pt>
                <c:pt idx="5">
                  <c:v>-0.0269</c:v>
                </c:pt>
                <c:pt idx="6">
                  <c:v>0.1397</c:v>
                </c:pt>
                <c:pt idx="7">
                  <c:v>0.0142</c:v>
                </c:pt>
                <c:pt idx="8">
                  <c:v>0.0459</c:v>
                </c:pt>
                <c:pt idx="9">
                  <c:v>0.1424</c:v>
                </c:pt>
                <c:pt idx="10">
                  <c:v>0.1569</c:v>
                </c:pt>
                <c:pt idx="11">
                  <c:v>0.0297</c:v>
                </c:pt>
                <c:pt idx="12">
                  <c:v>0.04</c:v>
                </c:pt>
                <c:pt idx="13">
                  <c:v>0.0826</c:v>
                </c:pt>
                <c:pt idx="14">
                  <c:v>0.0988</c:v>
                </c:pt>
                <c:pt idx="15">
                  <c:v>0.061</c:v>
                </c:pt>
                <c:pt idx="16">
                  <c:v>0.0587</c:v>
                </c:pt>
                <c:pt idx="17">
                  <c:v>0.0872</c:v>
                </c:pt>
                <c:pt idx="18">
                  <c:v>0.0921</c:v>
                </c:pt>
              </c:numCache>
            </c:numRef>
          </c:xVal>
          <c:yVal>
            <c:numRef>
              <c:f>Sheet1!$B$2:$B$20</c:f>
              <c:numCache>
                <c:formatCode>General</c:formatCode>
                <c:ptCount val="19"/>
                <c:pt idx="0">
                  <c:v>0.5086</c:v>
                </c:pt>
                <c:pt idx="1">
                  <c:v>0.5209</c:v>
                </c:pt>
                <c:pt idx="2">
                  <c:v>0.4848</c:v>
                </c:pt>
                <c:pt idx="3">
                  <c:v>0.2846</c:v>
                </c:pt>
                <c:pt idx="4">
                  <c:v>0.2561</c:v>
                </c:pt>
                <c:pt idx="5">
                  <c:v>0.4509</c:v>
                </c:pt>
                <c:pt idx="6">
                  <c:v>0.4528</c:v>
                </c:pt>
                <c:pt idx="7">
                  <c:v>0.4492</c:v>
                </c:pt>
                <c:pt idx="8">
                  <c:v>0.4474</c:v>
                </c:pt>
                <c:pt idx="9">
                  <c:v>0.4895</c:v>
                </c:pt>
                <c:pt idx="10">
                  <c:v>0.4652</c:v>
                </c:pt>
                <c:pt idx="11">
                  <c:v>0.5125</c:v>
                </c:pt>
                <c:pt idx="12">
                  <c:v>0.212</c:v>
                </c:pt>
                <c:pt idx="13">
                  <c:v>0.4509</c:v>
                </c:pt>
                <c:pt idx="14">
                  <c:v>0.4555</c:v>
                </c:pt>
                <c:pt idx="15">
                  <c:v>0.4806</c:v>
                </c:pt>
                <c:pt idx="16">
                  <c:v>0.4551</c:v>
                </c:pt>
                <c:pt idx="17">
                  <c:v>0.4382</c:v>
                </c:pt>
                <c:pt idx="18">
                  <c:v>0.4516</c:v>
                </c:pt>
              </c:numCache>
            </c:numRef>
          </c:yVal>
          <c:bubbleSize>
            <c:numRef>
              <c:f>Sheet1!$C$2:$C$20</c:f>
              <c:numCache>
                <c:formatCode>General</c:formatCode>
                <c:ptCount val="19"/>
                <c:pt idx="0">
                  <c:v>624.6</c:v>
                </c:pt>
                <c:pt idx="1">
                  <c:v>500.30434782608694</c:v>
                </c:pt>
                <c:pt idx="2">
                  <c:v>946.8461538461538</c:v>
                </c:pt>
                <c:pt idx="3">
                  <c:v>1297.4705882352941</c:v>
                </c:pt>
                <c:pt idx="4">
                  <c:v>1071.767857142857</c:v>
                </c:pt>
                <c:pt idx="5">
                  <c:v>779.1688311688312</c:v>
                </c:pt>
                <c:pt idx="6">
                  <c:v>1504.1666666666667</c:v>
                </c:pt>
                <c:pt idx="7">
                  <c:v>741.2777777777778</c:v>
                </c:pt>
                <c:pt idx="8">
                  <c:v>572.5882352941177</c:v>
                </c:pt>
                <c:pt idx="9">
                  <c:v>391.6666666666667</c:v>
                </c:pt>
                <c:pt idx="10">
                  <c:v>392.1111111111111</c:v>
                </c:pt>
                <c:pt idx="11">
                  <c:v>636.6666666666666</c:v>
                </c:pt>
                <c:pt idx="12">
                  <c:v>9504.58</c:v>
                </c:pt>
                <c:pt idx="13">
                  <c:v>1649.4313725490197</c:v>
                </c:pt>
                <c:pt idx="14">
                  <c:v>940.8333333333334</c:v>
                </c:pt>
                <c:pt idx="15">
                  <c:v>517.75</c:v>
                </c:pt>
                <c:pt idx="16">
                  <c:v>267.60714285714283</c:v>
                </c:pt>
                <c:pt idx="17">
                  <c:v>175.6875</c:v>
                </c:pt>
                <c:pt idx="18">
                  <c:v>311.63157894736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87C7B8B-4776-48AC-B80C-0F4B9D187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FDAD8EE-5BF0-4349-B885-9C0775128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E908E00-B5EC-46C1-96B5-AE4DC097E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968233B-5DA5-44D3-813F-7AF068603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D501F92-00F3-47F3-B364-405E6577B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7AB881D-A3B3-46C4-A42D-EF3505E74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0BD0416-55A8-4DC5-9E26-CDB366882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961D376-C6B8-4796-A71D-EE12C7C90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CDEAF7A-FAD2-42F3-B66C-19EF646AA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C80B459-986C-4C57-805E-7E2066059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0333A0A-D3A7-4DA3-AE60-FC74185C1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DC3CB3D-646C-473B-A8E6-4C535E4CE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D8B5FE9-AA77-4345-BD1C-C5208081C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54A4E75-E034-4C99-BE88-5463EE301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01B1131-4EFB-4C1F-9581-6FA0AAAF8D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963BC47-60F3-4AFB-BA4E-25F8B7A1C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F99D9CB-C010-4BEF-8D83-C2147C6CF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77E5B5C-AC99-449A-93A9-9D0A6FFBA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76BE930-7D17-45A3-9B88-50C762337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E9B33B33-DA5E-44F3-9426-C3B2D0F31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3695037-5F10-4673-9844-ADB678F65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8BA5E5A-A0C9-4A07-8E33-AE33D0D65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1F5FBEE-DB1A-4B3E-B84F-43F14B1F0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565B436-BB82-484C-9D4D-6FD4B6C3C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F5B6D40-A43A-4674-8A11-C12A56734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62C39B4-EBC0-4725-9574-8F504148B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F366967-87B0-40EB-88E7-A80637E4C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02C79C1-A72C-43FD-968E-CC4EF7251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B2B155A-A574-4D59-8B7D-256A17620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0404E36-1C75-47D7-8722-A38BC990E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90CC234-48C8-4CB4-81F9-A112B7B69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FBBBD7E-10FA-4E28-B733-84A0F1552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D840F2E-87D2-4298-933A-6D92296B6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EC0BD5F-108C-43E2-AAB3-BDF5275A18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AC16AFB-9C30-48A4-BB71-3C802EDAF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E3AD484-2740-441E-916E-0DD87156E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80D6D5F-7933-4A48-9EBF-FB977A3A0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0440D17-AD0C-4FF0-9D1C-8E32C07B7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E40380C-D5E8-4221-8DEE-2609DB056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59BB49D-E0F8-4FD3-9915-C23A1ED47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2BE5E75-6EEA-46E9-A38C-BF81C607B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945B253-D54B-4E08-B5AF-3715904C4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DB00044-6C33-437A-A19A-0438DE251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403A1CA-4CB7-4B37-B6FA-C6D86F7F9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1282EB9-792A-4C12-976B-E629F6289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62481E7-A240-4658-BEBC-C9D0CE55A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C59616A-7D6F-409D-91B5-15E0ECD39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60AD962-7CF6-4400-9ADF-ED90EFB61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A227313-56D4-4396-888E-1D3B57FE6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6C24A32-E634-4C6A-80B5-CFA045720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7F6B3A5-31C7-4DC2-B2C4-C683CF44E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2FD02B8-1492-432B-B4EF-906A72F14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0668757-0CDA-4AA9-B429-EE9683FF1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85AA9EC-9B80-4D48-820C-02C69B42E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45AEA0A-4A47-462F-948D-EA169A6D1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14B1125-EACB-4E88-936A-A3B62305F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9647C9A-D9A4-44BE-9B58-808F6E09C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0872</c:v>
                </c:pt>
                <c:pt idx="1">
                  <c:v>0.0942</c:v>
                </c:pt>
                <c:pt idx="2">
                  <c:v>0.157</c:v>
                </c:pt>
                <c:pt idx="3">
                  <c:v>0.0829</c:v>
                </c:pt>
                <c:pt idx="4">
                  <c:v>0.0799</c:v>
                </c:pt>
              </c:numCache>
            </c:numRef>
          </c:xVal>
          <c:yVal>
            <c:numRef>
              <c:f>Sheet1!$B$2:$B$6</c:f>
              <c:numCache>
                <c:formatCode>General</c:formatCode>
                <c:ptCount val="5"/>
                <c:pt idx="0">
                  <c:v>0.5086</c:v>
                </c:pt>
                <c:pt idx="1">
                  <c:v>0.4822</c:v>
                </c:pt>
                <c:pt idx="2">
                  <c:v>0.4491</c:v>
                </c:pt>
                <c:pt idx="3">
                  <c:v>0.4511</c:v>
                </c:pt>
                <c:pt idx="4">
                  <c:v>0.4576</c:v>
                </c:pt>
              </c:numCache>
            </c:numRef>
          </c:yVal>
          <c:bubbleSize>
            <c:numRef>
              <c:f>Sheet1!$C$2:$C$6</c:f>
              <c:numCache>
                <c:formatCode>General</c:formatCode>
                <c:ptCount val="5"/>
                <c:pt idx="0">
                  <c:v>423.5357142857142</c:v>
                </c:pt>
                <c:pt idx="1">
                  <c:v>793.125</c:v>
                </c:pt>
                <c:pt idx="2">
                  <c:v>409.0</c:v>
                </c:pt>
                <c:pt idx="3">
                  <c:v>1670.543859649123</c:v>
                </c:pt>
                <c:pt idx="4">
                  <c:v>627.1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D6B1AE6-742E-4ECF-B405-929579614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E191262-4421-4468-AD18-B3113CD28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2282877-55A6-4B1C-B130-9E7483DC3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A27846C-FAAA-4A8C-9733-80FB174D3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5D2200D-4CDC-4DF9-9AA8-CF16C1456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103FD87-1D26-43FE-BEA5-CAEC612B5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3A7933C-D8FA-4FDE-B98E-04FC34AB5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7ECD178-0C6F-483E-85C0-EEB118E82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15EE627-9D6A-4DF8-8827-547AC7697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A1EFCBC-62A8-47A7-A6E1-4DA78B768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E91D213-7740-4AB7-BEC2-499FC879D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9F80F93-631B-46D4-94AE-F944D67F1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69E7355-EB6C-4DE8-9F41-3373BDA9C8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E79E4C2-EB91-469B-8D78-1BE360FCD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95C4254-B4D1-420A-920F-66ADFD8AB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5881B93-A84F-4122-B063-67FF28B4E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E6246C7-BF0E-4745-832F-5C55190CB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2702933-B8C0-4528-8CE1-0BDA711D9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6BE2754-4971-40DF-A146-0D1BB2F74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B1E4BDF-F9B7-41C5-9288-F7681C390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433DED5-658B-4BFC-B765-91F96A10C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8348A0E-484B-4D40-932F-405D4BBAA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BEF36AB-370B-45DC-9E5C-782BAF33F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3B03694-70B1-4114-AA10-8148DB3FE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F6AFD41-6A32-4A30-83F9-5045EA9EE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9F55363-43ED-447E-8F21-71F407CBB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F7765A2-F74A-4EE7-9BBD-1993D1D4C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9BC992F-9B91-4EF3-8483-D2BBCF9ED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B003AED-77FE-40D0-8568-9393C8B90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A65833B-499F-42BD-9821-6A14AD952A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18D3389-44D6-4BF0-9E48-51538AF3E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B08E0C6-BF70-4039-9528-2CA7558B0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D9DE807-E796-4E91-ADF5-25949EF6A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AC59633-FE1C-49E8-8F55-388E5F843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FEBE54A-0BB3-4072-B9DE-83623973B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E7869DB-417F-435F-AA84-37A369BB6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50FDD94-76B6-4631-ABDC-79EF783ED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2EB0CB5-41AA-47BA-8A0B-96BDD3809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050092D-C3C9-4DB4-BDBF-20790E5AF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57FDAE4-C91E-4C7E-85F4-7F1BAAF06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688726D-6652-4DE5-A135-FA223A43A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44BE5C0-2FC7-4858-AFBB-E201EAD7E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011F6F6-1E1E-4400-8CFE-CE9CAC0B2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F5559EF-14DC-45EB-9B5B-3189D785F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56D2BC0-0536-4D14-B48A-6E601DDD2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E9EE2D4-EBBE-46E7-8292-F1C23AD17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03C661F-0C23-4147-9608-3AE318456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15E209C-0528-4912-9D58-D64C8C34B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2EABA99-FECF-487D-A174-81C918448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ABD27A9-438E-44BD-B2F9-8B8D99CED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79605EE-9825-4AAF-B612-5887599F8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2906D3F-98F6-4694-8F28-3552F9872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1208704-31FA-439F-A52E-422F74DEA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AA2D6B8-C74A-450A-B8C5-93ACE37C1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31B9972-BD7E-4FFE-B544-6956CCAD9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6BAEEF0-4623-4869-A912-079BB08FA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09483C2-B0AC-48AE-989D-C61CC9E2B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0906</c:v>
                </c:pt>
                <c:pt idx="1">
                  <c:v>0.1232</c:v>
                </c:pt>
                <c:pt idx="2">
                  <c:v>0.084</c:v>
                </c:pt>
                <c:pt idx="3">
                  <c:v>0.118</c:v>
                </c:pt>
              </c:numCache>
            </c:numRef>
          </c:xVal>
          <c:yVal>
            <c:numRef>
              <c:f>Sheet1!$B$2:$B$5</c:f>
              <c:numCache>
                <c:formatCode>General</c:formatCode>
                <c:ptCount val="4"/>
                <c:pt idx="0">
                  <c:v>0.5086</c:v>
                </c:pt>
                <c:pt idx="1">
                  <c:v>0.4814</c:v>
                </c:pt>
                <c:pt idx="2">
                  <c:v>0.4509</c:v>
                </c:pt>
                <c:pt idx="3">
                  <c:v>0.4543</c:v>
                </c:pt>
              </c:numCache>
            </c:numRef>
          </c:yVal>
          <c:bubbleSize>
            <c:numRef>
              <c:f>Sheet1!$C$2:$C$5</c:f>
              <c:numCache>
                <c:formatCode>General</c:formatCode>
                <c:ptCount val="4"/>
                <c:pt idx="0">
                  <c:v>217.27272727272728</c:v>
                </c:pt>
                <c:pt idx="1">
                  <c:v>248.9</c:v>
                </c:pt>
                <c:pt idx="2">
                  <c:v>631.5294117647059</c:v>
                </c:pt>
                <c:pt idx="3">
                  <c:v>263.9230769230769</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10FFD2F-82F4-4A83-81F4-E8126A61D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EAA8387-C76A-4705-9BCA-8C263F80D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CA536EE-1C3D-47B6-A8E4-51768DB56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F0A1CF4-DE45-41F5-A72A-5F3B589E1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2BF0D52-E349-47A2-9FCD-A128BFB81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FF9C190-0262-4390-AF58-8C5DC260CF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2C1E19D-6155-4A91-A9BD-1F5154BE8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2459CB1-37EB-4F05-A3EC-1ED8B93E3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3.4532</c:v>
                </c:pt>
                <c:pt idx="1">
                  <c:v>13.4372</c:v>
                </c:pt>
                <c:pt idx="2">
                  <c:v>13.8226</c:v>
                </c:pt>
                <c:pt idx="3">
                  <c:v>13.4221</c:v>
                </c:pt>
                <c:pt idx="4">
                  <c:v>13.4516</c:v>
                </c:pt>
              </c:numCache>
            </c:numRef>
          </c:xVal>
          <c:yVal>
            <c:numRef>
              <c:f>Sheet1!$B$2:$B$6</c:f>
              <c:numCache>
                <c:formatCode>General</c:formatCode>
                <c:ptCount val="5"/>
                <c:pt idx="0">
                  <c:v>0.5105</c:v>
                </c:pt>
                <c:pt idx="1">
                  <c:v>0.5104</c:v>
                </c:pt>
                <c:pt idx="2">
                  <c:v>0.487</c:v>
                </c:pt>
                <c:pt idx="3">
                  <c:v>0.511</c:v>
                </c:pt>
                <c:pt idx="4">
                  <c:v>0.5078</c:v>
                </c:pt>
              </c:numCache>
            </c:numRef>
          </c:yVal>
          <c:bubbleSize>
            <c:numRef>
              <c:f>Sheet1!$C$2:$C$6</c:f>
              <c:numCache>
                <c:formatCode>General</c:formatCode>
                <c:ptCount val="5"/>
                <c:pt idx="0">
                  <c:v>88737.5578</c:v>
                </c:pt>
                <c:pt idx="1">
                  <c:v>58868.4991</c:v>
                </c:pt>
                <c:pt idx="2">
                  <c:v>97974.25940000001</c:v>
                </c:pt>
                <c:pt idx="3">
                  <c:v>97350.13880000002</c:v>
                </c:pt>
                <c:pt idx="4">
                  <c:v>78933.850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6.58712"/>
          <c:min val="10.73768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5046385695858326"/>
        <c:crossBetween val="midCat"/>
      </c:valAx>
      <c:valAx>
        <c:axId val="1011451359"/>
        <c:scaling>
          <c:orientation val="minMax"/>
          <c:max val="0.9731999999999998"/>
          <c:min val="0.14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3.52928112727754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1B10A82-2125-4F55-8ADB-A3B16B7C1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ECEAF75-A3F5-4EB1-B743-435C907C5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BEE543F-2F40-402F-959B-C763C49E0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1A06C6F-B3D5-4122-A989-B736B8C8D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7752FAE-0048-4DD4-AAF9-E48AEBB84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C53DDF5-D55C-475E-B00E-B52176093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297DACD-B57E-435E-B3A7-6A742B1CB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0E125BD-7A9A-4967-B94F-2DD1F2302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2978088-597C-498E-AE3D-7880710EB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228E1F5-D1E1-4C9E-A1D5-6B70F0E9C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E2EC2B9-56DB-4F2E-A59A-667C2440C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7403C73-74F6-4FB2-94C4-C11DC794F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107F960-89DA-44E6-BC0B-EAEE6FA7F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10AB5AC-01D3-45B3-B4FD-F57D31097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D4332E1-0D3B-47B6-86AE-5F297079C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757B1BB-0EB4-444F-8723-70BB05218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F5125EE-48C6-43A9-8561-CEF8B33D1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CDFC002-4B1C-482C-BF6C-31137F93F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9669588-0A80-41F1-BF29-CCEF32AAA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3A8BF86-072F-44BF-BA8F-729E9C21E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83243E4-D4B7-4DE0-978C-282DE2BFE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332879E-2796-4E4C-8765-CADD7798A3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1E54906-516D-4F3A-B5EF-103AA2040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17E8B8D-1666-43B4-A11A-D862DD283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D9037D3-6BB2-44D5-949D-7CC1C437B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A23E8E9-FC34-446B-907C-F064D6472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1AB493E-0068-4E69-B20D-E4AFFCB20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4756A97-BED6-4351-962C-C811D6260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AEEAE90-7160-47EF-B1B3-853AB4B7D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8A8455B-CCC1-44E9-8BD2-3BD784FAF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10A3E3E-569A-4385-B1FC-DEF7B26B6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3B94C5E-74D0-49EE-8563-DAF9BB473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E78AB61-80C0-4F99-9E2C-0828951278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B249C2B-FCF9-4DDB-870A-C68690220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95C94A6-E0CB-4881-B242-E52B55AE3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2E3B744-D206-4390-8E3A-AEB95AAE3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C0789B3-A391-4779-837F-36D32330B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5ECCB1F-BF3E-457D-94EF-3B516B8DE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6B2E410-75EC-4DAC-86AF-46216A2C3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7B008FF-04F8-4B70-9706-CCD7ECA98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BECC7E8-65D0-4657-A968-DE9C83B1B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9491E9C-C6EC-4B6E-8CF9-1EC2D0696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2469B6D-BFC0-4917-AA0A-0E6539ED5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3BAFF5E-FC7E-436F-B0EB-DC2B456A3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83C74D3-BF7E-4E6C-84A2-77563A112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4D552CA-72CA-41D3-9258-D6E3DFEB6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867CC2A-8A54-4D16-87F1-6FCA5E061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1DC0B8F-AC7B-4838-A9D3-43E3B9A61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9BB4261-21C8-4D7B-A046-DC663D757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DFD9F51-422B-485A-A0A0-D426BBAC2D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CBB726A-74E5-4EB1-A597-25B471921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1EBAF5F-B4C6-47D4-9638-82E85F36D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56F1B6A-BCB1-4D49-91E5-B6BC0FBC4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24DA212-5CD6-49BB-A498-AE659F45B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2DCBA05-AF93-47A4-A8DA-A607EE12A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C7C2799-8B3E-4566-A6E4-7B0F611EA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8E01F65-7542-45F8-9C21-C3D242C53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1079</c:v>
                </c:pt>
                <c:pt idx="1">
                  <c:v>0.1504</c:v>
                </c:pt>
                <c:pt idx="2">
                  <c:v>0.0901</c:v>
                </c:pt>
                <c:pt idx="3">
                  <c:v>0.0902</c:v>
                </c:pt>
              </c:numCache>
            </c:numRef>
          </c:xVal>
          <c:yVal>
            <c:numRef>
              <c:f>Sheet1!$B$2:$B$5</c:f>
              <c:numCache>
                <c:formatCode>General</c:formatCode>
                <c:ptCount val="4"/>
                <c:pt idx="0">
                  <c:v>0.5086</c:v>
                </c:pt>
                <c:pt idx="1">
                  <c:v>0.4823</c:v>
                </c:pt>
                <c:pt idx="2">
                  <c:v>0.4502</c:v>
                </c:pt>
                <c:pt idx="3">
                  <c:v>0.4722</c:v>
                </c:pt>
              </c:numCache>
            </c:numRef>
          </c:yVal>
          <c:bubbleSize>
            <c:numRef>
              <c:f>Sheet1!$C$2:$C$5</c:f>
              <c:numCache>
                <c:formatCode>General</c:formatCode>
                <c:ptCount val="4"/>
                <c:pt idx="0">
                  <c:v>132.2051282051282</c:v>
                </c:pt>
                <c:pt idx="1">
                  <c:v>150.47368421052633</c:v>
                </c:pt>
                <c:pt idx="2">
                  <c:v>394.0508474576271</c:v>
                </c:pt>
                <c:pt idx="3">
                  <c:v>51.49999999999999</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0FB3F90-8860-46B1-87D5-A05EC9F6B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69D8E1F-26C9-4F67-B4B7-357E87C9C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00A568B-79DB-437F-8A5B-F4CE96C16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4C2590F-E11B-41DA-B193-769833BE5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DAC8F1E-5946-4977-96F4-95AC25C48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09B46D1-7C71-4334-81C3-328511FC8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1DFF79B-3AB3-45E0-84A8-8785F9FC2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F0317C6-8371-4B3E-BAF6-E08C54C3A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F10C32A-13DA-4645-B8BE-8C85E615E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C98499F-46E8-44FB-84B4-DEA359F24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76DF9F2-ABEF-4E0A-9072-DE760BF44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E0C617D-D333-481B-ADD2-E3BAB57C3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2E04224-594F-430B-BCF7-4214D77DFD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8DE1687-1677-4E47-BEC2-8BFE1A3E8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D82FDA1-3E74-4AE2-A09D-B5B6934B9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85B235D-A39C-420F-8200-571EEB7FC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5D8A829-CDED-4935-9F00-1156F391F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580ED67-057B-4CE2-8781-E0266E40E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6C55370-398F-4ECE-8361-E825DCEB71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57B195E-F548-43A4-8171-FF6E6CB8B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EF78311-338B-474B-969C-9E6309ACC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A357192-7039-47B5-8785-1C47A897A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1974675-A574-41B7-A121-78D467C7E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3E23ED8-3A05-454F-9D1C-9F674F4ED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16AE7A5-39E8-4CBB-B6C5-0CA7AC340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66176DF-C746-4437-A2AA-ABC30E4A5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4526F9F-BBA5-4516-97D9-DA4D4372D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663E602-BC4D-43C7-B7DD-E57BD3108B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CDBE234-E850-4F5B-A8FE-776CA50AB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7946BDC-3BCB-4DCB-9B24-B7EE6169E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8B5DCCF-9898-4FBE-AFC2-D879E762B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5ACB9D7-076E-4209-86CB-057B1BD19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376753A-59DD-4CB4-B23C-6E3670B99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CA4A152-0CCC-4980-AA8A-B2C264604C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CE98074-932A-4075-BCBF-50BD2208E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1FD85F3-3C57-423F-BFAA-C2333BDCA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D103F44-EC71-490F-9B7C-535E91EC5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207153D-8A23-4B7E-B06C-02BA89B67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302B2C90-9B2E-4754-B9D1-1FB15ECE6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A797400-E2B5-49E1-BC5F-69B2DC271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5AC5832-E454-45BB-8219-1DA41EB81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AD88FFB-68B2-41C0-9675-A9DBF5D1A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FBE0D0E-8B28-4251-98DD-F813E6133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D39680C-F10F-4597-B06D-F711EB81A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740328E-E35F-4DB8-A75F-AE169175F4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E5BE74D-8A0F-471E-932E-3B97E3E58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50345A1-44BF-4E02-92D2-184189D254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608CBAF-1D6E-41C4-8298-6C867C683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79B9169-23BB-432B-8326-638C4FC00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B093523-498A-4003-9261-813FDB5F0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3898450-15C0-4340-A37A-F8B1A21BA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6E77927-175B-4181-A3C7-F5535FB55F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1579630-9D46-42A2-8B9D-35D643208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3954DE4-D252-4D1B-8B3C-0A5812E41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636D950-FC06-4D98-97B5-74E280461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14FCAFB-0486-44B9-BF23-E2A5550EBA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C7F0D6D-E3F6-4105-8EBD-8BAC5A780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0813</c:v>
                </c:pt>
                <c:pt idx="1">
                  <c:v>0.073</c:v>
                </c:pt>
                <c:pt idx="2">
                  <c:v>0.1348</c:v>
                </c:pt>
                <c:pt idx="3">
                  <c:v>0.0814</c:v>
                </c:pt>
                <c:pt idx="4">
                  <c:v>0.0524</c:v>
                </c:pt>
              </c:numCache>
            </c:numRef>
          </c:xVal>
          <c:yVal>
            <c:numRef>
              <c:f>Sheet1!$B$2:$B$6</c:f>
              <c:numCache>
                <c:formatCode>General</c:formatCode>
                <c:ptCount val="5"/>
                <c:pt idx="0">
                  <c:v>0.5086</c:v>
                </c:pt>
                <c:pt idx="1">
                  <c:v>0.482</c:v>
                </c:pt>
                <c:pt idx="2">
                  <c:v>0.4491</c:v>
                </c:pt>
                <c:pt idx="3">
                  <c:v>0.4508</c:v>
                </c:pt>
                <c:pt idx="4">
                  <c:v>0.4446</c:v>
                </c:pt>
              </c:numCache>
            </c:numRef>
          </c:yVal>
          <c:bubbleSize>
            <c:numRef>
              <c:f>Sheet1!$C$2:$C$6</c:f>
              <c:numCache>
                <c:formatCode>General</c:formatCode>
                <c:ptCount val="5"/>
                <c:pt idx="0">
                  <c:v>1603.5833333333333</c:v>
                </c:pt>
                <c:pt idx="1">
                  <c:v>2556.3571428571427</c:v>
                </c:pt>
                <c:pt idx="2">
                  <c:v>2045.0</c:v>
                </c:pt>
                <c:pt idx="3">
                  <c:v>4890.927272727272</c:v>
                </c:pt>
                <c:pt idx="4">
                  <c:v>2986.0</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E029F35-A21C-44DF-9F38-DC549AA28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3B4F876-1899-403B-BF89-E15D0D695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70F0B3D-D01E-4EB4-B07B-2B9FAFDDFC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B0F657C-ACE2-4CEE-8BF4-70F8B8578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025D749-FC75-4F6A-872E-7DC6FBED6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D1606CB-2347-40E0-AFC2-31FFE8B61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3E79B16-480F-466D-9BBC-E09DAA60F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2401C5A-3D3E-4199-A025-79DAE5128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66288AA-4F73-42B7-8B34-EFC787B24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0F30C98-0F22-4653-BB6A-650B2AA4B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4CBE97A-BB39-4CA2-862A-410953950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08BF5C5-31C4-489E-905F-6590BE54C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6F17740-7354-4EC4-9C0D-AC2FEB4F0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77A55DE-4A40-4002-BE0F-B0696D876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5650078-BEA9-4916-8AA9-59663A90E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06ABE9C-635D-47F5-BFBC-FE9DF1159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8662004-3C36-4D7D-9478-1D4A54DA0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225B580-D6D0-4118-8E2F-2CC665F1D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CE28987-0A6A-4A70-BCAA-92CF7BFC0C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F950E4C-406F-4DA2-BB42-FCEB0A3F2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BBB95BF-CCCE-4696-BA74-6393D893A3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0ABB6B6-2E00-40A9-9D38-B769C0F97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6608989-7FAF-4E28-B0B1-686A732A3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B1157A0-3A39-493C-B888-1937ADB7F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81FFBE1-3FE1-43D7-8841-8EC6BF33F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B96F226-9054-4E8B-BC52-DF58B01F2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8C2BB272-981F-4416-BBB9-0AA737373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F624F81-79CE-42F5-975C-E0E784F4B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4F08CEC-3D4F-49F7-AD82-50BA6D2CF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CF6C452-ABEA-49E5-925B-C33AF757A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098D353-D113-40AA-910C-BC20A2269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F67D334-6F53-48F0-AE3C-DA7F4CD5B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A39D9B6-8975-49EC-B657-8B73C9B70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6BEF173-14D1-46F8-90CC-A615CE1A2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3030534-7AFA-4EDA-9BBB-F484A5891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D88C2EC-DA49-42E6-9DDA-4C09DBBB1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1F9BD43-C974-4140-8826-861534436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DBE617B-267B-49C3-A5CC-648A2F2ED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CCE8E55-65E3-480C-ADEC-C520014C9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779B6AE-C862-48CC-A5FA-A68AF79CC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FA00A0A-5FD7-4ABF-B7B7-91DDDB975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C106298-0097-4EF7-AA06-F8C175690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3909B6A-CF5F-4195-978B-01A672C51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BBB131C-7302-40E6-8A00-723562A9F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9C56820-DF53-4C6D-BF46-732B25356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55D2F8B-1462-420C-974A-B56DDC5581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B02A173-6ECA-4553-BCB6-6D688E960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40BD2D3-ADA9-4E78-9A40-516DD1530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A1CDB85-A43E-4BB8-B0E1-3254F498D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B1EDA75-39B7-446C-A0EA-800E4D625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04DC1A8-EEE3-4CFF-9B43-01470740B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3858618-3BC6-444E-9654-826F79A73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7E4DF63-FB90-4BCC-83A3-D5194D9E0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CB828C3-C9EC-4AFB-B081-D0A29D4C80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56728E5-6F5D-4A49-B146-D3310AD6A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53BFB7E-0CA7-41EF-AB6B-FC6B3C1CF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E0EE718-FEF1-4000-9936-A1C9F8A94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0989</c:v>
                </c:pt>
              </c:numCache>
            </c:numRef>
          </c:xVal>
          <c:yVal>
            <c:numRef>
              <c:f>Sheet1!$B$2:$B$2</c:f>
              <c:numCache>
                <c:formatCode>General</c:formatCode>
                <c:ptCount val="1"/>
                <c:pt idx="0">
                  <c:v>0.4524</c:v>
                </c:pt>
              </c:numCache>
            </c:numRef>
          </c:yVal>
          <c:bubbleSize>
            <c:numRef>
              <c:f>Sheet1!$C$2:$C$2</c:f>
              <c:numCache>
                <c:formatCode>General</c:formatCode>
                <c:ptCount val="1"/>
                <c:pt idx="0">
                  <c:v>192.4651162790697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35D8E07-4918-4E0B-9A98-DCEE11143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8C1262E-E885-4753-96D8-3F1C43F19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688155F-EFBD-4D78-859C-ECC6F25A6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5F1322A-4B0A-4D52-9372-0D7844FB1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67A6D7D-FC9C-45B3-9A64-6DEBC8029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FFE6F4E-2C3C-49EB-9647-C35DC6B3F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29B3309-E8A4-4773-A5AF-734F818F0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68433D5-3C77-409C-A5EC-92525E7E1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C4B4DBF-E819-47EA-832E-07967EDFE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3FFE4FD-77DF-45B8-B802-19480F747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26BB1BA-B93F-495C-AFAA-2A4732E2C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6F1EA44-B1E7-43F8-8705-BD896B6FB9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5442774-6C24-419D-9FBB-67094A05B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EA78CEF-E5D5-47EA-AA5B-274414D41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F00E4C9-6215-4731-9EA4-2FB78E3D5C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5BAE11A-CB6C-4EC1-ACEF-6149F95C9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C5DAB85-7E1B-4BF6-B2E7-3A0D0DD65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627FCD3-8C73-42D2-B730-F4A66E00A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CA7CA18-AF7F-4132-A328-877ABD6B5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D0DE986-A654-405F-944C-4080EE6C4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9D8747E-6B62-4483-9B85-240162D0FB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FC9D0C4-7DC4-4831-94ED-285EC7EFF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95F3D8D-5C16-4F50-A085-537BDF792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159240E-17FA-47F9-9AEF-7D5DA027EB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9F8AE60-BC8A-48C0-8532-221543E80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FCB3A6E-CF27-44B9-8447-1B0F80381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5E21E2A-EE60-4294-9182-D40EAF680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556087C-DFBB-41A3-B309-88351D5C5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B0BA072-F864-4AE0-9E6E-52E9923BD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87AD405-E712-4CBB-86CF-A44F49D5F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24123C7-2D09-485F-B084-DCF86A6FD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D2696F3-8F03-4C8E-8C81-A2262E5A1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4FD79E5-27EF-477C-AC11-708403539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75435BD-217B-4492-BC62-D14A51424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528A6C25-C621-46FC-9CE6-632D49199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FDF2A04-36F3-4BF8-B15C-63A60FCAB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0B5AC05-91C4-4CD3-9C18-F7FC2B9E8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95B4BEC-A1F2-495D-98F7-E7C3250B4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36622587-AA08-48B0-A66F-34C20493E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2D06CC1-C53C-4EFB-9963-979A1ECAF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FE00B60-2467-455F-AA33-B4998B596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98ABF30-5724-4929-BA3A-9489A04AC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D96592D-B0D9-468E-83EE-B9EF1788E5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49C2C96-A9B5-4FA9-B56F-44617C6C3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55CB466-0246-429C-A918-7E7895707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55B6A63-01D3-48AE-AED7-74342DA4D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3DFA25B4-C4B7-44E0-92F6-E0068CF08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417F358-9F36-468A-841B-1F959FB58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04D252E-3E9E-4B06-80DE-986BE8EC9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AC90D1C-E247-4D90-9787-6FA023A72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BCFDAEF-2A0E-4B40-A1C7-2B1C22DB7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6DE2C1C-8611-42C3-A58B-F4A2C150E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D18CC12-DF4A-40B4-9F95-462858138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BEA4F1C-B023-4940-8BEE-988CA2E0A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07B9BBA-98FD-4740-9301-0994C6839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95B3F73-B3E1-4814-B671-ECF149D43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3A0C8AE-6A04-4E24-895C-65E0E03A8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1051</c:v>
                </c:pt>
                <c:pt idx="1">
                  <c:v>0.1236</c:v>
                </c:pt>
                <c:pt idx="2">
                  <c:v>0.0966</c:v>
                </c:pt>
                <c:pt idx="3">
                  <c:v>0.2121</c:v>
                </c:pt>
              </c:numCache>
            </c:numRef>
          </c:xVal>
          <c:yVal>
            <c:numRef>
              <c:f>Sheet1!$B$2:$B$5</c:f>
              <c:numCache>
                <c:formatCode>General</c:formatCode>
                <c:ptCount val="4"/>
                <c:pt idx="0">
                  <c:v>0.5086</c:v>
                </c:pt>
                <c:pt idx="1">
                  <c:v>0.4826</c:v>
                </c:pt>
                <c:pt idx="2">
                  <c:v>0.4508</c:v>
                </c:pt>
                <c:pt idx="3">
                  <c:v>0.464</c:v>
                </c:pt>
              </c:numCache>
            </c:numRef>
          </c:yVal>
          <c:bubbleSize>
            <c:numRef>
              <c:f>Sheet1!$C$2:$C$5</c:f>
              <c:numCache>
                <c:formatCode>General</c:formatCode>
                <c:ptCount val="4"/>
                <c:pt idx="0">
                  <c:v>93.03030303030303</c:v>
                </c:pt>
                <c:pt idx="1">
                  <c:v>181.44444444444446</c:v>
                </c:pt>
                <c:pt idx="2">
                  <c:v>265.6666666666667</c:v>
                </c:pt>
                <c:pt idx="3">
                  <c:v>106.2105263157894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B39AE06-CAE3-433A-870F-7B7454746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922C8B2-20C0-45C7-ADB2-32B9CB9115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4BFC5E8-CA5C-4675-89DD-7DE743A6E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E052D2A-1714-49B0-A0BD-0ABB24104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781864D-BB47-420E-B2A7-7E8121FB5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2B9112D-9A3F-4FF0-AC93-A66DFEA3F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23511E9-9931-43F5-BB54-F93104B3C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8FA2255-52BD-4F59-BEDA-FD5188E0B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B65AB63-E241-4A86-9C1C-4918030DD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8C47FF6-D55E-46C6-9FC7-6A063E1E9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B07FCD5-3819-4787-9682-50BAD83F1F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E87002D-2507-4E92-A59A-45E07C3C5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605B3F0-E81C-49B4-B6C4-EF139D7B3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02C01D5-1575-43D8-B565-7026CF2C6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5EE2BB2-47BD-4CB8-A056-517BFF0F0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90CB2BA-25C6-4989-9FF7-8F6CF75A0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93C04E1F-F5B7-4773-B2B8-174B9C338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067B830-FC9A-48BE-8E35-4040E0F25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A8801F9-2D1C-4D41-8CFA-5606CF844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9D9A607-CA2A-4E0E-9C2E-01C0A2F42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ECFF717-889C-4ADB-9444-508D2B4A0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8D40125-3620-4157-9E1E-1658275B0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0465568-FF64-4D25-8F99-6BB68990B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C39452F-0162-4E7F-9487-1A315DF46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B083EA2-DF9F-44EB-88E9-FBA95C91D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3DB2576-07FE-4D80-B766-1B3B8BA23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5F49A60-BAAA-4E2A-9DBA-485A57E7C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E24B049-7465-4983-98DE-DC3A27B85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CF69034-8489-4EAE-98F0-D9EF9C9C2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A9D4777-FE34-4C0D-A3EC-B0705B745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FE3762B-9B25-47D6-8A6D-93CB8A16C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A58FDEB-A121-4F5B-8E82-EFCA61F99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2FBC78B-2551-4FCD-8DC8-ADC3ADB85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566A54A-3AFA-43FA-8C74-30D8951A1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D5A6312-57CF-41B2-9BCF-8EB07DD62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03387C5-E73B-461A-B33A-303E658090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1609BB2-00CD-43C5-8D9C-484D4F0DC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36E22DC-CFF3-4016-8002-32A940C91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6BF9C00-771E-4941-B0C2-699C9BBAC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5B6966C-F434-4BA3-B29F-80B3FB5D0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B81E756-15DA-4AD8-9459-A767E3DEB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D3347DB-7881-4B1D-8A16-00586CF25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8C44089-F95D-4068-B73A-BD19372A8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C8FB9EA-288C-4EE2-B6CD-3AB0A3A4D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BFFDBDD-8DD0-49AC-B15F-93252FE595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6B59B314-A485-4575-8A10-780760DEE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EC1791E-009F-427A-8574-88884355A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E5F5EC8-956B-4240-89D7-2F800C7FF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3F6A3B7-0A5E-404D-BBD4-DBC15B4C14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A1B9F89-949A-4622-842D-2C68624DF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1D6C6C9-0276-43ED-9A3E-F95298282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DC54E60-5A43-4DBF-8133-A4B23F86C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06804ED-EC93-4457-9AB1-6F43DA01F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EACCA7E-362A-473A-91F2-0F9D93BC0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23D2968-DC85-4906-9942-9D19F05E7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464654F-44B3-4A40-8AA6-11A618B0D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1690F3F-F947-46E7-8BBB-CA3ADA3ED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1099</c:v>
                </c:pt>
                <c:pt idx="1">
                  <c:v>0.0969</c:v>
                </c:pt>
              </c:numCache>
            </c:numRef>
          </c:xVal>
          <c:yVal>
            <c:numRef>
              <c:f>Sheet1!$B$2:$B$3</c:f>
              <c:numCache>
                <c:formatCode>General</c:formatCode>
                <c:ptCount val="2"/>
                <c:pt idx="0">
                  <c:v>0.4843</c:v>
                </c:pt>
                <c:pt idx="1">
                  <c:v>0.4513</c:v>
                </c:pt>
              </c:numCache>
            </c:numRef>
          </c:yVal>
          <c:bubbleSize>
            <c:numRef>
              <c:f>Sheet1!$C$2:$C$3</c:f>
              <c:numCache>
                <c:formatCode>General</c:formatCode>
                <c:ptCount val="2"/>
                <c:pt idx="0">
                  <c:v>91.3125</c:v>
                </c:pt>
                <c:pt idx="1">
                  <c:v>157.6964285714285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5E53522-833F-4FB8-8EAB-A5C70D7B6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485399F-34FA-4C89-9CB2-3C1CB1684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B560E1A-38F6-4609-84BD-A22B64910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005725C-B519-4BBA-BD15-F6224B1E9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E26846B-FEF6-4F9E-8B57-AFE5CB4B1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F241E57-9D61-4986-96B8-4C537074E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6BA9312-6741-4602-A5D5-778ED88BA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AD38651-6155-445D-A5F5-305D4DB46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AC7375E-11E1-402E-A180-777F1FEAA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55DBD35-EE67-423E-B25F-A7EE6D922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A95E48A-9A47-4CAB-97E8-6F6968128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2D5EFDD-6051-4CB2-A801-1BF9E1AC3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75A79A5-48F3-4AEE-B537-86F0318AD4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B648E29-6146-4574-BDE1-A512D8B0B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CF15EE9-F763-4C58-89FE-CEB8CECD4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EF75CED-CFF8-4B11-B29C-8B32170FD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37DFCDE-7E61-4B9A-904B-AABC33942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4E0F777-D28D-4B02-A7B2-E4D6F0DFF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BE49C05-1C3B-4C7F-9193-63E76AFFD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FBA4013-B744-4EEB-B6D2-B04A062E9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16659F9-D923-4BD3-A864-96F36D275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197FCB7-E88B-4473-8B4C-1FD57E093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CDBDAE3-E5E1-47F9-A3D1-CC660DEA8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E55EA01-F1FA-4A46-8C0D-2AD1CFB2C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E7D1BF7-B00E-4DDC-AAD2-B2B416F36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436AC42-7E7E-4D42-961F-30FFFF0AC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B17AA6F-19A9-4E18-9AFC-CBC513B67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8E5BF61-6B77-4748-81F7-980D0969B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C96BB23-253E-43F0-B683-C3D298B519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4BC9DD5-E8ED-46A7-B17F-174F93752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355F513-2D7C-4DFA-9CC1-C282809D4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A7303ED-EC09-4712-9CBA-68E490897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CCC319C-35DD-4F59-BFB9-8814B04F1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56C4BA8-2F6F-4DEA-9EF6-8E21A81AA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024F21C-C156-4561-860F-C9A8EBC5C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7684062-40B3-45D8-AFB5-9A36E9032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A4FE370-BB90-41D1-92AB-136778443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CC46D88-E434-4EA5-AA82-2093DEA76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021C38F-53AF-4935-A037-7452DCAD9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9AC4FF2-89B5-45F8-A94C-C5F62F039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F0F3419-C43A-44C1-8288-55FA7D8B6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86F285E-DD34-4615-A86A-2D1643AE1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8A6031C-93EF-4B7D-993D-A41B84360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04D20C5-E21C-4143-9B50-F902B3BC3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9319B99-FB9C-4C3C-A588-5A7147E60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E8EDCC4-692E-4B67-972A-0C1BCD515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5CE53A3-420B-44B7-AA12-14E92371D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DB7712D-89CE-4D87-BBCA-1B7C31887A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D38E4F9-B155-4266-8921-AED01AE31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B943EED-F2C4-42F1-A809-C1E1B527B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6ACA92B-3BD3-43FC-B828-F94DB9143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84DD114-3C3A-474F-A06C-4672678CA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DA7C2EC-E118-4956-A052-5727E8D56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E0737E5-1203-4C31-9171-66CFF8A1B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3403BF1-E49A-4680-B32B-9D12ABF10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60027BE-154A-4400-BB43-8B9ED12DF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BE6B276-A577-44AE-8C43-2CE352C2A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0883</c:v>
                </c:pt>
                <c:pt idx="1">
                  <c:v>0.088</c:v>
                </c:pt>
                <c:pt idx="2">
                  <c:v>0.0826</c:v>
                </c:pt>
                <c:pt idx="3">
                  <c:v>0.0988</c:v>
                </c:pt>
              </c:numCache>
            </c:numRef>
          </c:xVal>
          <c:yVal>
            <c:numRef>
              <c:f>Sheet1!$B$2:$B$5</c:f>
              <c:numCache>
                <c:formatCode>General</c:formatCode>
                <c:ptCount val="4"/>
                <c:pt idx="0">
                  <c:v>0.5086</c:v>
                </c:pt>
                <c:pt idx="1">
                  <c:v>0.4848</c:v>
                </c:pt>
                <c:pt idx="2">
                  <c:v>0.4509</c:v>
                </c:pt>
                <c:pt idx="3">
                  <c:v>0.4555</c:v>
                </c:pt>
              </c:numCache>
            </c:numRef>
          </c:yVal>
          <c:bubbleSize>
            <c:numRef>
              <c:f>Sheet1!$C$2:$C$5</c:f>
              <c:numCache>
                <c:formatCode>General</c:formatCode>
                <c:ptCount val="4"/>
                <c:pt idx="0">
                  <c:v>624.6</c:v>
                </c:pt>
                <c:pt idx="1">
                  <c:v>946.8461538461538</c:v>
                </c:pt>
                <c:pt idx="2">
                  <c:v>1649.4313725490197</c:v>
                </c:pt>
                <c:pt idx="3">
                  <c:v>940.833333333333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C365EBD-693A-46B8-A341-74BE99012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ACED616-C7B0-4EF1-890B-775257347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B680129-7750-4170-95DE-A16316261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6EAD22B-7B6B-41A8-AB95-4811C2FE7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99B9D0F-3E58-4AAB-B6F4-A7AE47B24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B079B62-FF40-49D9-86DA-7D1B8D1B3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BA4DFC1-0061-49B9-81BE-C5DD4E120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FCACD3F-DC8E-4217-AB9A-E63F89117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9.3263</c:v>
                </c:pt>
              </c:numCache>
            </c:numRef>
          </c:xVal>
          <c:yVal>
            <c:numRef>
              <c:f>Sheet1!$B$2:$B$2</c:f>
              <c:numCache>
                <c:formatCode>General</c:formatCode>
                <c:ptCount val="1"/>
                <c:pt idx="0">
                  <c:v>0.4069</c:v>
                </c:pt>
              </c:numCache>
            </c:numRef>
          </c:yVal>
          <c:bubbleSize>
            <c:numRef>
              <c:f>Sheet1!$C$2:$C$2</c:f>
              <c:numCache>
                <c:formatCode>General</c:formatCode>
                <c:ptCount val="1"/>
                <c:pt idx="0">
                  <c:v>55615848.2091997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47.19156"/>
          <c:min val="31.4610400000000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69"/>
        <c:crossBetween val="midCat"/>
      </c:valAx>
      <c:valAx>
        <c:axId val="1011451359"/>
        <c:scaling>
          <c:orientation val="minMax"/>
          <c:max val="0.8482799999999999"/>
          <c:min val="0.0855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9.326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7ECAC4"/>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D990E69-6EC8-437F-83E5-5FA3DD14D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159FDF2-48BB-44B2-A6F2-570A6EB19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8802A88-9972-407E-B2F1-65261516C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3327035-6E9D-40AE-940A-4DBFCDE6A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ED1924D-F86F-464A-B3A6-1C7564489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88899F2-D099-404A-9A70-4269D20B8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4C2549E-B75D-42EB-B308-746EF8170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BFD6ACB-30E5-429F-B7E3-605394A29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2.5991</c:v>
                </c:pt>
                <c:pt idx="1">
                  <c:v>12.4745</c:v>
                </c:pt>
                <c:pt idx="2">
                  <c:v>12.5153</c:v>
                </c:pt>
                <c:pt idx="3">
                  <c:v>12.8568</c:v>
                </c:pt>
                <c:pt idx="4">
                  <c:v>12.3</c:v>
                </c:pt>
              </c:numCache>
            </c:numRef>
          </c:xVal>
          <c:yVal>
            <c:numRef>
              <c:f>Sheet1!$B$2:$B$6</c:f>
              <c:numCache>
                <c:formatCode>General</c:formatCode>
                <c:ptCount val="5"/>
                <c:pt idx="0">
                  <c:v>0.4949</c:v>
                </c:pt>
                <c:pt idx="1">
                  <c:v>0.4848</c:v>
                </c:pt>
                <c:pt idx="2">
                  <c:v>0.49</c:v>
                </c:pt>
                <c:pt idx="3">
                  <c:v>0.5108</c:v>
                </c:pt>
                <c:pt idx="4">
                  <c:v>0.47</c:v>
                </c:pt>
              </c:numCache>
            </c:numRef>
          </c:yVal>
          <c:bubbleSize>
            <c:numRef>
              <c:f>Sheet1!$C$2:$C$6</c:f>
              <c:numCache>
                <c:formatCode>General</c:formatCode>
                <c:ptCount val="5"/>
                <c:pt idx="0">
                  <c:v>202366.69169999997</c:v>
                </c:pt>
                <c:pt idx="1">
                  <c:v>144417.72819999995</c:v>
                </c:pt>
                <c:pt idx="2">
                  <c:v>160521.0486999999</c:v>
                </c:pt>
                <c:pt idx="3">
                  <c:v>167344.33320000002</c:v>
                </c:pt>
                <c:pt idx="4">
                  <c:v>194549.8665000000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428159999999998"/>
          <c:min val="9.8400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8980486578293136"/>
        <c:crossBetween val="midCat"/>
      </c:valAx>
      <c:valAx>
        <c:axId val="1011451359"/>
        <c:scaling>
          <c:orientation val="minMax"/>
          <c:max val="0.9729599999999999"/>
          <c:min val="0.13599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5455894604593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7F1FDAA-D5B2-4674-AB6A-44E03D632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2EC4A1A-1481-40E2-BD5F-2DAC0262A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368276B-4C6A-4700-AB49-7891D688A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5E5A064-09B0-4D71-9AB4-4FFFB58C3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C0D3C22-BFF0-43F8-9F61-2AF90E072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BDE03A2-6B85-4BD0-A533-41E3CF71C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6D8EEE9-8480-4229-A6C3-DC8164D1C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3358396-5CCA-4828-B0EF-91AE01F04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913EBAE-35B9-4277-8E5E-5EF1203CC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DB0C89D-51EB-4F90-BE79-6DA45B357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56F5B78-23BD-4607-A87E-9870FF352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0BBFE66-C146-4C8C-A828-94E2781D6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EBBCAC1-1147-46DC-8E14-6A867EF1F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3AC983D-7331-48E1-9F02-69CE7880E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FA0D4ED-7101-44FF-822A-E0AF4172A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E724652-B71C-4F80-AFBD-39A57FE66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113E259-385F-40DF-88BD-DF6311D11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AE66DAE-0124-4697-AD32-BD4A20F53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EA97FC6-780A-48B3-A06C-E0683D7B5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B5A5D77-0244-45C7-BA47-E3C9D0F38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E93939A-6B6F-487F-ABE1-D73A9A034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90AC1AD-6CFA-4AB7-939A-3FA02FC9D7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2998B57-8A8B-4047-8C51-F0873055D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264AFC5-5442-4DCB-8782-D1DA7C449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56B78AD-842F-453B-A8D0-66BA32847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B72A901-EDD7-4F73-86A7-4051C6FF9A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1257017-8573-417D-8F90-E1F269E9B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D261085-1336-41B9-B690-99720AD51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702EF9C-EF74-4108-A7E0-34FDB6DC2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A742929-48B8-4F60-8AA5-8798842F4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A6B1DAB-4C42-46E4-8E99-563445F4C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1AEE807-B716-4271-938F-E0D3D14E3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A3B2CBE-7253-4857-B938-337E3FC31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2D478B6-605E-4E34-BC73-C3C12FD69D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C426B7C-8831-4571-B062-A9C3E4E9BC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85A9D85-B5DD-4123-ADE9-1DA3BE8F7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F351102-FFFF-4A80-8F11-BE5AE39DFE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A87BE8A-B8A5-4330-A520-51B655262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744EB14-7C56-4545-B03E-259C7E0DE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37C4229-20E8-4BB1-A5E8-E9FEB7E60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4CE2C06-662F-47DB-8C11-2A15B5B92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8A4491E-CEF4-49AE-942B-67F6B9448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367D00E-5424-4BE9-B6A8-272CC2DF7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645732F-6B1D-4558-8C47-7EDE7DA8C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ECE7495-FDAD-4FC8-B9F0-2E0474015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20C45DF-9C45-42A6-89B4-32500AAAB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BA62234-BCA1-4B63-8C69-D7AFD9456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08C52B7-97DA-4611-9D3A-C8A3C70516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86CEB46-97C2-45AD-9397-728593146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B8D5925-46DF-439D-A902-DD5B89BD6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A644588-381F-4819-BCC1-3AB81DC39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A2DE2FF-E314-4317-B694-D42DDBF05D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43D1885-3C90-4DF9-8AB1-B2462289B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781FDEC-B72E-4119-8C93-7E4BEC40B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B08F3A5-7A34-41E8-856F-B206970A9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6376DEC-46A7-40BC-9FA7-FC8C2A107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A4EE234-27B0-4281-A091-7789CBD55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0856</c:v>
                </c:pt>
                <c:pt idx="1">
                  <c:v>0.0814</c:v>
                </c:pt>
                <c:pt idx="2">
                  <c:v>0.1511</c:v>
                </c:pt>
                <c:pt idx="3">
                  <c:v>0.0845</c:v>
                </c:pt>
                <c:pt idx="4">
                  <c:v>0.0997</c:v>
                </c:pt>
              </c:numCache>
            </c:numRef>
          </c:xVal>
          <c:yVal>
            <c:numRef>
              <c:f>Sheet1!$B$2:$B$6</c:f>
              <c:numCache>
                <c:formatCode>General</c:formatCode>
                <c:ptCount val="5"/>
                <c:pt idx="0">
                  <c:v>0.5086</c:v>
                </c:pt>
                <c:pt idx="1">
                  <c:v>0.4835</c:v>
                </c:pt>
                <c:pt idx="2">
                  <c:v>0.4491</c:v>
                </c:pt>
                <c:pt idx="3">
                  <c:v>0.4514</c:v>
                </c:pt>
                <c:pt idx="4">
                  <c:v>0.451</c:v>
                </c:pt>
              </c:numCache>
            </c:numRef>
          </c:yVal>
          <c:bubbleSize>
            <c:numRef>
              <c:f>Sheet1!$C$2:$C$6</c:f>
              <c:numCache>
                <c:formatCode>General</c:formatCode>
                <c:ptCount val="5"/>
                <c:pt idx="0">
                  <c:v>642.0</c:v>
                </c:pt>
                <c:pt idx="1">
                  <c:v>1263.2</c:v>
                </c:pt>
                <c:pt idx="2">
                  <c:v>818.25</c:v>
                </c:pt>
                <c:pt idx="3">
                  <c:v>2260.529411764706</c:v>
                </c:pt>
                <c:pt idx="4">
                  <c:v>790.333333333333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7699F51-DE73-4F2C-BF08-2169461BD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A1C4C1E-00CE-4BAD-B49B-90BBC2247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B84A1AC-3B07-49D2-9A5C-DA82F8C95B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5FB7EBB-A3E6-4658-A896-E69405E66E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08011F6-51A6-484D-9720-E47D094D9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CD98A0D-792C-4B51-A415-7BFB8D3ED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5805DE7-3E89-4144-A849-0CB584A2C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E2DA9F0-112B-4857-BB61-2CA0513CC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A269336-DD40-42D6-ADDA-72AE189E3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D53BFBA-8BE0-49D1-872C-3C72D5117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FA2E3B7-15A7-46C3-B177-9D5125F41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C02C857-37EB-4751-BA00-82427BF62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C84E2FC-387B-4B08-BB68-4928C6604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065F360-0492-42BB-8E7B-64EE75164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E787965-4D2D-4079-B28B-AFD7D5BBE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5E5CFFB-3F55-410C-8924-8B3A78CF6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75226BF-EE1C-49A6-B1F9-12A6EE555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C716C50-6422-4AE9-8649-9444D6814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AC3C83E-8F1B-4B6D-B6E1-B98A5DD54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CE1418B-0858-4771-AB3E-8DC7B77A2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FD9BA93-3CD3-46A9-AB1A-F68EF5B5F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6D8869D-BF15-4966-AA37-C71B640D5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8BF5BCE-C4E2-4266-AF19-F7F013B80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3DC3B0F-5EFB-4445-8F82-B9BA85047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F91EBD4-F9D0-4FA3-8490-09E24212A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8EB0D7E-5234-419C-A1E8-06A9D0087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C9F1328-4597-49DA-9ED2-19CF6D7E9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6EFE77D-2E52-4E04-A9B1-EAD82A09D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AC6CD83-C584-4C0E-BAF7-74651A8B5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7A9FAA6-109F-4410-B58B-0D20E0A20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EDCC3D7-814A-4E2E-A064-D0ED6BBD8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FF177E4-5A11-4C63-8135-EAE123DAE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ECC31E7-88C6-4DF2-BCD2-B4A04FE2E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9B381CC-723F-4F79-9539-1F662832C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6B4846D-0320-48AD-BD34-3484E912A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206A061-DCB4-4C56-A08C-AE86D76B7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82E35CD-0AB3-49F2-A910-7560F15FA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E625E58-6345-4803-8CAF-EB936D4E46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85F64AF-BF99-4423-A443-CC9F9093F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E9B9422-5E52-449B-BAC8-DA8F3C9BA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FF701A1-E245-4999-902F-0D51B73E8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AFB43D2-4C00-44D5-A38A-BA7EBF52B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9766753-8EA8-41C2-B757-41ADAE580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D9A2D07-E0D6-489D-8DE2-38B35E203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0FB6479-663D-42AB-9503-445337065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6669938-C1C8-4036-8ACF-AE9733258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BDE4676-C510-413C-96F1-BC42333D7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ADD966B-EB94-4169-AAB0-AFB776A40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FDF268F-25B2-49A9-BC29-DFEEF7CFE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10DD2E7-630D-428A-B56A-626AFA9AF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BB98148-D718-4C8A-8300-CD7A5FFCA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747EEB3-88BF-410D-9C3F-7CAA1F2DA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1D88A7C-A526-4E90-8F4D-BE9775F94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802771C-65C5-4422-B931-5EA53A72D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B9D6B59-7338-41B0-8AFB-D8B6A58B1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7445F33-1C85-47BD-A587-50D8A301B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C9B7699-A305-4856-9E10-351D5BF72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0908</c:v>
                </c:pt>
                <c:pt idx="1">
                  <c:v>0.0933</c:v>
                </c:pt>
                <c:pt idx="2">
                  <c:v>0.0867</c:v>
                </c:pt>
                <c:pt idx="3">
                  <c:v>0.1168</c:v>
                </c:pt>
              </c:numCache>
            </c:numRef>
          </c:xVal>
          <c:yVal>
            <c:numRef>
              <c:f>Sheet1!$B$2:$B$5</c:f>
              <c:numCache>
                <c:formatCode>General</c:formatCode>
                <c:ptCount val="4"/>
                <c:pt idx="0">
                  <c:v>0.5086</c:v>
                </c:pt>
                <c:pt idx="1">
                  <c:v>0.485</c:v>
                </c:pt>
                <c:pt idx="2">
                  <c:v>0.4513</c:v>
                </c:pt>
                <c:pt idx="3">
                  <c:v>0.4556</c:v>
                </c:pt>
              </c:numCache>
            </c:numRef>
          </c:yVal>
          <c:bubbleSize>
            <c:numRef>
              <c:f>Sheet1!$C$2:$C$5</c:f>
              <c:numCache>
                <c:formatCode>General</c:formatCode>
                <c:ptCount val="4"/>
                <c:pt idx="0">
                  <c:v>653.5333333333333</c:v>
                </c:pt>
                <c:pt idx="1">
                  <c:v>1009.75</c:v>
                </c:pt>
                <c:pt idx="2">
                  <c:v>1265.2941176470588</c:v>
                </c:pt>
                <c:pt idx="3">
                  <c:v>1255.666666666666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85DC6DB-7F89-4901-B508-2BF6BE8E1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5BC67AE-C761-459D-982B-865AAE25A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A7F9E74-BE45-48CB-B066-BD7C2871C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09039A8-E66A-4254-9C8A-59F464325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1BFED59-4D53-4276-9C5D-0A08188D2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0386398-8B1D-4EF1-97C3-D503900D7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C37FA72-3093-46BD-B8D4-D2F71B97D3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40C6CA2-1502-46C4-90AA-C9963CA6D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442BA7D-1A6B-400D-8A2A-E1FE816F78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730EC9B-4E8E-4D14-A63F-79FAD5F0B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6167297-3FD6-45FD-B660-781F796FA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D920B28-E515-45EE-B5A8-587939701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4C0CE35-1384-4836-886D-3CB9932FC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415E703-82AD-43E1-B676-DBB52ADD1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8030F1F-E9BF-472F-8B82-044CF6B29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72D3EF2-38A8-41E6-9449-A2620D766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7F20E49-55AE-4538-BB38-70C695026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F1C9217-F463-4D1F-BB80-27DEC8698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E02DF1C-93E0-453D-9306-863C0CD95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CF947DF-F6E7-4F77-AF4A-279B55102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879FE95-842C-468C-8302-88222F4A5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2B6F4AF-E9FD-4DC4-BADF-C9DDC7186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3CA7C56-6308-45EB-AAFB-92B2154E7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529CC32-CE3F-46D7-8EBE-64C14918B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28E786F-9ED8-4157-9473-B49001976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F62D2E4-8E43-4066-8BF1-1762456A2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6F9C6B3-7B07-4626-9ABA-40B688464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E839E1F-3994-45CE-814D-B2D7E2CD2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77E1F2E-6D40-47D5-AD87-66D5848F5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4E408F1-736A-4988-A855-699459D14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8F95772-C90C-4B7C-A230-A2BAC75C1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7E509CE-1FF4-4170-AFD3-AAD66F20B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8175A3E-FD22-4C4A-8770-2884A3ABC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DBBE1A6-5D78-4316-BC6C-1AF63AAC1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89386E7-6C7D-47A4-BC2C-0502A75F61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5D7B942-F0A2-4E54-998B-19AE7A65B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57A911A-AAF3-4BDF-8783-92CED2906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88C381B-7C2B-43FE-B999-8769EE6CB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F5F6256-DDE7-4808-8359-F4E35FE123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C4A2AB0-42DA-4393-8B96-AB6D5679D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2608AF3-D9C0-4A93-BC4D-53407F666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B5E144A-4883-44F3-BF22-4AF3A607E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9AB454D-E506-4D80-8D4F-C215630F3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9988904-15FC-4EBE-B20C-32A442AD5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9F1CA26-B616-4C56-8EC5-A3850C8D9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3F3D178-C8B6-476C-BDCB-8972AD2ADC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11A1A20-1E04-4927-AF87-284E147DB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F9E1126-D0CB-441B-A818-1D3461482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E008DFF-D3C4-4C6C-9DF5-B40C644B2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D0C3835-13CA-4F22-AC12-E6E5D793C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4A77D78-EA22-46A2-A0A4-2F99418FC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49C0C25-C97D-442B-B953-F45FF1F69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8BF9002-69DC-4A11-935E-2DEDD322D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AE75B83A-AB1A-425B-8264-FF9017D83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DC7596E-9916-43B1-B591-17A1056AAE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7E6ED15-2EF5-467D-A235-55AAE9E25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8DC5BC0-83D6-4C1D-A97C-4C2525233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0003</c:v>
                </c:pt>
                <c:pt idx="1">
                  <c:v>-0.0544</c:v>
                </c:pt>
                <c:pt idx="2">
                  <c:v>0.1119</c:v>
                </c:pt>
                <c:pt idx="3">
                  <c:v>0.0105</c:v>
                </c:pt>
                <c:pt idx="4">
                  <c:v>0.0318</c:v>
                </c:pt>
                <c:pt idx="5">
                  <c:v>0.0375</c:v>
                </c:pt>
                <c:pt idx="6">
                  <c:v>0.0502</c:v>
                </c:pt>
              </c:numCache>
            </c:numRef>
          </c:xVal>
          <c:yVal>
            <c:numRef>
              <c:f>Sheet1!$B$2:$B$8</c:f>
              <c:numCache>
                <c:formatCode>General</c:formatCode>
                <c:ptCount val="7"/>
                <c:pt idx="0">
                  <c:v>0.2842</c:v>
                </c:pt>
                <c:pt idx="1">
                  <c:v>0.4507</c:v>
                </c:pt>
                <c:pt idx="2">
                  <c:v>0.4528</c:v>
                </c:pt>
                <c:pt idx="3">
                  <c:v>0.4492</c:v>
                </c:pt>
                <c:pt idx="4">
                  <c:v>0.5104</c:v>
                </c:pt>
                <c:pt idx="5">
                  <c:v>0.212</c:v>
                </c:pt>
                <c:pt idx="6">
                  <c:v>0.4382</c:v>
                </c:pt>
              </c:numCache>
            </c:numRef>
          </c:yVal>
          <c:bubbleSize>
            <c:numRef>
              <c:f>Sheet1!$C$2:$C$8</c:f>
              <c:numCache>
                <c:formatCode>General</c:formatCode>
                <c:ptCount val="7"/>
                <c:pt idx="0">
                  <c:v>784.0833333333334</c:v>
                </c:pt>
                <c:pt idx="1">
                  <c:v>775.1621621621622</c:v>
                </c:pt>
                <c:pt idx="2">
                  <c:v>840.2727272727273</c:v>
                </c:pt>
                <c:pt idx="3">
                  <c:v>759.5714285714284</c:v>
                </c:pt>
                <c:pt idx="4">
                  <c:v>680.5</c:v>
                </c:pt>
                <c:pt idx="5">
                  <c:v>8910.333333333334</c:v>
                </c:pt>
                <c:pt idx="6">
                  <c:v>339.7272727272727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792A7CF-0626-4B6E-802A-A25D8DBD6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5706510-1A41-4562-8DEA-90687F89D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FF02C9B-8E49-480B-A811-64956F7A6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4D154E3-48BC-49DB-B69E-46ED098CF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09EA65E-E5BB-4639-8FCD-B61E66224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55DAF1A-D38F-4D17-804D-09E7D78FE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84FAE78-4782-450F-8425-9B74070A9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4278E0E-BB28-4642-81C3-DB080D759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10891EE-2C34-41A9-8988-B837E8B20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F9B8FCE-CD2D-4ADC-8810-CCE91F98B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1B89E77-9637-447A-82A7-A3F4C9EBDA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F073CCB-7526-40BF-9579-3510552E0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023B059-6202-4B44-B6B2-810E07841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F8C04D8-F586-437D-8097-3B8D7C877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F2D1394-B3DC-443F-8907-414C839CD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E6F8319-C7BE-410C-84B5-A548FCEBE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D29E13B-80B5-4B17-9E19-6E75C4728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BFACD7E-6C67-43E0-910D-53116CEC97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463B33A-CF8F-423D-82AC-391DB83E1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B60BD2B-A95C-4FAD-9641-5734DF479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1A3033F-3D7D-4A83-B269-D520A1871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FD6114E-5A86-41DE-9B60-B114DF0BC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BBBAFB6-2409-46E1-BDDD-4DAB32EE0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2C22812-3C0E-46A2-85E1-5F066AA18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9CC6EDC-E819-4D8D-BF8A-943F188FE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4A42727-6E12-4E69-B764-8ED440563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327D54D-EE29-41F7-947B-174499541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55A6788-3420-47FE-AE73-6BED09F8B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757BB0C-DB8C-4833-B391-DECE13806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B4305DB-A32F-49FF-BD60-73821C3C2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F34B914-15B2-4456-BF52-01062EE96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7BE39BC-40FE-4795-B7F2-B30450BA0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4768E05-AD92-4D90-BFF6-FE46096972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47C062F-972A-467C-9CBB-7D89F5603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07DE953-96FB-4304-BFEB-94FE922AA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58A268F-9047-4A05-B83E-BA4D0868A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9769E78-94AB-44C5-996D-0ECB5C7F0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8D08460-53A6-4E06-BB87-31759411E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87E976E-ACB8-4CA9-A8FF-316B0C643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70E41D9-6492-4F3F-BE05-455235CE6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75D6249-4994-4C6E-9169-2F6713DDD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1136105-1458-46B6-9331-FB3FD0E24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97CEF68-6EF8-441C-A542-17525F824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89A22CE-AFA9-456F-9527-4974085A9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A9826FD-7E80-4596-9EE1-09E4DC172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201B910-BA90-4F95-97DC-65C06EF6B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0A24852-D0A1-4C41-B620-179A924D2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53047EB-A3D9-4D38-BEB3-ED1C2D35F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0B22748-565F-4F71-AC76-CF5B5BEA2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FCA6C0A-3115-4CAC-9D36-82E70FC9D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5DE6B71-2770-4F3B-817C-7755FCA0F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4F27685-DA08-4A15-8AD0-EECD5A397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9F764E4-B310-4D9F-94BB-82D9BCD31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438F16D-500E-4EDA-8AB8-2B9B3709F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37FC337-0C00-47A3-A982-E02CEAF106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AAD34E8-5D3C-4A58-A2DC-DAD5B7FF3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B871F9E-FEE1-464D-B998-025F87772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0143</c:v>
                </c:pt>
                <c:pt idx="1">
                  <c:v>-0.024</c:v>
                </c:pt>
                <c:pt idx="2">
                  <c:v>0.1159</c:v>
                </c:pt>
                <c:pt idx="3">
                  <c:v>0.0135</c:v>
                </c:pt>
                <c:pt idx="4">
                  <c:v>0.0364</c:v>
                </c:pt>
                <c:pt idx="5">
                  <c:v>0.0408</c:v>
                </c:pt>
                <c:pt idx="6">
                  <c:v>0.0821</c:v>
                </c:pt>
              </c:numCache>
            </c:numRef>
          </c:xVal>
          <c:yVal>
            <c:numRef>
              <c:f>Sheet1!$B$2:$B$8</c:f>
              <c:numCache>
                <c:formatCode>General</c:formatCode>
                <c:ptCount val="7"/>
                <c:pt idx="0">
                  <c:v>0.2844</c:v>
                </c:pt>
                <c:pt idx="1">
                  <c:v>0.451</c:v>
                </c:pt>
                <c:pt idx="2">
                  <c:v>0.4528</c:v>
                </c:pt>
                <c:pt idx="3">
                  <c:v>0.4492</c:v>
                </c:pt>
                <c:pt idx="4">
                  <c:v>0.5115</c:v>
                </c:pt>
                <c:pt idx="5">
                  <c:v>0.2119</c:v>
                </c:pt>
                <c:pt idx="6">
                  <c:v>0.4382</c:v>
                </c:pt>
              </c:numCache>
            </c:numRef>
          </c:yVal>
          <c:bubbleSize>
            <c:numRef>
              <c:f>Sheet1!$C$2:$C$8</c:f>
              <c:numCache>
                <c:formatCode>General</c:formatCode>
                <c:ptCount val="7"/>
                <c:pt idx="0">
                  <c:v>3678.779527559055</c:v>
                </c:pt>
                <c:pt idx="1">
                  <c:v>3148.787483702738</c:v>
                </c:pt>
                <c:pt idx="2">
                  <c:v>1560.5508474576272</c:v>
                </c:pt>
                <c:pt idx="3">
                  <c:v>3041.15</c:v>
                </c:pt>
                <c:pt idx="4">
                  <c:v>2524.742268041237</c:v>
                </c:pt>
                <c:pt idx="5">
                  <c:v>41115.46092184369</c:v>
                </c:pt>
                <c:pt idx="6">
                  <c:v>1050.0</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7DDF418-D8F7-418C-B2BC-4A32A48BA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9ACFFD7-7E9C-41DD-86BC-901EB784D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B0AA128-62FA-4926-B6C5-925B62C6F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8BACBB1-CDB1-447F-A7F1-77B680E4C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9119D39-BE09-4330-A89A-5C7FBF77A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F6735BB-EB34-4215-B17B-3025604A5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DDE6379-9D22-47D8-A66F-594D9649E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9B551A6-2506-4ADF-9F01-FE3D730E9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1533FC5-2585-49C7-866B-D28E30C9B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EC1B593-E243-46F1-9090-555C412C1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A05DDD2-143C-40AB-BBB4-ED49AAD44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7A3E94F-DFE9-4D28-9CED-9A403F96C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65288C3-754C-42AF-9D31-02C68043E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9083C97-B389-4A7B-9DC2-83CA9B16F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0F2897D-72A0-446C-A236-49C59A7D3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B7264E1-B210-4EE8-B0F8-0D73611DC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0CD8CDC-CB4E-4912-9C25-EDC16B9F3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E5DCDD1-8138-45AE-BF71-BDAF4E9DD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A336418-9875-47A8-8BAC-FCE842DC0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887DCE9-881B-4A67-A616-9E472D81E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17B0705-E4C8-4B82-A102-298AE386C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78FC450-F822-4042-9746-1765E72A4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880F6D6-3192-41DC-BDE0-B6DAE86A1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C1E262F-9160-47F0-A87F-31296DF8B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5D5DA49-79D5-45C7-AD2F-48F72CB26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21984D5-FBC4-4904-9940-B996F6013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74F3777-FC70-42F1-853D-435E2B831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AB28EFC-DC45-4DD2-9B1D-2160C2BD1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40E0F17-2BAD-4D3F-9169-E03F3574E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162891E-41A2-48E8-95A6-5D41EF506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897BC5D-1E65-4264-8DF4-7D857352EE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870757D-995A-4EEF-8180-D7031FCC7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0470D3B-D23D-4B4E-8B54-3B6486CF1A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EA5C1BE-9981-4494-9DF5-B9BD577B6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6A08A41-D10B-464A-8748-4D1137BB4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D172571-7295-43C2-9A32-DB7F1F217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848753A-FD92-4DCF-BD9C-0C05BD9D8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D873410-5835-42DC-A734-26C37F2F7C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F1641D9-B048-4572-9124-216090900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1367C71-4A39-43C5-97C6-677944E9D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7B4011D-AD39-4696-A1A9-F5B71752A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66D4F85-BF33-4843-8373-33E251D46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14077B1-6095-4117-B224-2F7757E18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F788514-D984-41B5-85BA-C93E77DA11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979803A-56C3-456C-B7DA-F6D8A7B53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C2BA7E8-C802-4429-9965-2383C24FB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42F8EF8-B0F2-4511-9E80-29BB98308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68C3BE0-96CA-400E-82BA-5E6B11C9F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B61E4F5-01A3-48FA-8347-E97F264DC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7C2A8CE-665B-4CCC-BC22-355403996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624C97F-5658-4350-BD54-301063224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6D033CB-FBF3-4C41-9D89-8932806AA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469789C-4296-421D-8EE6-2DBF8C20D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A6E37EC-7854-4F5A-B80D-3F482B3EA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CEF2584-118E-4344-BC77-A71564CCE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5768392-CD80-41A7-A510-44F973CD4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886A6C9-4078-43DF-8C3B-6C3C558F6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0411</c:v>
                </c:pt>
                <c:pt idx="1">
                  <c:v>0.0257</c:v>
                </c:pt>
                <c:pt idx="2">
                  <c:v>0.0373</c:v>
                </c:pt>
                <c:pt idx="3">
                  <c:v>0.0359</c:v>
                </c:pt>
                <c:pt idx="4">
                  <c:v>0.0431</c:v>
                </c:pt>
              </c:numCache>
            </c:numRef>
          </c:xVal>
          <c:yVal>
            <c:numRef>
              <c:f>Sheet1!$B$2:$B$6</c:f>
              <c:numCache>
                <c:formatCode>General</c:formatCode>
                <c:ptCount val="5"/>
                <c:pt idx="0">
                  <c:v>0.2834</c:v>
                </c:pt>
                <c:pt idx="1">
                  <c:v>0.4508</c:v>
                </c:pt>
                <c:pt idx="2">
                  <c:v>0.4492</c:v>
                </c:pt>
                <c:pt idx="3">
                  <c:v>0.5153</c:v>
                </c:pt>
                <c:pt idx="4">
                  <c:v>0.2115</c:v>
                </c:pt>
              </c:numCache>
            </c:numRef>
          </c:yVal>
          <c:bubbleSize>
            <c:numRef>
              <c:f>Sheet1!$C$2:$C$6</c:f>
              <c:numCache>
                <c:formatCode>General</c:formatCode>
                <c:ptCount val="5"/>
                <c:pt idx="0">
                  <c:v>193.99999999999997</c:v>
                </c:pt>
                <c:pt idx="1">
                  <c:v>169.55</c:v>
                </c:pt>
                <c:pt idx="2">
                  <c:v>280.6666666666667</c:v>
                </c:pt>
                <c:pt idx="3">
                  <c:v>136.1860465116279</c:v>
                </c:pt>
                <c:pt idx="4">
                  <c:v>2484.32</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14485EA-91D4-4371-986C-3ACB8BF9F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73B093F-9EB6-4CAB-9411-DAB28F779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C655454-749C-4EEB-A20F-E68E8F02B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5B206F7-9B31-457A-A209-039118DBD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2B1FCD3-CE14-443B-9C7D-4BF8B9BD9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D83A988-7510-43FF-9A23-F2C735643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7D86BA4-1C28-4374-9769-B75E892E4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1A0B25B-8573-4183-BE28-6946530A1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DB98DE9-F7AA-494D-8111-73BCBF98A7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149825F-11F6-4C00-ACB1-685754D76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24BFC08-9995-45B6-A3A0-55FDE0A21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9770EDE-9C5B-42EA-8DE7-97CADD107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F1B3A17-8E3E-4D06-BE13-6F61AEFAD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9E19ED9-2BB8-429C-9319-BFA9FC837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208027C-2D2B-4C2E-8618-E0C60C868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9A78D92-DB8A-4BDD-B5C4-E3A0AC5514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A85E3AA-D4A6-4358-ADD5-5AB33D5C0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5EA17D4-63E4-414D-89DF-5375ADF53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E8E279D-8F0A-43C1-88E4-74FDA797CE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4207367-ECDA-42A9-88E5-5B22185397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4640F66-6A8A-40EF-8542-FD6345CE6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D75EAD9-C469-41FF-8008-C0DDFF69A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C89F8A0-ED50-4D2C-ACAC-833820531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6B5A16A-8AAC-4BB9-B0F8-1AF8BA517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23A75A5-7389-49E1-B17F-BEF0B7FA7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66D84CD-76C2-4C4A-BBD7-EF381C8BB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F079D2E-A909-4740-9265-313BAA53F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EDF7B23-6EEE-497F-9EE5-F1899F14D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AEFEEB5-6A8F-4C1A-9CED-426682AE2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E8FEC01-AA60-471D-86BE-A8645C991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106C195-BF2F-4D35-901C-DE5DC2F26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CC87BEB-8E09-4D07-AAF4-F748027F5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838C9D3-91B2-4254-8BFE-E802F632D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AC52D30-DABD-47C6-8FA8-49DA43210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32A0393-3E98-48D6-8914-C4E7FD8FD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48DD72A-797A-4B7A-BAF9-72ECA71B1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6D402C6-6161-47F0-87C0-F64930A39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6B5F9F9-DA0D-4188-98FA-542CC034F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0681A10-7CCA-4E59-BD38-74FA84BB2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1C4832A-897C-48EE-A731-74A83FD7D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81033B2-8744-4A5D-B28F-E408D8262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FA238B0-EE67-42CD-9405-9290B2414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F662005-D87D-457E-A7EA-870B4BD76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F2C2A6E-5E56-4EA0-B92D-1E7099A44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FF8DEEC-66DE-40E6-A19A-F9198CFD3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14BCFA9-B0F2-44D4-BF81-3B0E3A618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CA856E0-E466-461D-839E-D01CC8406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65F831B-7333-4F69-AFBB-1A0B8C0A2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CA29B06-6898-4AC2-A98D-BA1AD9964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17D6FAD-03A8-4FF4-8902-212CBED87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D3CCC28-1F9F-4DC5-876D-74BE2E7F7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43EE8EC-F425-4582-85BA-7DFDB8C78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1D6357E-1704-4D90-B852-5DAEB90CAE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A11D9DB-2B24-437C-BCD9-F278A3620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F832CDC-DCC5-4AC1-ACBB-C09CB37FA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D6FFFAB-81BC-48EB-B9D3-09A16F2FA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374A435-3993-44F3-921F-74E14D32A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0427</c:v>
                </c:pt>
                <c:pt idx="1">
                  <c:v>0.0044</c:v>
                </c:pt>
                <c:pt idx="2">
                  <c:v>0.0811</c:v>
                </c:pt>
                <c:pt idx="3">
                  <c:v>0.04</c:v>
                </c:pt>
              </c:numCache>
            </c:numRef>
          </c:xVal>
          <c:yVal>
            <c:numRef>
              <c:f>Sheet1!$B$2:$B$5</c:f>
              <c:numCache>
                <c:formatCode>General</c:formatCode>
                <c:ptCount val="4"/>
                <c:pt idx="0">
                  <c:v>0.2848</c:v>
                </c:pt>
                <c:pt idx="1">
                  <c:v>0.4509</c:v>
                </c:pt>
                <c:pt idx="2">
                  <c:v>0.5038</c:v>
                </c:pt>
                <c:pt idx="3">
                  <c:v>0.2125</c:v>
                </c:pt>
              </c:numCache>
            </c:numRef>
          </c:yVal>
          <c:bubbleSize>
            <c:numRef>
              <c:f>Sheet1!$C$2:$C$5</c:f>
              <c:numCache>
                <c:formatCode>General</c:formatCode>
                <c:ptCount val="4"/>
                <c:pt idx="0">
                  <c:v>117.4</c:v>
                </c:pt>
                <c:pt idx="1">
                  <c:v>134.71052631578948</c:v>
                </c:pt>
                <c:pt idx="2">
                  <c:v>38.91803278688525</c:v>
                </c:pt>
                <c:pt idx="3">
                  <c:v>1744.5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0FD2118-CCD0-4649-A0F6-E262A1783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D26D064-7EB4-474D-A88E-6C293E7D0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17FDC8C-CECA-419B-884C-ED5F272C4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EDF2AFD-A745-4FCF-B8DA-7E27565F6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0031B61-0B47-49FB-80F3-B1CFBB3B1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4D14466-96E1-48CC-BA42-4917465E3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C72A13D-F48B-401A-81DF-F568E1F37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7FFA9E7-0D9F-492A-88D9-AEA7B07F4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0.9342</c:v>
                </c:pt>
                <c:pt idx="1">
                  <c:v>49.9324</c:v>
                </c:pt>
                <c:pt idx="2">
                  <c:v>24.6859</c:v>
                </c:pt>
              </c:numCache>
            </c:numRef>
          </c:xVal>
          <c:yVal>
            <c:numRef>
              <c:f>Sheet1!$B$2:$B$4</c:f>
              <c:numCache>
                <c:formatCode>General</c:formatCode>
                <c:ptCount val="3"/>
                <c:pt idx="0">
                  <c:v>0.517</c:v>
                </c:pt>
                <c:pt idx="1">
                  <c:v>0.3948</c:v>
                </c:pt>
                <c:pt idx="2">
                  <c:v>0.5313</c:v>
                </c:pt>
              </c:numCache>
            </c:numRef>
          </c:yVal>
          <c:bubbleSize>
            <c:numRef>
              <c:f>Sheet1!$C$2:$C$4</c:f>
              <c:numCache>
                <c:formatCode>General</c:formatCode>
                <c:ptCount val="3"/>
                <c:pt idx="0">
                  <c:v>276426.5759</c:v>
                </c:pt>
                <c:pt idx="1">
                  <c:v>5134800.602500003</c:v>
                </c:pt>
                <c:pt idx="2">
                  <c:v>43052.1636000000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9.91888"/>
          <c:min val="8.7473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207061182969017"/>
        <c:crossBetween val="midCat"/>
      </c:valAx>
      <c:valAx>
        <c:axId val="1011451359"/>
        <c:scaling>
          <c:orientation val="minMax"/>
          <c:max val="0.9975599999999999"/>
          <c:min val="0.0758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7566670394216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F915DF3-23CE-4360-A8EE-BE595A262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4EE3896-224D-4161-92FE-213E70F9D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7DFB46E-40FA-48BD-981C-C6005A19E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8AE81E3-5F27-4AB6-AE64-7D36429D2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760D5-F42E-4168-9BD0-AE4E60E3E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9280CB2-811B-4153-8539-7D71F7130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8CA8681-B6BD-4201-9913-C98EA68CE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16E981A-150A-41B3-9FDE-91E76A42F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4A36020-CA7C-4A7B-AF16-05050BE80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6464510-53E7-45C8-87D3-57BBD42D6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74D7286-7B7C-49BA-A295-45A9FD399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D3C128E-6CC6-4F67-B830-59F059568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135BA52-4EE4-41D5-8079-8543FBF1B1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3B1827F-2FDC-4B18-A3E8-AF2AF388A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CEEAD01-08DC-4E76-A3B4-28F89AD24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127F021-2F5C-4269-B5BF-A6B9A3430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4866E33-9F97-4A41-819A-FFBBA2BE1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7E98ADE-C393-4FA8-BE07-80DAF4E41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C53129E-FB8E-4612-A6F1-10385B2EA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4297ADA-9236-41DA-B060-C0CA4CD6A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11DDA3B-EA77-422F-AA7D-5788BADDE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B49B1E7-D916-4621-A594-6BDEB4186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8E7D054-9055-427A-ABC2-B685FF834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F978832-6C5B-41FF-B2EF-97063BDFB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C070EB2-8399-4A99-821F-E238B4177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0024016-DA14-4D6F-8F8D-7DC46F138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9F2BEEC-477B-4F3B-9ACF-F822BF48F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70B889B-8792-4672-B231-F048E241EF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D8A8C2B-F5F6-45F1-978E-8A7F8E02D1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89CFCC0-A6AA-43BD-8F76-DE7B5AEF7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9221CC8-8B9F-459F-ACDB-36F7EB5D0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7E61F70-28E6-4ABD-9585-60995D795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9021E61-EC2D-4A5A-B039-E866C8B62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DE108CC-D0F1-4125-AF13-0EAF472C1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B49A4B9-58C6-4E55-A528-83B22F8D4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5BE9316-F18B-4A89-B0DC-66A9874AC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709EBC3-2B8F-47C3-93E7-7EA406F01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D7C06F6-16D4-4D97-8362-C53084B36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22081F0-E127-443A-BCDD-C8C426245A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E822392-66C8-4D37-964F-7E1AD4236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6F145AC-D074-4786-8F5C-F4250D77A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7FDF079-6F28-4929-86F9-39B91D78C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2C0C57E-32FC-46B0-912F-B78AF6971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00B962B-6FD5-4CF5-9BC7-18A538A41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849FBD3-91CB-4ED1-A891-C90657C06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C76438D-EE77-44FA-95A4-9E69C12DF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D6012B8-AB20-4DC1-BFD6-FA7EDBFD6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A17D9DC-667B-4755-A7E3-8E724817F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5AB47FC-5735-4F65-A53B-C847BD880E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985C9D6-081F-4409-9D1E-930446DEB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2665B4C-F266-4D86-96F6-C81A2D406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25CD24A-4C63-4783-B035-C5D760354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91ED9FC-C2DC-468B-8127-2B83D3B68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6BB0D30-6DDE-480C-AF28-182DA5A9A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D21A156-1B93-4416-A687-07D431E89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F764271-C04A-4F89-9BF4-7F557A57D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416CD40-FF96-4388-94E2-66D21CB3B9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0177</c:v>
                </c:pt>
                <c:pt idx="1">
                  <c:v>0.0292</c:v>
                </c:pt>
                <c:pt idx="2">
                  <c:v>0.1352</c:v>
                </c:pt>
                <c:pt idx="3">
                  <c:v>0.0342</c:v>
                </c:pt>
                <c:pt idx="4">
                  <c:v>0.055</c:v>
                </c:pt>
                <c:pt idx="5">
                  <c:v>0.0447</c:v>
                </c:pt>
              </c:numCache>
            </c:numRef>
          </c:xVal>
          <c:yVal>
            <c:numRef>
              <c:f>Sheet1!$B$2:$B$7</c:f>
              <c:numCache>
                <c:formatCode>General</c:formatCode>
                <c:ptCount val="6"/>
                <c:pt idx="0">
                  <c:v>0.2843</c:v>
                </c:pt>
                <c:pt idx="1">
                  <c:v>0.4519</c:v>
                </c:pt>
                <c:pt idx="2">
                  <c:v>0.4528</c:v>
                </c:pt>
                <c:pt idx="3">
                  <c:v>0.4492</c:v>
                </c:pt>
                <c:pt idx="4">
                  <c:v>0.5078</c:v>
                </c:pt>
                <c:pt idx="5">
                  <c:v>0.2126</c:v>
                </c:pt>
              </c:numCache>
            </c:numRef>
          </c:yVal>
          <c:bubbleSize>
            <c:numRef>
              <c:f>Sheet1!$C$2:$C$7</c:f>
              <c:numCache>
                <c:formatCode>General</c:formatCode>
                <c:ptCount val="6"/>
                <c:pt idx="0">
                  <c:v>239.525</c:v>
                </c:pt>
                <c:pt idx="1">
                  <c:v>221.125</c:v>
                </c:pt>
                <c:pt idx="2">
                  <c:v>216.78571428571425</c:v>
                </c:pt>
                <c:pt idx="3">
                  <c:v>133.1153846153846</c:v>
                </c:pt>
                <c:pt idx="4">
                  <c:v>105.62499999999999</c:v>
                </c:pt>
                <c:pt idx="5">
                  <c:v>1794.81</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9463C55-DB95-4DDD-B995-7D64E98AB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13E596D-0D03-44CA-8685-6CCC877AE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CEA0D48-F97F-4589-B829-6A61CABDB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57DD6AA-2A6E-467D-BE26-41DFC1770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9D53A66-1E05-47E4-A193-10CC1FDB0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782A221-EACA-4D2D-BEBF-9D4A7E135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13378EF-E086-48BB-ADE0-5671584ED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2E3BD7B-8F1A-49D9-9F65-DFEF22A240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129BA78-F8F4-4113-8373-E1BEF4896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5B87B9C-63E3-4DF9-B86E-A4930FC8D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A4D342A-2A82-4C73-B5B9-EC52DFB34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5121F50-44E6-44A4-A12F-A30B7A9C8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574E440-ABB5-4458-8C5C-97245C6B3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11239FC-3E09-47E1-8041-0ED884886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5AC60B0-DC47-4E36-8288-6BD302BE4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2006CE0-964F-4646-9FA9-337ED858E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C61F232-3B1E-4091-B2E5-841A5B691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CED03E7-0ADF-4F44-86D5-72E04937F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CD6DD7F-46BB-422C-B0D1-B7C729815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5E7749D-2BB6-4743-AEA1-7E94938B1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BC01B3C-4EE8-45F2-A47B-CBC33DFCB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4E7D3A3-CF86-479B-BBDD-DD18DE974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07FE93F-7829-4E7F-9DD7-DEF1076B7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FB9C16F-B043-4293-B109-32CF3CF13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24FB590-8D45-43FB-AABF-5623E471B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3538EAF-23C3-42E0-8EEE-E22168547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D07CA18-0DE3-4480-B5C7-CA97A56F8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42AA932-79AB-4672-AEDB-C4BD34484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B44BAE7-D462-4137-B1F9-1C3E7561E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5434167-35AD-45EB-ABB0-1CFB63A999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702A6EE-B653-4576-9880-73FB3121B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4791AAE-DB03-4BD1-9588-942B0E38D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D9A4374-A7A7-4C8E-8921-C02143E3D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DCF753B-E357-46D9-95D0-E8D22D0B5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302C540-BEDD-456F-B52E-CA60940B4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A7EC192-CD0F-4F1F-BF45-2BCB9B61C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CCAA81C-412C-4B23-8E87-10FCF5EB2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BD0B048-55F6-4948-AD9E-B407B9894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0299BE31-E816-4247-9E5F-6AF178E07E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33FB41D-6B85-43BC-82A2-52ED4267D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BD6862F-ACE7-49A1-B3F8-4B51D1558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2537BCB-ABD3-40A7-BBBC-CC6A0C1E5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70E4BFB-1034-4A10-AB0E-80C950FB9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7863D4C-EC03-4787-AAE9-055E33C4C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76C1479-72DF-4ABA-AC08-F379E37E0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FD4AB95-811E-4470-A1E6-52ADA3A97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F46D05A-FB28-4992-B9DF-20986754E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715E7DE-F8FF-49D8-A428-8B8EE834B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D634655-6DBE-47C2-B404-3A1828889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0AFEFCF-0D75-4A75-8446-10E731249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3972651-3570-445E-B530-75919BF5CE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A56A353-E28F-4213-9158-124CF6438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3550826-23E4-4A0D-AA17-5440ACFCB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6CB1C8D-B307-4F33-B4E5-D78B9F7E9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A49C9DA-8BB4-4237-8314-BA38AD1DC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D561152-CA96-4E5E-A34A-3A5BAA761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D2D9205-F272-4CC3-94E1-3FF5F0E45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0002</c:v>
                </c:pt>
                <c:pt idx="1">
                  <c:v>0.0537</c:v>
                </c:pt>
                <c:pt idx="2">
                  <c:v>0.0445</c:v>
                </c:pt>
                <c:pt idx="3">
                  <c:v>0.0619</c:v>
                </c:pt>
                <c:pt idx="4">
                  <c:v>0.0184</c:v>
                </c:pt>
              </c:numCache>
            </c:numRef>
          </c:xVal>
          <c:yVal>
            <c:numRef>
              <c:f>Sheet1!$B$2:$B$6</c:f>
              <c:numCache>
                <c:formatCode>General</c:formatCode>
                <c:ptCount val="5"/>
                <c:pt idx="0">
                  <c:v>0.2844</c:v>
                </c:pt>
                <c:pt idx="1">
                  <c:v>0.4515</c:v>
                </c:pt>
                <c:pt idx="2">
                  <c:v>0.4492</c:v>
                </c:pt>
                <c:pt idx="3">
                  <c:v>0.5084</c:v>
                </c:pt>
                <c:pt idx="4">
                  <c:v>0.2118</c:v>
                </c:pt>
              </c:numCache>
            </c:numRef>
          </c:yVal>
          <c:bubbleSize>
            <c:numRef>
              <c:f>Sheet1!$C$2:$C$6</c:f>
              <c:numCache>
                <c:formatCode>General</c:formatCode>
                <c:ptCount val="5"/>
                <c:pt idx="0">
                  <c:v>69.28125</c:v>
                </c:pt>
                <c:pt idx="1">
                  <c:v>54.00000000000001</c:v>
                </c:pt>
                <c:pt idx="2">
                  <c:v>88.07407407407408</c:v>
                </c:pt>
                <c:pt idx="3">
                  <c:v>35.32</c:v>
                </c:pt>
                <c:pt idx="4">
                  <c:v>1057.9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56830F2-67D7-45A1-9639-3D0D61BC0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C8A684B-FAD2-448F-B01C-BE1AC148D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8869921-A482-455F-AEC1-C5F579D983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F5AB290-4A30-4E53-A5CC-5E656BB9A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65EF925-24DC-4004-B1F1-4018C1EB1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914F169-B76F-49C2-9359-F8C48BBF3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9994657-41A9-41DA-9814-325898E4F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0C4DBE6-91D3-4037-AB3D-868E0413F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FC87BF3-5A99-4522-ACEA-27EDD16DA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22C4AEF-1FD8-4AD9-B402-87C8B1C83C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61A97C0-48AD-448B-A664-0EE1588DD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292347D-4190-43AC-A45F-EF0B3155E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3E4ECA1-12FE-4A5F-9CDD-24111CB0A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575A0DF-4DDA-4137-948C-9A12AB626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5EDE1D3-63D3-40FB-A488-DBF2AC2E1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A56B9BB-AE76-40FD-97F6-89D41934E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79F6311-F8CE-40DF-93A0-8556D5D50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BA80459-E22B-4017-BC8F-D4E213255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0E71240-758E-4477-96FE-9D49F072B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E576D066-1453-4BE7-A2A0-37F9B2358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288BF2B-4FA7-400A-B0C5-256F88E97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299B145-1F07-479D-AD8D-1B7580A4D5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6612E19-6F23-4E2B-B9A8-89F3B88E5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A5FF7A0-4127-46E4-B621-5EA6F62FA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5A52922-A226-4751-8BBE-483AC1A99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8DBBDC9-2EDD-4BEE-A0C6-2F16E2A0D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6BC2A94-5776-4A7E-ABC2-CB1E592F9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7DD2068-BCD3-473E-977A-942397F39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A9A4159-45EE-438A-A4D8-36776FABE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2CC83C4-1D0A-4937-8533-7B88A517B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6C53100-9DC6-4DE2-8B0A-D437A8050A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E783A34-9609-4816-B0FE-F73084652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B23A61E-8A54-49F0-8B4E-B911A69CB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10CEF77-8A24-454C-9A6A-BC720761F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B5519C1-975A-448C-8463-0C44DBDD3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96D1DF8-9F78-4FB1-8F3A-CD206AF3A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32552D9-38A1-4214-B970-C2DAD9577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0C3D822-48D7-4B05-9410-C1FB355B8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AB5C4BD-7DCE-4449-81FF-0AC3C43D0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42DC7C9-13A3-4C1A-89FA-A7E7C2791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394ECF4-735C-49C0-82D9-AE24A52A2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3896D60-7446-4AAE-8495-2ACD67979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9531EBE-364A-49F1-95A4-9815BFADD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0C4893F-A911-4FEA-A047-56697BAF5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8A5E0E5-EE85-4ADF-84C4-C6950CDD9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6F9CEE25-55B7-4BE9-A8BC-C4CC8F46E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472F642-F713-4A55-B0D3-5682745D6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5D2C7D1-FA17-4992-B166-62B203715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51368E7-C2EE-46E1-A32B-FACF7E974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2D41D8E-A839-4C83-A3D2-B5223CCA6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A8280FE-6A83-4061-A3A1-36D5FD7C5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DAF21401-A4FE-4B03-B777-9748DA3D2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8FF6EA2-85E6-4869-9C5D-E45C28C05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E42754A-1A81-4383-BCF3-675C624EB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4DD78A2-1098-4710-89A1-5369784EF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7C78177-0922-4BF6-9E52-89585036C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EF1F52D-9623-4FAB-8FF0-D4143752C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0533</c:v>
                </c:pt>
                <c:pt idx="1">
                  <c:v>-0.0166</c:v>
                </c:pt>
                <c:pt idx="2">
                  <c:v>0.0751</c:v>
                </c:pt>
                <c:pt idx="3">
                  <c:v>0.0339</c:v>
                </c:pt>
              </c:numCache>
            </c:numRef>
          </c:xVal>
          <c:yVal>
            <c:numRef>
              <c:f>Sheet1!$B$2:$B$5</c:f>
              <c:numCache>
                <c:formatCode>General</c:formatCode>
                <c:ptCount val="4"/>
                <c:pt idx="0">
                  <c:v>0.286</c:v>
                </c:pt>
                <c:pt idx="1">
                  <c:v>0.4507</c:v>
                </c:pt>
                <c:pt idx="2">
                  <c:v>0.5063</c:v>
                </c:pt>
                <c:pt idx="3">
                  <c:v>0.2129</c:v>
                </c:pt>
              </c:numCache>
            </c:numRef>
          </c:yVal>
          <c:bubbleSize>
            <c:numRef>
              <c:f>Sheet1!$C$2:$C$5</c:f>
              <c:numCache>
                <c:formatCode>General</c:formatCode>
                <c:ptCount val="4"/>
                <c:pt idx="0">
                  <c:v>92.72222222222223</c:v>
                </c:pt>
                <c:pt idx="1">
                  <c:v>128.18072289156626</c:v>
                </c:pt>
                <c:pt idx="2">
                  <c:v>73.23529411764706</c:v>
                </c:pt>
                <c:pt idx="3">
                  <c:v>1647.1</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CABBE1D-B110-4575-9139-2F5B445BD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5AFF362-414D-4A2D-AAD0-0221D95A4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2660443-7ED3-4F23-BEF0-D2E49A08D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3C4E819-345F-4414-BA6C-DC1C9A52C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8FDBD8E-052B-40BF-8B34-DB95628C9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F778604-FFC5-4F2C-9F1D-6C391BCBB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8B5C1C5-5551-405F-9E32-40524F202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E05AC2D-A29A-4988-92B9-3F014B9079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FAD9286-BB90-4C82-89B6-F6DAA97D6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F7C1B22-2836-4254-87CA-32A4FAA9C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F8AD24E-3DDF-4E68-9798-8AE33F6FC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DE1F8A5-6BF4-45C4-9CCA-2A9598BFD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429DADB-EC3A-4A33-B21D-C1BC3D0A2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0DD2A3D-9AA8-43CD-AAA1-303D11521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A1A9358-8A6C-44A6-9C1B-4F6681FC6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0D2213B-DDD3-491A-A703-5E64EC17E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9BD62CA-4D8A-4473-8F9E-44183498C6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600510C-0167-45A0-AE3A-DBF1EA14D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F36D277-0B92-45C2-8BAD-EF65425F1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FB93959-150A-4A3D-AEAD-CADB5BD3A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4FC85DC-D31B-40B7-97ED-34D4E67E8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C609382-1C74-43D1-8CD1-CBF79B4A7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1D40895-40BF-4A39-83CA-A35CF4501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5C8431D-6404-4F10-A2ED-111437CB6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62447BD-0EC3-44D2-87FB-5FCFEFCBE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63BB98D-49B7-4C9E-A821-0104B5CFD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E0BA4D9-0283-4ADE-B3F5-CCA295A3F3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D724D26-FD04-46D8-801F-AB9022AA0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3AFB2E3-A0CE-46CE-AA15-16DBED010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D6017C7-9541-4CAC-BF25-CDEA2F4D1A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D3E6982-444B-47F7-8980-98C9A6995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A43237A-70F3-406B-9DFD-F30FAB957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E4B999D-15FE-420C-8891-76301BA05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537A501-0BEE-4EE0-A266-B8BE98055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2850F7A-7174-4CD5-8C9C-4A82D8409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6302A75-6673-4193-A807-2B601AF00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716A7D8-0856-42DD-98AE-2BA4C5D48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8F7AE52-7A25-4B7D-92DE-70BF80629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98AFCAB-D06B-40DC-9B89-17463B72C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FC50532-D93E-440E-A70D-1A26FE64C5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25A1524-7815-4DC2-9912-38910D3BB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9F8AB0C-E002-4DFA-AC6B-ADA5B4E31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B11037A-BD39-47B2-BCC1-983D5F9DA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B8E8188-BF2D-4ED4-9E6C-33BEABBE47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1483E05-DBB3-4154-8300-AEF998D9D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F7D8E3E-E626-4250-AF2D-4FC1DB385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852DE3E-2FD6-410B-A87D-42EDF5C75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B38A0BC-6FDF-4D60-A7FC-E41B88E5A9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B82FF1B-4C15-49EE-AA60-A1862E0F7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B39D944-6671-4B51-8903-64D077CA5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E5B1331-F314-4FBE-99C0-9552F4A76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79DDBAE-52EF-4BF5-8C96-217D0CC9EA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A2722A5-00C0-4C8E-9DBD-4D5177403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32089E2-C9F2-4063-9F07-BA774105A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34B6C89-D4EC-48E2-8268-D464DAFAA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B56F318-6B8A-4BB3-B0AD-D066F1093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87B0E86-99B5-4961-853E-D13FFD419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0025</c:v>
                </c:pt>
                <c:pt idx="1">
                  <c:v>-0.0277</c:v>
                </c:pt>
                <c:pt idx="2">
                  <c:v>0.1125</c:v>
                </c:pt>
                <c:pt idx="3">
                  <c:v>0.0031</c:v>
                </c:pt>
                <c:pt idx="4">
                  <c:v>0.029</c:v>
                </c:pt>
                <c:pt idx="5">
                  <c:v>0.0386</c:v>
                </c:pt>
              </c:numCache>
            </c:numRef>
          </c:xVal>
          <c:yVal>
            <c:numRef>
              <c:f>Sheet1!$B$2:$B$7</c:f>
              <c:numCache>
                <c:formatCode>General</c:formatCode>
                <c:ptCount val="6"/>
                <c:pt idx="0">
                  <c:v>0.2843</c:v>
                </c:pt>
                <c:pt idx="1">
                  <c:v>0.451</c:v>
                </c:pt>
                <c:pt idx="2">
                  <c:v>0.4528</c:v>
                </c:pt>
                <c:pt idx="3">
                  <c:v>0.4492</c:v>
                </c:pt>
                <c:pt idx="4">
                  <c:v>0.5126</c:v>
                </c:pt>
                <c:pt idx="5">
                  <c:v>0.2119</c:v>
                </c:pt>
              </c:numCache>
            </c:numRef>
          </c:yVal>
          <c:bubbleSize>
            <c:numRef>
              <c:f>Sheet1!$C$2:$C$7</c:f>
              <c:numCache>
                <c:formatCode>General</c:formatCode>
                <c:ptCount val="6"/>
                <c:pt idx="0">
                  <c:v>784.4117647058823</c:v>
                </c:pt>
                <c:pt idx="1">
                  <c:v>757.8333333333334</c:v>
                </c:pt>
                <c:pt idx="2">
                  <c:v>369.25</c:v>
                </c:pt>
                <c:pt idx="3">
                  <c:v>502.89285714285705</c:v>
                </c:pt>
                <c:pt idx="4">
                  <c:v>511.9767441860465</c:v>
                </c:pt>
                <c:pt idx="5">
                  <c:v>10463.09</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5285760-D76B-43BB-A7B3-84638748E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E483288-4E8B-4EEB-8021-0CAEDFB1E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F8629C7-2AF2-4FC0-983A-C82121858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4459FA7-7AB9-4D17-ACF3-7DD55A654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823E69D-0884-4F66-BC0B-5D0B5FFD5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875545A-8B93-4978-9AD0-B966EADD48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473F3A6-3430-4E5B-9755-233834835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56C6BF2-9802-4613-83A2-118D03423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FF803A4-378D-4AEF-9643-94E3061A1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D8C559D-B3CC-40F0-8999-44F23C605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6293080-C775-454E-AB14-AC38E303C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FE06265-EE4F-4544-AF90-FD4D954CA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288CBA5-EB95-4176-981D-F4FFA0E42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52E352B-0D10-410D-A12B-19595D0FA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20FC3EB-104A-47BE-B0FA-CDA1E2CEF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1C5576D-A189-4D54-BC93-A8DBA281E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91FC33EE-4A7F-4B96-ADA3-725CBA1E9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AB99EE8-2DE3-4D9E-9A3D-1AF81624C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450DA48-2359-40D5-9D07-A0FCCE40C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F31C047-7A81-430F-86E1-FB17F3F30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7295001-AE24-4F8F-8E93-EA4AEB6AF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7361C2A-C12C-4AD8-8A4F-CE162A869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E6673B2-8C6A-4199-BAE1-FA26D5DF8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0B84147-5B12-4FC9-8777-47E497DC0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0811D9D-B947-49C5-8E03-D8F4C23E8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1FA49FF-E5C8-4146-AF7B-C06E317F8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3B42355-D5F8-4139-9722-4DF872D8AF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BDFBC64-0DC1-4FD7-A0C7-FD5F0AEDA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99818FD-DF1B-4A2C-8538-56CB0B566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64B943C-D8E6-471D-97B1-0E9971629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08FBBCD-451A-4278-A0E1-DEFEDA582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749307B-97D4-41E4-9541-7560AEE9C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57C0F48-DE54-4A6B-898E-BD95FED46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F1457CF-FB52-4EB6-8B3A-79ABC015E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FF5F9FA-4EE5-493F-9F33-17AAE4CD8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0BD4418-AC01-4680-9C6F-81DBC4B601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AD0D310-6498-42CA-A386-33AA5618A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B323418-A3EF-48BC-9A96-5AA2C56BD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A75B971-8D40-4A23-9D1D-0EAB9EC6C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599B7F6-420F-46C1-9C92-05AC16F84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69398D3-01EA-47CE-B5FE-FE4FA3238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A8EABAD1-8725-4E47-9E57-4BD39B6BD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CE9CBC8-6667-48EA-B15A-24E3DE8B8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455FD95-D72A-4E7D-A498-DC3B28745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3A3695F-34F8-4029-9E72-CBFE494A1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703B121-6ECD-4BB3-B307-31A0AEA6E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1A2E140-CD69-488B-95D8-C8B1A0F3D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07C1E91-811B-417A-82B0-A75FC610E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16D7B34-0806-401E-9B3D-1763597DC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CE34FB9-BA69-4616-9890-259AE86ED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21D0083-D1BC-4D33-8EAF-597328A3C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87A22DE-CEFC-4E5D-89E4-6984222A70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09F0524-2587-42E9-B980-D0F5D948F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5336E04-6D03-4F71-8E6A-1D9102EE8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EB1BC84-1D06-4A55-9F97-3A3DBD4C98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8BE96CF-503C-4A09-9BE3-72970B3A8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1B33FC8-86CA-43B1-AB68-A00DEC827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0236</c:v>
                </c:pt>
                <c:pt idx="1">
                  <c:v>-0.0308</c:v>
                </c:pt>
                <c:pt idx="2">
                  <c:v>0.1338</c:v>
                </c:pt>
                <c:pt idx="3">
                  <c:v>0.0142</c:v>
                </c:pt>
                <c:pt idx="4">
                  <c:v>0.0322</c:v>
                </c:pt>
                <c:pt idx="5">
                  <c:v>0.0395</c:v>
                </c:pt>
              </c:numCache>
            </c:numRef>
          </c:xVal>
          <c:yVal>
            <c:numRef>
              <c:f>Sheet1!$B$2:$B$7</c:f>
              <c:numCache>
                <c:formatCode>General</c:formatCode>
                <c:ptCount val="6"/>
                <c:pt idx="0">
                  <c:v>0.2841</c:v>
                </c:pt>
                <c:pt idx="1">
                  <c:v>0.4509</c:v>
                </c:pt>
                <c:pt idx="2">
                  <c:v>0.4528</c:v>
                </c:pt>
                <c:pt idx="3">
                  <c:v>0.4492</c:v>
                </c:pt>
                <c:pt idx="4">
                  <c:v>0.5112</c:v>
                </c:pt>
                <c:pt idx="5">
                  <c:v>0.2118</c:v>
                </c:pt>
              </c:numCache>
            </c:numRef>
          </c:yVal>
          <c:bubbleSize>
            <c:numRef>
              <c:f>Sheet1!$C$2:$C$7</c:f>
              <c:numCache>
                <c:formatCode>General</c:formatCode>
                <c:ptCount val="6"/>
                <c:pt idx="0">
                  <c:v>461.2857142857143</c:v>
                </c:pt>
                <c:pt idx="1">
                  <c:v>361.032967032967</c:v>
                </c:pt>
                <c:pt idx="2">
                  <c:v>409.5833333333333</c:v>
                </c:pt>
                <c:pt idx="3">
                  <c:v>378.9047619047619</c:v>
                </c:pt>
                <c:pt idx="4">
                  <c:v>364.9555555555556</c:v>
                </c:pt>
                <c:pt idx="5">
                  <c:v>6289.3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BDA0723-CCE7-47FD-9A6B-F05496AB4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A470F1D-D1C9-4F82-8867-1D96E6EED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CF15EE0-4B24-4321-9014-832C715BC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1C143BC-53F1-4C81-B2E8-3C0026FE0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ACE5C72-D83A-45C2-99FD-08D8F9B57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4A621B7-853A-4C1E-BFFD-2399A7DB5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8D1E8CC-0803-48F7-AEDC-DD9E0A0B3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3A666E4-0F05-4CA8-8A4C-D1F459337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6C68712-6DA9-4496-93DB-8808F3095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AABBC9A-64CF-4069-A896-4E1E737C6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D969DDD-5438-4216-8FF4-B247C8F16E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91AFC02-DCB2-4F3E-A4F9-0FC12F80D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ACAF017-33F5-4CBB-8FC3-A387A3EEB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7C6C5D0-3032-45E4-8A9A-81F3C5260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B2B72C7-38B5-4831-A4BC-4E3377D1E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7148BDD-D9CE-4978-B080-30495977F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D56A92D-963A-4E70-8324-73AD6DDD2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B51C61C-922D-43A7-83E9-83F8EABA7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CBF7579-02F0-4693-83AD-6C760D31A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6DBF691-EB80-4BBF-B0A2-969B21990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332C7D6-E5CD-4D46-A578-CDCC14D9E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71AEAD9-0154-47F8-8814-54815AE1A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68A40FB-535B-48CC-BA7B-7A84C7186E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30E907A-F9B5-4029-A762-B164CE8E4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EE2E104-F172-42C4-BFB6-1DF1A0DEE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3FBF800-D0B5-4947-BD3B-ADE2FEAA8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D6FC4BE-2B87-4121-85A5-6CBFD2379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3B65339-1D78-4514-BBE5-0E435BEE3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09B51B4-BDCC-47CA-9222-8952CFB66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D7AC90E-659C-428F-9E48-B725F96C2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46EC5D5-6D60-410C-AB5E-33D6EC57B0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CFAC766-3864-4998-9BEF-207C5AD0C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E8AD823-250E-4967-A43D-EDA48C2F7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2413762-16BE-49CD-88A4-CB3336E48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5A52422-0C98-4B80-A12B-B9E3FBDDF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E68C363-077F-4210-9432-F1861103A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FA7B951-6BBC-429A-A647-0CFF7B9DD6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3E13008-D516-4967-AC3C-19304D5B9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3ADC0CD-22DD-4337-95EC-CE8F31078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5F97E8C-460E-4BB9-ADEA-3EAF57E3B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85FE075-F279-4D5D-BF57-5E72253FF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D530A61-BE06-4C76-AAF6-AEF45750E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305730E-2D80-4DD7-B3BA-63B1EFDDA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3281835-3650-4CCC-8961-385DEB9E3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4780507-216C-4746-8B04-B3EB03E0C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6C6F912D-DBC5-47B2-95B9-2A71DE52E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E01E2EE-37AF-4AD7-AC62-2BBF8D173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A20A711-C697-44A0-9641-FCA50133C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2BE45BE-5261-4D56-93EC-A6EE4FFFC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AFCA8BA-6EF6-463F-B465-B73CF5260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751CE58-F848-4F37-9FD4-3C3D1065A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B936351-7371-4E43-8574-912C4E11A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838B0DF-AD12-41CD-B357-7B466B616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1AB94D6-1BC5-4FFC-84AB-716AF844C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163E959-31BF-47EE-AA97-54A4243F0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F7103B7-CF68-4142-8174-61B6913A9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054B7A2-EE33-42B8-A8AA-FDF864332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0152</c:v>
                </c:pt>
                <c:pt idx="1">
                  <c:v>-0.0227</c:v>
                </c:pt>
                <c:pt idx="2">
                  <c:v>0.1225</c:v>
                </c:pt>
                <c:pt idx="3">
                  <c:v>0.0089</c:v>
                </c:pt>
                <c:pt idx="4">
                  <c:v>0.0324</c:v>
                </c:pt>
                <c:pt idx="5">
                  <c:v>0.0439</c:v>
                </c:pt>
                <c:pt idx="6">
                  <c:v>0.0508</c:v>
                </c:pt>
              </c:numCache>
            </c:numRef>
          </c:xVal>
          <c:yVal>
            <c:numRef>
              <c:f>Sheet1!$B$2:$B$8</c:f>
              <c:numCache>
                <c:formatCode>General</c:formatCode>
                <c:ptCount val="7"/>
                <c:pt idx="0">
                  <c:v>0.284</c:v>
                </c:pt>
                <c:pt idx="1">
                  <c:v>0.4514</c:v>
                </c:pt>
                <c:pt idx="2">
                  <c:v>0.4528</c:v>
                </c:pt>
                <c:pt idx="3">
                  <c:v>0.4492</c:v>
                </c:pt>
                <c:pt idx="4">
                  <c:v>0.5099</c:v>
                </c:pt>
                <c:pt idx="5">
                  <c:v>0.212</c:v>
                </c:pt>
                <c:pt idx="6">
                  <c:v>0.4382</c:v>
                </c:pt>
              </c:numCache>
            </c:numRef>
          </c:yVal>
          <c:bubbleSize>
            <c:numRef>
              <c:f>Sheet1!$C$2:$C$8</c:f>
              <c:numCache>
                <c:formatCode>General</c:formatCode>
                <c:ptCount val="7"/>
                <c:pt idx="0">
                  <c:v>1152.0666666666666</c:v>
                </c:pt>
                <c:pt idx="1">
                  <c:v>714.1290322580645</c:v>
                </c:pt>
                <c:pt idx="2">
                  <c:v>1150.3333333333333</c:v>
                </c:pt>
                <c:pt idx="3">
                  <c:v>745.8888888888889</c:v>
                </c:pt>
                <c:pt idx="4">
                  <c:v>760.28</c:v>
                </c:pt>
                <c:pt idx="5">
                  <c:v>7373.949494949495</c:v>
                </c:pt>
                <c:pt idx="6">
                  <c:v>254.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96D0178-323D-430D-A4B3-7CD587909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028BFC8-A69C-4B60-949B-CD10909EE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36F1952-3B6E-4F9C-86A2-14DC53DC8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A231219-AA7B-44F0-9742-48DA2F404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2D187C6-525F-4AD9-8E6E-58B13E53D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B7221CE-C0EE-416C-BE87-7A59AD760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6795CF1-E8C8-4EFF-B5D6-C9F3048F2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791459A-1EE7-4121-8236-51C5AC5EB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DC65269-BBE4-4E98-9D47-F044270B5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3B34DE1-98F9-4446-AB4E-CE58AB035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64027EC-2F88-4260-8130-39DD957CF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FFE2DDA-B1C4-4D9A-B25C-3C7327BA1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0F277E7-9CC2-4ADA-8E31-5E0C5310A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EF27C43-AB99-44A8-838F-B4AD769A7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E0C7586-2043-4EA9-B819-A40B61B3C3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FD601A1-9BBC-4A95-A10C-61118D031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9254939A-C268-43B8-A0DB-7D3C4C455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29CEFE1-0E6C-4D3E-9901-8ED5A51E3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AB06B20-2D06-4997-9B51-CE258488A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A99D7B8-7137-4EF5-B9E7-060D9F29F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09C4A64-359E-4A91-ADBC-7F2A42904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16BB5F8-1C48-4C61-AF60-059B557DA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1DF27CE-3521-40DE-B0EA-C7BFCB98C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19D6917-8CAA-4CAA-9362-AABF31462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2E01A72-C9F4-4520-9E06-D3742BB42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6B2CE17-5E0A-4F5D-94D5-4D3BFC097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6965899-3249-40EC-A531-E7E6B4745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FA3483E-7733-41B7-877F-2C6D17EF7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A4006F5-BAE6-4E9A-813D-C3CAE649E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12F55B0-8862-44FF-ACA8-5F1121B48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00EB7F9-BDC3-4E6B-82D0-211A237F0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1C98C32-6467-46ED-B061-7BEEB179A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F424D90-1366-4009-B797-E0BC87857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636E207-801B-4A6F-AA75-CC473AFAE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227A3FF-671F-46FE-B74E-A245B887F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8C12452-6F8E-4B7D-B878-853E04D08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2F1D9F3-8DCF-42B6-9E80-879C7D649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37E42E8-C093-4205-A8A6-5C4578524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3BEE027-6901-456D-A2E9-2A4A6F1C2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8772805-F2FA-4491-8F05-7435263C7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85DD418-309E-4C31-B799-F9FBD46B3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D24320F-BCF9-41D0-A884-F6A0B81F8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BA88AAF-0AFC-4B3B-BB2E-7754AAD58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0A169BA-3996-43D0-A1DA-43896E5000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409DE61-2F05-4BE5-AC4C-1D67D257B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7D8B864-ECE5-411C-B9DC-21991BF2A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36E939F4-4E23-44E2-A867-C578A21E3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E9610B2-379C-4EEC-A7CF-511877709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8DA1BD7-5D9D-4FC8-84DA-3D1C81E17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42AF800-0818-4CE9-A813-3925D8CCB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1EF43D7-837A-4A0E-B8AE-B90B08D3F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E4296FB-1745-4A64-9908-6A973739F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5BBBD6B-56DD-4CAA-BB42-898081C2A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BBB5EED-F1F5-4713-8124-8A31BB67E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0E98CDC-9FC2-4026-8D0E-26320CFA4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9DA8236-96CC-4028-81F5-2CD53E03B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2A033CB-A2C1-42FE-9533-EC75ECDD4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699</c:v>
                </c:pt>
                <c:pt idx="1">
                  <c:v>-0.0171</c:v>
                </c:pt>
                <c:pt idx="2">
                  <c:v>0.0994</c:v>
                </c:pt>
              </c:numCache>
            </c:numRef>
          </c:xVal>
          <c:yVal>
            <c:numRef>
              <c:f>Sheet1!$B$2:$B$4</c:f>
              <c:numCache>
                <c:formatCode>General</c:formatCode>
                <c:ptCount val="3"/>
                <c:pt idx="0">
                  <c:v>0.4528</c:v>
                </c:pt>
                <c:pt idx="1">
                  <c:v>0.4582</c:v>
                </c:pt>
                <c:pt idx="2">
                  <c:v>0.4495</c:v>
                </c:pt>
              </c:numCache>
            </c:numRef>
          </c:yVal>
          <c:bubbleSize>
            <c:numRef>
              <c:f>Sheet1!$C$2:$C$4</c:f>
              <c:numCache>
                <c:formatCode>General</c:formatCode>
                <c:ptCount val="3"/>
                <c:pt idx="0">
                  <c:v>210.33333333333334</c:v>
                </c:pt>
                <c:pt idx="1">
                  <c:v>264.4782608695652</c:v>
                </c:pt>
                <c:pt idx="2">
                  <c:v>339.1818181818182</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D229271-FBB8-4D4F-8088-3ED32082B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143CA15-C76F-4CEC-806F-A4551C53F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17A3142-E54E-404F-80A0-D8F955291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98E96EF-E0B6-47B8-A9A0-D79FD012B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4A1B6F8-DF10-431D-A586-0B6B34D89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F7ADFB9-411B-4238-9D56-B4BA01022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EAC6CBB-1E22-4BBA-9656-71BADBB53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6DF9317-39D0-477F-8BCA-6832EA6D3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4151786-012C-44F4-8667-261EA6E31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4947108-2C0B-449B-8029-F5180BED6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BA7977F-2CD5-46DD-B1F4-4E7928AC0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1A1F04F-752F-4357-8686-7863BF1C8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F37722E-961E-4C29-8B49-EBE60743C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83E70A8-9CAC-4E0E-A298-7D2974292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F4E50F6-43A8-4680-A6E4-D407E7E0E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A511183-C62C-42A5-AAE6-7E2EBB04D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9802978-0AD3-490B-BF0C-0B2B83FFA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FD2A726-20FC-4872-9ED9-CE27332F5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141F25F-6DC4-44DA-85B7-8C8AAB4BDF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69C0DF4-503D-45E6-B294-8EED2000D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ED0A125-CF18-492D-9E4B-4EB34C2E6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2AF298C-BC00-4678-88DE-4D8C4C2B9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D89BFEA-8F5A-4463-B8AF-59CE325EB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3FF946A-A320-451D-90E2-A0B3B2E4C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DC050BA-6501-4FC3-93CA-CC935D3F3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F432239-1FC1-466E-9E3D-B8A5097F01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7F39614-B559-4796-9FE0-99E23F45E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DCEE413-7B04-4D42-AAAC-A76A21E51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1CD2889-17EC-433A-9F5B-9630478AB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A366FB9-2EF6-4822-A1C8-7DB07048D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8968218-EA2E-4C59-BF74-B10120FE8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17907CC-8D5E-41D5-B24D-C3795A825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4C02B0D-5E58-4A61-BA0B-973EE5211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DBE0DE8-5CD7-4D2C-BD16-FEFBEFF62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9047B3C-B085-476F-8E21-1BD10E1D1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A5819A0-BD38-49C2-8257-EF40906176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B9C4052-395B-4FDE-B74B-C49A6A4F5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78794B0-58C4-4896-B5DA-D35160464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D971021-BB1E-4334-B645-9E313AFF5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7FC37BE-2526-4FB1-9C47-F9013C542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AE71101-9BDC-4674-8940-F64592E4E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9E0CCD7-A00B-4090-A378-693CAB641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C4C2700-502B-4D00-B0A2-0D97941BF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253D3FD-58A6-4387-848F-A2E68C8B5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CBFDF20-29BC-4D1F-BC34-E851D04DF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1B663B2-C373-4EBA-BC7B-07E937210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468D0B1-1752-498A-B71F-E24F71A79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5B16B84-7F65-48AE-BE71-EA5A54FAF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D62A787-2E61-4C01-80D1-BDF6CC758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F441AFD-F2B4-4E00-BE7A-5EC00A0AD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5037BA0-D9E4-44D3-86DD-1D487800B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000D11F-FF79-45D0-A185-B0BED7B7C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F44D76D-80CC-4399-91A0-A8F36829D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9DFDCED-BF98-471A-A6AA-4CB6C4704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2B76A34-B7BF-474C-8396-49AFE5C92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A7B7E0E-0785-4EAE-95E7-195A05911E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B98CB95-572F-455A-B3A3-F6DA362A4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298</c:v>
                </c:pt>
                <c:pt idx="1">
                  <c:v>0.0062</c:v>
                </c:pt>
                <c:pt idx="2">
                  <c:v>0.0669</c:v>
                </c:pt>
              </c:numCache>
            </c:numRef>
          </c:xVal>
          <c:yVal>
            <c:numRef>
              <c:f>Sheet1!$B$2:$B$4</c:f>
              <c:numCache>
                <c:formatCode>General</c:formatCode>
                <c:ptCount val="3"/>
                <c:pt idx="0">
                  <c:v>0.4528</c:v>
                </c:pt>
                <c:pt idx="1">
                  <c:v>0.4583</c:v>
                </c:pt>
                <c:pt idx="2">
                  <c:v>0.4499</c:v>
                </c:pt>
              </c:numCache>
            </c:numRef>
          </c:yVal>
          <c:bubbleSize>
            <c:numRef>
              <c:f>Sheet1!$C$2:$C$4</c:f>
              <c:numCache>
                <c:formatCode>General</c:formatCode>
                <c:ptCount val="3"/>
                <c:pt idx="0">
                  <c:v>1024.5</c:v>
                </c:pt>
                <c:pt idx="1">
                  <c:v>495.65625</c:v>
                </c:pt>
                <c:pt idx="2">
                  <c:v>496.8888888888889</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B81DE4C-0933-490B-BA4D-08E7D5864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509ED2C-4B4B-4C84-A033-1CF909889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6E3A00D-47A3-4E2A-A10B-806C8FC45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DF23F2A-91E2-42E8-8A87-2A0195B49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1F029B5-EC46-4FBD-B6AC-029D3F8EA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C9F95E7-ABA3-451C-AD9F-CF1C6C645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9F4D47A-B71F-4DFE-BF11-50445E4F8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1DBBB5C-57C1-4DCA-959E-6D0821BAB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4CBA02F-361E-4729-A7A0-FE22F8709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96B6D97-9C8E-44E8-A0D7-78E271D01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7DAF165-D399-403F-B2BB-165A6366F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16C4682-B28B-4BC4-A7F3-9C4BD0005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53E0A2E-E7D9-4655-9A0F-7199ACE45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21BD73B-2C54-426F-8026-0C75C0550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772F448-F607-4135-9713-32BF293A4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8647144-639D-4CB2-B9CB-42FD3198A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BB6BED0-72D4-48CB-B44A-FB9FD7EF9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2F4E1CC-1B23-48CB-B51B-59A9F1C39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58C72EB-0FE9-428E-B632-DD02EB629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49ADB2F-566C-4550-A7EF-FEBB06515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61E7686-0350-4B2C-8B70-302B92972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DFF5406-3F6F-4FCB-B5F1-A2C4E07F8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8BBE8E7-343E-485F-A35C-3CC358828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DA62F89-B569-4119-A669-46BB45DFC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34A56FA-543C-48CC-B614-5338D40B3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AB20246-CE67-4D49-89C0-9F7423D26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53F092D-B9F5-4617-AB9C-DBEBA3481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B673831-53A3-47D4-B271-7A44F4F44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4802E82-8CAB-4DAF-A519-E85826A28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D75306D-CB94-422A-9B27-7B45EEF07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BC3E294-D65A-47E6-AF64-5751730B2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CD08F3B-313C-49B7-A12D-49A31658B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098C94B-F9CC-4840-8980-0E2608B88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91FBF23-1C56-4156-80F5-50C41AFA9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7AB9D50-CBF6-4F7F-A2F4-B81281A21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D35E3FE-0197-4987-A8E7-2A44FBF5D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79BAC9C-6A8F-48F2-8558-DC4A8B5A4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BDF8AD4-9DF0-45EB-8CD9-D834DD5B4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813341D-33B0-44DF-8CE0-36CF3AA82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A1F1A013-932E-4A0F-AFD9-BE42A32B2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17723E0-F74E-4EDD-BACD-85E613B47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61BD186-817D-4F48-9014-0FC0E1D6E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02A8431-7A68-4CC4-89B7-6C848371F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9671A90-B85D-4130-9A30-AC3420801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D5B94D2-D53B-4168-99C8-49B951F22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E497DE9-4F90-4A89-A913-77BAEC57F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7F61781-7767-4391-89EA-7FCFA6770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3676127-A7C1-47E3-B9F5-A40D3168D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E10B8D6-8FA2-4DD5-8759-3F8BE09E8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B08A321-22C9-4A53-9DE7-39DEDC87E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4057031-048C-42AD-B142-D120A7DBD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AEA873B-4A33-44D8-977D-F4EC1DAC8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00FB2B7-ED2A-42C4-AE5B-66A0DFAE1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7231F1F-81EF-4F35-99B5-03ADACD5D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B0619AC-100B-4E3D-AA1D-F80920D8D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CC7A057-8594-492C-9172-BB6DD083C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E3931A7-CB3D-419B-A6F6-138888044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098</c:v>
                </c:pt>
                <c:pt idx="1">
                  <c:v>0.1158</c:v>
                </c:pt>
              </c:numCache>
            </c:numRef>
          </c:xVal>
          <c:yVal>
            <c:numRef>
              <c:f>Sheet1!$B$2:$B$3</c:f>
              <c:numCache>
                <c:formatCode>General</c:formatCode>
                <c:ptCount val="2"/>
                <c:pt idx="0">
                  <c:v>0.4513</c:v>
                </c:pt>
                <c:pt idx="1">
                  <c:v>0.4497</c:v>
                </c:pt>
              </c:numCache>
            </c:numRef>
          </c:yVal>
          <c:bubbleSize>
            <c:numRef>
              <c:f>Sheet1!$C$2:$C$3</c:f>
              <c:numCache>
                <c:formatCode>General</c:formatCode>
                <c:ptCount val="2"/>
                <c:pt idx="0">
                  <c:v>102.33333333333333</c:v>
                </c:pt>
                <c:pt idx="1">
                  <c:v>182.6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DE61924-D5E3-4DD3-BEAE-D12258C7D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95B59F1-F10E-4052-89A6-D48D19041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BA2B818-F7CE-450F-8D12-FB971C5F4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CE291DA-A48E-43D2-9510-BFC41A067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A98A4AB-4B0B-4380-97FF-82E50D6ACD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844893E-9AFC-443D-A934-585995B5DB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B138DC4-F85B-4C44-AC79-F541C8A827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1DDF0F2-6A30-403E-87CB-999E3D638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984632C-11F9-4F27-83AA-513E8451A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5BC39C7-6083-482D-8C2B-43D9A9906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B017567-D382-49B9-B0EE-326395B41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18DD962-8862-4E54-ACF2-F017EDE522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C27FA61-EA07-4DC4-BA45-FC3C22F82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C2572BF-4516-457F-BB25-638F00E2E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E072B10-332B-4B0B-9790-31A67D3DB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122B3FE-D2E8-4814-986F-B5008CB31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F12180E-8950-4EEE-9C19-F2FD6BEB7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75453E2-7087-40DA-A284-723F44064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D33393D-43D5-46EA-B4A3-42304AB02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30A7FE8-BB10-4AA2-8E1F-8FBF02ED0B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E9B2115-A89F-455D-B2CA-072ED5833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B61B445-942B-44DD-B43F-D981128D7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C84AE39-6183-49BC-A83C-FC38AEF23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92648CF-BA1C-498F-A678-D7EDB2FE7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4E4973F-8543-4957-9EB2-6E1AD9FE1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010FE01-A885-46B2-A971-9CBCFAF68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27CB640-6908-4EBF-A7FA-EE66CBB28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EFF3DBE-253D-4074-83DC-39B30EB9D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7E3D8C1-5F62-471D-985D-30C382911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26255A9-3D94-4161-8920-B5547374B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B82D11B-984C-4CD8-B03B-9327D1BC1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E6F8CE6-30AE-4A2D-BA59-227F605FE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BB23C23-FE40-44D6-A990-BA5B011B1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189005D-6ECF-4B6B-A620-480AFE12F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50C18B03-6278-4520-8520-AB62349F6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51ED7DD-09DF-4E86-9A3C-2C8DC1C36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EBE1E74-6BDD-4A88-8D59-FAD4F6AAE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12C142B-48F4-4265-B512-B89FD150D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7C62239-4C70-4764-B7AB-E54CD5656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C9DA2E5-A8CF-4AC4-A7BD-4EFBE0F30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845A32E-D638-4560-A705-D81C9EE21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7046F0D-2A0D-4188-BDA4-E8A09B8C4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01B472C-FABD-4DA2-96F9-4C90EB20B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BDB9D0B-B39B-406C-93E3-0459A70C2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CF2B60B-E169-4968-999D-BCA7DDF43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C42CC02-D4F4-43C0-BF6A-E5BD38E73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9654B54-D410-41B7-B336-B30A7210D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7A0B044-4DD1-4F0E-A9E8-9A05B24BEB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D830E79-ED6E-4E17-A071-1958B059F8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310F90E-DF48-4AB4-A7EB-577407428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AE1199C4-F717-436B-A0D1-DB502E4857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BD6C33F-AECE-4A59-BE8D-649D3B65E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6531EE5-C19C-4544-A193-6121F637D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DA6C76C-0094-4681-B79F-8B6F60F33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0CEB9C5-20C3-4586-A80D-0AF56D9D0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6B64AE4-BAD5-49EC-AFB0-48386E7BD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14F2A71-06B6-4274-AB1C-18A246B32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0407</c:v>
                </c:pt>
                <c:pt idx="1">
                  <c:v>0.1577</c:v>
                </c:pt>
              </c:numCache>
            </c:numRef>
          </c:xVal>
          <c:yVal>
            <c:numRef>
              <c:f>Sheet1!$B$2:$B$3</c:f>
              <c:numCache>
                <c:formatCode>General</c:formatCode>
                <c:ptCount val="2"/>
                <c:pt idx="0">
                  <c:v>0.4551</c:v>
                </c:pt>
                <c:pt idx="1">
                  <c:v>0.4496</c:v>
                </c:pt>
              </c:numCache>
            </c:numRef>
          </c:yVal>
          <c:bubbleSize>
            <c:numRef>
              <c:f>Sheet1!$C$2:$C$3</c:f>
              <c:numCache>
                <c:formatCode>General</c:formatCode>
                <c:ptCount val="2"/>
                <c:pt idx="0">
                  <c:v>174.64</c:v>
                </c:pt>
                <c:pt idx="1">
                  <c:v>138.56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27A38F0-318D-4CC8-9074-DF27FD6F7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4BCD801-C941-448E-9616-7A36E6EB1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AAB96D0-3501-4747-B580-CCF235D85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F05B99E-4B23-454B-ABB3-6B2533888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6EB3BA4-B85D-4606-ABF3-9EC260543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E41DB2E-1346-44F3-97FD-AF0F9B875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C819C69-3855-436C-8E93-EBCF6D739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A0AE7E1-E814-4823-9245-153862BB4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0E1E527-1458-4915-9CA0-D46C6D59F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E0E0FD7-EBE1-4895-A231-76E71E375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A42A8BB-81B8-40F3-9D0D-04E9511A6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05E8C2D-65B6-489C-8FFE-1E743994D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7B31BFE-0CA8-4AAF-8D2C-3840A132A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9EEDA16-0B8C-4DF2-B40B-FD87237A9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6CB7B01-6A48-4151-B149-A4C610BFF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2DE132E-933A-4C2D-891A-FDDE3097E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15DC282-E043-413B-AD17-1F36CFA1A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44E5243-15F7-4EC0-9F2D-FA278D0A9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F9F2193-74AD-46AB-90FD-08FEF7AC2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C776064-63CE-4B1E-9DDA-C187DB6B3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2EE0821-E11B-457B-85E7-47B7C883FA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93E6521-FEE2-43B1-9EA6-554602DCE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31FA26E-410B-49C4-B2A2-1546FBA03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BA7CEC7-0F08-4AD9-B5F3-C64C10AF5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EFF71D1-6780-4B5A-ABD8-E2FB6F140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0260394-51E3-495F-9691-3A2BA300A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C95D103-A424-405F-9832-36A4FFF7F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0363C46-1471-4C6D-95C5-C486B5E19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6F9402B9-90C5-4B8A-BDCA-C3775943D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7F5A3BA-225B-4D35-BD9C-CAEA81F61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3812069-3102-4DD6-9513-1E52B1A8A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522C810-93D9-4598-9F55-A491BD0B5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4E6AE66-E4A1-4B1B-A387-7B51CD982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1C44BE3-3081-4CE9-8B55-7701E5B3D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5111A10-C257-402D-A828-511096FF2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9981ECC-998E-4D15-BADD-37F2B8DFB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BCA4606-05A5-4B73-88EA-78A4A6F33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AA95130-9BE8-4753-917F-D9D5A5460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0D57906-C7B8-4E9B-90CC-DA015C6F8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3DBA02C-CBEA-4DD4-86F6-B3435950E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1442416-1A38-49BE-B584-2D3CDB138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675756C-C319-4150-BEEF-734BA7D72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23DF2A1-55DA-4051-939D-C024103A5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4269A55-0EEE-49FE-BF17-B157E2619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DCB54E7-F323-43E5-8ED0-9718B982D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007884A-C792-46EA-AA22-3EE6DBDD5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325D88F-524E-407B-9222-981684999A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BB01BDE-6C5C-49A2-87FF-B7759EA74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38A580E-8259-4FE5-925A-679E134C4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AD7409E-3D1C-43DB-9741-A74B54748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D431770-210E-461D-8A89-73FD1C757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8743FA6-2915-48E6-A163-A81E95845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8F24187-EA7E-405D-BE3D-C5201BF809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059EEFE-5AF0-43F4-9931-2EE44A7DD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171A2AD-0DD5-41BA-B4CA-32853E77D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4AFE55F-6AC5-46BE-AB24-3D8EE9BB3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51212FA-A364-4E53-81AD-FDF7B6CEE2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241</c:v>
                </c:pt>
                <c:pt idx="1">
                  <c:v>0.0131</c:v>
                </c:pt>
                <c:pt idx="2">
                  <c:v>0.0542</c:v>
                </c:pt>
              </c:numCache>
            </c:numRef>
          </c:xVal>
          <c:yVal>
            <c:numRef>
              <c:f>Sheet1!$B$2:$B$4</c:f>
              <c:numCache>
                <c:formatCode>General</c:formatCode>
                <c:ptCount val="3"/>
                <c:pt idx="0">
                  <c:v>0.4528</c:v>
                </c:pt>
                <c:pt idx="1">
                  <c:v>0.4574</c:v>
                </c:pt>
                <c:pt idx="2">
                  <c:v>0.4503</c:v>
                </c:pt>
              </c:numCache>
            </c:numRef>
          </c:yVal>
          <c:bubbleSize>
            <c:numRef>
              <c:f>Sheet1!$C$2:$C$4</c:f>
              <c:numCache>
                <c:formatCode>General</c:formatCode>
                <c:ptCount val="3"/>
                <c:pt idx="0">
                  <c:v>1233.5</c:v>
                </c:pt>
                <c:pt idx="1">
                  <c:v>770.59375</c:v>
                </c:pt>
                <c:pt idx="2">
                  <c:v>891.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58C08A4-C602-41F6-9E3A-8EFD09488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36E199E-91ED-40C1-8EE9-224785B10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C4D59F5-B339-430E-98E3-9A6D52496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BAE8043-1603-4A17-88A8-DDA11150C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EE17352-353E-41DA-AF47-B7021FE1B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863AFA9-85B0-46D1-A8BD-76B778081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3E3BF29-F6BE-4725-8A9F-146C3C5AF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E55BDB3-E7A5-47EC-87D4-5168AA2A3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6FFBA24-B6CA-484B-80AF-3C006B4CC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2C9E548-EA06-4ACB-9F03-14C362836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0AF063D-E944-4D16-AF3A-4D7ECFAF9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B8A6545-AC93-4363-8A0F-DED7AB950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AA3ED1F-703C-4D20-82F1-5835D47AA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FA25F2D-A232-4638-BF57-C1E3937C4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47440F0-4912-41C5-8329-B53025933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81E81E1-9009-4466-BEC9-DC106E6E7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E979735-3996-4A5C-A6B8-8BD73330A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60CD2E1-2C7D-47CC-AE9A-8002597FE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FC1640D-A6C1-4D54-BEF2-387A2570E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CA3C520-47BD-4ABD-87DF-3A2D155F8A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CA00A94-7894-418A-8B6C-587CD8FCF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B5565FF-A2FB-40B9-88D4-81B89A790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9A57AE8-991C-49C3-BB3B-4EF02CCFD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38D99FE-D1CF-4F73-A3C6-F9C6D1E0C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6F96CE3-CAB3-4E7B-A71E-1E6F525B0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2127E80-93F3-4D57-B958-19268DEBA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9EAEE10-80F5-4E15-89E3-771C7D1CD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3A8A470-41B4-4F04-98B6-54DF47371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630E94E-31B7-4714-84BF-EEB858DC4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711E02F-5BFA-4A19-8400-4B0F1C4D4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565F361-FE67-41BD-8D58-E5C48E470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5E627F9-C27D-4583-BCA7-DE34BF3A18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883F656-5DB8-4F75-A84E-18B9389142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F2A703F-FEB2-46C7-B4CB-4FBDFC7C1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28F2C03-9DDD-41B3-9A2F-EB9AC3216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94A76F9-34AC-4081-A588-2857A72BA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C615D1F-226E-4F33-9CD9-2529971821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2F25430-C14E-4CAD-9C25-42CE4E92B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8437681-501D-4CAB-B0C1-856265C56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6494AD9-9783-49A3-A4EE-AE52D2C5E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82F8A21-F496-4B62-B3EC-67EED6E4F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FE0426B-2090-405D-B1EC-3898E700E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4C716DF-38A0-4E07-B83B-5B4AFC67B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755C717-A95F-416B-A267-57C9AB5CE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4BDCFC8-1EF0-4444-81D3-B224A4BA1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6459EB9-0077-42DD-9E53-2E4764D2C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EDFC335-529B-43A6-8E75-7C3A57A81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3A15D66-BA3D-457C-95C9-CAF706075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016A9C1-AD54-46FF-B228-9B5EF9D8E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82006B5-412F-4345-9B21-F9EDDA101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EE8A828-688F-4D52-A0B4-760A5F5F9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97CA842-FD1D-431C-8B4A-C4E638ABA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5282EB3-8B0A-4FE8-9CE7-A1DCCC929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1E337FF-C12E-4CE5-82EC-DAE3A1594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28AEC9A-2240-4EB8-99BB-9DB409113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D45AB8D-2A86-4D79-9443-223241F11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AB93719-0131-4657-ABBB-A60BEB981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0639</c:v>
                </c:pt>
              </c:numCache>
            </c:numRef>
          </c:xVal>
          <c:yVal>
            <c:numRef>
              <c:f>Sheet1!$B$2:$B$2</c:f>
              <c:numCache>
                <c:formatCode>General</c:formatCode>
                <c:ptCount val="1"/>
                <c:pt idx="0">
                  <c:v>0.4586</c:v>
                </c:pt>
              </c:numCache>
            </c:numRef>
          </c:yVal>
          <c:bubbleSize>
            <c:numRef>
              <c:f>Sheet1!$C$2:$C$2</c:f>
              <c:numCache>
                <c:formatCode>General</c:formatCode>
                <c:ptCount val="1"/>
                <c:pt idx="0">
                  <c:v>45.3947368421052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2DEE2D5-CC07-4C58-8CF9-0A5E9B196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AA4ED52-636D-4415-835D-12BCE6EAF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0D4A446-384C-4B6E-9E95-AF0E2D103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28CAE55-3763-44AC-8126-FB819E823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4ED33C2-DC6D-4F10-832B-0BD4B5ABE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DB4A8A8-D1DB-4C6B-BB90-05BF42EF0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79A1BC7-535B-4F3F-B6A2-8FF1AAA80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56C5BFA-3BFE-45DE-B400-BE5E826E4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660844E-BE5A-4393-8F49-70F263818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C110BAE-DE68-40D8-9BF6-BCD9370D1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FAC0CCF-B51B-414E-BA07-7D9E40B31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E8D48CE-77C0-4AC6-98D0-72EB23CB3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B57D6B8-90BF-4B7C-A824-6DD191782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C9F3AC8-29FE-48F3-A653-C42B8C552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B1A08EF-4AC2-4FA3-AA82-D08BB87C5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42DDC41-964D-46BE-878C-C1BEDEB7C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464276B-BD7D-42FF-A74D-EE1942ED0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7B63302-A9F2-4272-A023-98DE7E071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142A8E2-B9F3-4D9F-A2C7-B9DD5BB26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254D27D-834E-490E-97A1-DFC1BC788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4584A7A-8521-44E7-A896-0F5DD9915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9C2FEB5-606E-41F2-8B58-F893A4C9B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8E711B7-8C2B-4DE9-BDB9-33139369C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AAD55E7-265B-49C7-80F4-E5B5BCA4F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FDEAC39-9061-4E46-98B8-325965436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7F2DC9E-C70C-4834-8066-846BCE508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D8F2FD9-2C89-4FCB-ADEF-855177691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D988F60-3CA3-4F9D-8CBF-3C1C0DA17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6627FA9-12AD-49B5-82F5-3FFF544EB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972E65B-753F-40EF-8E33-7FA12F0F4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A9169D3-3C9D-49C1-B7B7-F03E2BD503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05497A6-0AA1-46F6-BD3F-8DB9FF67D5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77A390E-4AFD-4C18-9D13-8E3F1280B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87FFE51-6D5C-4A6D-ACF6-90ED46386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80A79CF-03A5-4390-9B71-C5A98B510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5732D58-4F6D-45F2-80F2-EE9914B7E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225E4DA-76D4-4A5A-A70A-8540F56BB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6E4FF28-2F36-4DEE-80FC-ECB5DC850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49FFD1D-D983-4068-B03F-F3547A0AF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4E23B99-7852-4B08-BF09-0480F15C1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F611E23-C9CF-45B2-8BC6-AD44209107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6ECAD16-F139-4940-A7F1-210839627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96F2A15-5692-48D5-AB5E-9271A2F85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B3CCA1C-402E-4A34-8F78-A707CD3DD2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534C43C-3AC1-4B88-AD50-7538831DD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577733B-5938-42C4-A505-1C312167F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6D1ADB9-F5F9-433B-9587-E624DA0DE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0E6B465-9A99-4223-BB55-BD63309B0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A7B7773-6E8A-4602-AB59-DD8903052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7292708-43D2-484D-97A9-717EE696E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AE39C46-0B22-4124-960C-60E828BEE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001BBCF-86AE-4970-B5BE-120354BAD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93C0181-4C02-4535-BAD6-DC389C810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90FC873-4D49-4221-B5E1-143C7E1EC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BA5C47E-8084-4096-A0CE-E28A4BC65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5F16041-1950-40EF-B7FB-9D5C91263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E3CDDE3-A06C-49A8-908E-9E7A6A941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0479</c:v>
                </c:pt>
                <c:pt idx="1">
                  <c:v>0.0683</c:v>
                </c:pt>
              </c:numCache>
            </c:numRef>
          </c:xVal>
          <c:yVal>
            <c:numRef>
              <c:f>Sheet1!$B$2:$B$3</c:f>
              <c:numCache>
                <c:formatCode>General</c:formatCode>
                <c:ptCount val="2"/>
                <c:pt idx="0">
                  <c:v>0.4595</c:v>
                </c:pt>
                <c:pt idx="1">
                  <c:v>0.4494</c:v>
                </c:pt>
              </c:numCache>
            </c:numRef>
          </c:yVal>
          <c:bubbleSize>
            <c:numRef>
              <c:f>Sheet1!$C$2:$C$3</c:f>
              <c:numCache>
                <c:formatCode>General</c:formatCode>
                <c:ptCount val="2"/>
                <c:pt idx="0">
                  <c:v>103.70454545454545</c:v>
                </c:pt>
                <c:pt idx="1">
                  <c:v>210.5217391304347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55FE486-83C8-4590-9A01-6E340602E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16E39D9-7464-4FCB-BB72-C83B9F571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5E987FF-79BA-483F-8BFB-85F60642E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1900B4E-51F2-4C29-AA06-797630149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BBF7860-7C83-46B8-9E16-3378AD7E0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DEF2AA0-11D4-4F68-ABDE-6A61FF966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B783FFF-8211-4B6E-9DC9-7817F26F69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D83F6C6-2C55-4D9D-9829-383A86320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5C0D0A9-B30C-4170-B040-29FF72437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2E9B781-90A7-4989-AC27-2B6D8D9B8E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D86C06A-9FE0-439A-A640-A2B51B9F1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E852E2F-42A5-4B70-856F-5E98E1BA2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219C54F-5F58-4D28-B2D2-83A915115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EE9835E-9162-4508-8B75-63FC22776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5474DA6-2D77-4793-8B30-15D900641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1AF7C9C-EBDB-4DEF-A50D-B429ED4F9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2E140DC-BBFA-49A5-A3D2-48B29372D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70E8972-3061-4F53-B85D-06312C083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E9FC5F6-390A-4615-8EB8-F546E7227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0DF3D7E-5BFB-4360-AC4C-E0A22C938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87E7BC3-1256-4C70-9281-AE4DA05D8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E615631-8146-4904-A6B5-0756F93D6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12C3341-1EDC-4CD7-AB04-8143C3588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EE42FBD-57D6-46BD-964B-134C46BBB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93466BB-A03A-4DA7-A28E-CDB6FFD5B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4B73DEC-4B87-4FA6-A5D5-849F537B1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C7BCF4A-B4EE-4282-B17B-61F6C2885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D168F0C-FBC1-4FCB-8844-29DF9D709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B006462-C065-4BF4-B7C9-BD9203DA3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C0840E5-616C-4876-8CE2-DAC30B1AB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94D592B-4663-42E6-8B3A-01867EAC6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B1F4085-CB4D-4D32-A0E2-A22A723EA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DAEF27C-CF8E-4007-AC28-328E3EBEB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41AFC5D-BC55-4FF2-87B3-56B9AA0EB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E42A4A1-589B-4458-AB83-AB3C34ABA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F758F28-B6FF-445F-B898-DB70B2ACA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C195C0A-1303-4F8A-8B40-E25D11888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7EA359B-3C2C-499B-B62D-CD1B41FD53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DFA5BA6-FB40-416D-888C-DD49915A0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35D7DA2-FA0B-4D54-AFF8-FAACC98D2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D916129-40F7-47F9-B131-D1D9142D1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FDC6698-EAA8-43F9-BC9E-EFC7C8514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A9BBCAB-F664-48A0-BF91-C99AD060D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515FE92-E953-435D-B781-27623B9FD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B06C623-DB3C-4ACD-AAD6-3086BF5A3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77DD645-35F9-468B-B662-84AF9492C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FEE9791F-F008-421E-B365-8A636DF66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55162E8-91B6-4A9D-915F-AA9F26A80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64BE663-8982-4118-B367-DD61282CC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81A0414-82AB-498F-A764-4C7981E79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DD8A92E-05C8-49C0-8FDC-4972EAE64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5C192FA-FAF3-4051-A08B-5B504CD9D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9CF2E64-F62F-43F5-862E-0A7E0E7B2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20D9B97-409C-4412-8976-217A31D5E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CED0898-0CEC-4327-8405-F834E408B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49B9A57-C984-4CCE-AF28-6602B0AF7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C5998C4-D3DF-4823-AED7-78C4F1001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0587</c:v>
                </c:pt>
                <c:pt idx="1">
                  <c:v>0.0921</c:v>
                </c:pt>
              </c:numCache>
            </c:numRef>
          </c:xVal>
          <c:yVal>
            <c:numRef>
              <c:f>Sheet1!$B$2:$B$3</c:f>
              <c:numCache>
                <c:formatCode>General</c:formatCode>
                <c:ptCount val="2"/>
                <c:pt idx="0">
                  <c:v>0.4551</c:v>
                </c:pt>
                <c:pt idx="1">
                  <c:v>0.4516</c:v>
                </c:pt>
              </c:numCache>
            </c:numRef>
          </c:yVal>
          <c:bubbleSize>
            <c:numRef>
              <c:f>Sheet1!$C$2:$C$3</c:f>
              <c:numCache>
                <c:formatCode>General</c:formatCode>
                <c:ptCount val="2"/>
                <c:pt idx="0">
                  <c:v>267.60714285714283</c:v>
                </c:pt>
                <c:pt idx="1">
                  <c:v>311.63157894736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B05E319-84C4-4390-BFB8-602198C0E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C0C2470-9608-47C3-B25F-E4C26F593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4EEA538-551D-4E30-8CE2-8D74F2072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EB0FDD4-DA31-4280-91DC-66F411670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5AC5F3B-3683-412D-B432-2A6811ED9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0252353-2A55-4297-BE03-87854A544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C09D34E-95E7-4252-A6CA-D2C14D763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05A2846-86CE-4A23-8F03-5CF6E3E1C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4545524-2BC5-47F8-B078-E195CAC7F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9F01331-0E4E-48DA-BDD1-5914EDBA5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676419F-A5C4-4E86-807A-A3421234D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13A5CB5-C352-4A3C-8356-FEAA1B7B8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D9D6513-DA32-46BA-9605-A26EA4A4D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9275642-793E-417E-B679-8DB3D0997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5F2B424-A8D1-49E8-B6FA-75D491D19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08027A6-7049-43B7-89D7-506AE7AF91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B53B9C8-8FCD-45B2-97F6-9B6CEA166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1644D01-49E3-4BC1-8746-FF950E627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0798078-ABA7-43FC-9FF8-BFD67B558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C6FDD24-C7BF-4059-903F-1101AADD3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0A60498-4E9B-426C-8037-601070151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3C22BA9-5FCE-4252-8E1E-D8BF3A1E8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042639D-94AE-4241-973F-A63E9B8BC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0584AC6-12CC-47EA-97AF-70392E0D2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6A86028-5F13-4265-A1E9-AF9D2181E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1207118-E063-41C7-A1D4-2AEEB3FA5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BEF4AA7-D845-4E8D-AC2E-29A14C75D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40A772E-DD1B-403C-8057-6B78E906B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C0128C1-7F31-4A70-908D-BBBB63215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083C70B-F89D-4745-90BB-AC4703B75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71747CC-A47A-4487-8BA9-6B5C43A21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103D544-0399-4A0C-ACE7-2C3E4CDF7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EDB95D6-704F-47E8-BF25-05AD50555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FD01AE8-3166-410F-A841-BCD1199FD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6183E21-44DD-4D48-9AA8-24106F077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F9B6260-A3ED-446F-930F-468652EFD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AEDA4CE-A467-40BB-90BC-299F800DC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90AEFD5-963C-47FF-95F8-8E30932C7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09A58BA-EB7E-4E0B-9F0A-A0C80859C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29E47A0-A2E5-489A-852A-A3EE6700A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9297EA3-917C-4E3B-B4A4-40B9E449B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02D01DE-A1BA-4436-A4E0-3D6E21D51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1250E283-4C8B-4670-AF1F-16C2D18C8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A30B6E8-62F8-48A5-815B-21C90A4C9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3A7BBF9-A94F-4F18-9E22-09936B4D2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7DA05316-6E09-4592-837C-D49D79AA6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C850807-B3F9-4F53-B01E-096FFF8C0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28A3B80-6D4A-411E-B5D7-D5976A75B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40BB6AA-42FB-456C-AB2E-56F5687A1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E33B095-99C6-4F71-A52F-2B6D9B3C2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132F252-6E2C-486A-9651-8A07DDA60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E1EE713-82C9-4D72-88C5-65CCF25F0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69BC8C1-A095-4B73-8517-47027E38D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073030C-9B64-4F7B-86FD-A21635EA7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4E14F96-1C03-47AF-9C44-13F45D411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18E8BE0-E93B-4B47-9326-FECB06874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BD003FF-B1D8-4D5E-906C-68A2FBF1D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369</c:v>
                </c:pt>
                <c:pt idx="1">
                  <c:v>0.0328</c:v>
                </c:pt>
                <c:pt idx="2">
                  <c:v>0.0705</c:v>
                </c:pt>
              </c:numCache>
            </c:numRef>
          </c:xVal>
          <c:yVal>
            <c:numRef>
              <c:f>Sheet1!$B$2:$B$4</c:f>
              <c:numCache>
                <c:formatCode>General</c:formatCode>
                <c:ptCount val="3"/>
                <c:pt idx="0">
                  <c:v>0.4528</c:v>
                </c:pt>
                <c:pt idx="1">
                  <c:v>0.4548</c:v>
                </c:pt>
                <c:pt idx="2">
                  <c:v>0.4489</c:v>
                </c:pt>
              </c:numCache>
            </c:numRef>
          </c:yVal>
          <c:bubbleSize>
            <c:numRef>
              <c:f>Sheet1!$C$2:$C$4</c:f>
              <c:numCache>
                <c:formatCode>General</c:formatCode>
                <c:ptCount val="3"/>
                <c:pt idx="0">
                  <c:v>556.3333333333334</c:v>
                </c:pt>
                <c:pt idx="1">
                  <c:v>297.49999999999994</c:v>
                </c:pt>
                <c:pt idx="2">
                  <c:v>535.0</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147C680-6A91-4B8A-9F14-92F7480ED9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5411F80-7B72-40CD-A36E-60FF6FC67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39C0760-6D49-4967-ACB6-74E7910EB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DCBB110-A5E0-4A87-A7DA-039DE0DC2F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A1A515A-1AD8-463C-B395-DD71C8DC8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B2F6260-6D0D-4CFF-B294-8FCA7C1E7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AF15176-4212-447A-8AD1-56B29F50A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04EF825-858A-46D2-AE0A-F71B818C5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BB7A128-F022-4BAD-A4CE-B0412BEE7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FDEED98-E4BF-4949-A6A8-4B670F840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D1683EF-4498-4F0B-A7B4-6B232A551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F98630D-6361-4DCB-9918-4514E1044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D5F6315-FE8F-48CF-84F0-2EBD3DFD4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514504E-33DA-4B29-B506-27C729678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B1FAB73-964B-4AA3-82A2-6CA4982E79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21A80A3-8AEC-41A2-817B-5E31D3D56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5FE5F4E-AE45-4249-9E71-00F26B2BB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3608383-DDC1-4B82-9704-A69260804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7FADC36-BAC5-4E4F-839E-55F20D3AD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56AA80C-FCED-46EF-BA8C-755838562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E4B93D5-3253-410A-9F14-EC37C7339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8091DC0-1742-4FFF-B781-734B295CE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99A57AF-A0ED-4799-B8D6-3A480C673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084863B-FD6C-44E9-ADD5-7FBD0D29F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E11DEFD-58EE-43E6-8BEF-3EF676F94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32C29C7-1AAD-4B8B-8D32-A518723BA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8ED76966-4E7B-442F-AAFF-2B80F48E5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EAD72BD-01FF-4796-8D8B-0336FD1AF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F83C2F3-713C-4EFA-84AB-C45783871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BBCF526-1952-4D03-B5C9-DB1B6E219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AA4320F-F5FC-4F70-8009-AB3008E2F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80F3570-7B2C-47CF-BEEC-C396F331B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DA0FA82-4882-4D75-9FB0-F8492F25A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1BB88A9-F60B-4E14-AF79-291175635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AB2D9D1-44FB-4E22-8599-80944EF8F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1582C2A-5043-40BF-B9F4-C56EACF62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37F5383-AEA6-4016-8DFE-CD3E3AA0D8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DE851A3-67D5-43C4-BD0A-705E83B3B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732BAEA-861E-4AF3-90C4-4F4A646D5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494B9D8-471D-456F-8ABE-418BFDEAB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3B80613-A384-425E-9B32-90DF9C054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67ED47D-9EC4-4A1D-A322-9239DB875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82FFC16-E972-432A-8891-BE38C30B6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B6BD8F8-073C-4291-A589-52F08C0E1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E0CC3AE-D562-422E-B997-1EC39F9CA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64ADB1C-327B-4C1A-900E-8D7952F7E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CEFEB51-AE39-40DE-A156-6843CAA22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DA06E7F-D052-45DD-AD80-EAA9959C6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1744BC0-D0FD-469D-B123-736AF720D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D3E0356-37DC-4261-9D6E-92222464A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F4E1DCE-EB36-4E5E-B458-A388D9CFE2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0D01F89-B3E8-4524-A688-78347D9B7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98CDE36-1090-43FC-9891-13EF38FDB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685700B-3104-4F71-8E34-EA3813F91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D2A2BCC-67A6-46FB-A3C6-34F272900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A571E96-00EA-4BAB-BC86-18555BD80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571D803-76E5-46AF-84EC-3ED420EFB5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0843</c:v>
                </c:pt>
                <c:pt idx="1">
                  <c:v>0.0015</c:v>
                </c:pt>
                <c:pt idx="2">
                  <c:v>0.1377</c:v>
                </c:pt>
                <c:pt idx="3">
                  <c:v>0.1402</c:v>
                </c:pt>
                <c:pt idx="4">
                  <c:v>0.0609</c:v>
                </c:pt>
              </c:numCache>
            </c:numRef>
          </c:xVal>
          <c:yVal>
            <c:numRef>
              <c:f>Sheet1!$B$2:$B$6</c:f>
              <c:numCache>
                <c:formatCode>General</c:formatCode>
                <c:ptCount val="5"/>
                <c:pt idx="0">
                  <c:v>0.5221</c:v>
                </c:pt>
                <c:pt idx="1">
                  <c:v>0.2564</c:v>
                </c:pt>
                <c:pt idx="2">
                  <c:v>0.4904</c:v>
                </c:pt>
                <c:pt idx="3">
                  <c:v>0.4621</c:v>
                </c:pt>
                <c:pt idx="4">
                  <c:v>0.481</c:v>
                </c:pt>
              </c:numCache>
            </c:numRef>
          </c:yVal>
          <c:bubbleSize>
            <c:numRef>
              <c:f>Sheet1!$C$2:$C$6</c:f>
              <c:numCache>
                <c:formatCode>General</c:formatCode>
                <c:ptCount val="5"/>
                <c:pt idx="0">
                  <c:v>1655.4208754208755</c:v>
                </c:pt>
                <c:pt idx="1">
                  <c:v>4430.93949044586</c:v>
                </c:pt>
                <c:pt idx="2">
                  <c:v>1171.4814814814815</c:v>
                </c:pt>
                <c:pt idx="3">
                  <c:v>1485.2380952380952</c:v>
                </c:pt>
                <c:pt idx="4">
                  <c:v>1793.008595988538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6EA78A3-0B13-41AC-BFE4-4482491A4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1BE13D6-C9EE-4860-A795-D2443C7EC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C70DBE1-5431-4ED8-951A-7534CC567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BF8BEBD-F37B-41DB-94E1-82F93458BB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E426C41-5EE5-4794-9EB5-01620CBD5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2DC0726-4E88-4FDB-AA55-F3A7B1464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A01DE1F-1FD4-405E-885C-0DCC09B36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8F88C8D-FE57-4274-98F6-929F84CB9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E01A5F6-F898-4753-9D8C-4D644AFF2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6A0681C-87ED-45BA-96B5-1A0EA3C93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71F7D8F-938D-409E-8595-A1C473015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4E05C04-E338-49E3-B316-039557171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E1DE7A2-1AF5-4447-806D-35EBE976B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845A0E8-26C0-423E-9312-D3818BDDE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90DBDDA-314E-48C8-8075-DC45FED67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01A1F7C-B6D9-49B8-9681-7EE3576687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8C6BEAA-A69F-4722-B142-6267FAB60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F0B3F50-57BD-4042-926D-EFFA519A0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2C2168F-D3E6-4BCA-A965-FB182FB2B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BD7A31F-E224-4641-91B1-98E3C9A36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17A1A84-AC0E-4321-9A00-5E7D9D55C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B4048D2-4166-43E3-AB57-E891BC887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6FCC220-4306-45BB-9A36-762CCF0F4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3C61288-BF03-4E8D-BF18-DF1F899DE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05881E4-BFF5-4A11-825D-D2BE44FDA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23EAE83-B0FE-452D-9135-AA4ADFF15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8E1614E6-692D-4FC9-9005-6B467088C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6E79D2A-5AD5-4C15-94B0-2FB0E0B926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DF884DF-2D22-4A30-9FFB-B3596E958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463628E-92C4-41FC-8FE9-E3333BC70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ECB3CC6-1113-4A6A-B1DF-7BA430660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9B9C748-D14B-4AB3-AFBB-EF0581BB6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C898806-6797-43C1-8AA0-3B02239CA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F3359E2-A5FD-492F-93A2-A2E0762EB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3E13C08-D8B4-44C3-96AE-4C589A1AD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2856499-7DFF-443D-9727-4249BC11F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EB6B40D-1335-49E3-B574-3B77D631B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EED4A0E-2A13-4F23-ADF9-82BC7818B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1ADD476-852C-4FFA-8465-2FAD02B9E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030501C-71C0-4A75-897C-4A3A443A6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E7DEAD1-9ACF-45F6-9750-0808A5F02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78C9C69-9C62-46B2-B0FE-B2AE0217DE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934A11B-F7D0-4BD6-9C20-B734FB06C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7D8F049-C985-4D37-B46E-A79E8DBD6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BEFFC3A-0460-4F81-9CFB-C901661B8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1A2C29C-6AB4-40B4-A3F3-1CFE3FEDF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63A78D8-51EB-4C54-ADB0-DAB515F26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3E75D0A-3804-4AC7-B189-F20D7B66C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6591C28-009F-4F1B-BB18-DF65114BB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44B42B5-6390-4CE0-8E41-D9D198E101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7D7C14C-FD93-409E-98D2-15B510883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D3647B7-8D5F-4C24-8ADC-12641188C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A98313A-7815-473B-A495-ADCFEB4EDF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9086FE5-19E5-4A38-A768-E931204D8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F7059FE-AC1D-43AE-93E4-0879592D0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C488A0F-443C-454E-8EEF-1FC668E10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BAB1B02-E23C-4166-806D-4E2240D16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078</c:v>
                </c:pt>
                <c:pt idx="1">
                  <c:v>-0.007</c:v>
                </c:pt>
                <c:pt idx="2">
                  <c:v>0.1542</c:v>
                </c:pt>
                <c:pt idx="3">
                  <c:v>0.1389</c:v>
                </c:pt>
                <c:pt idx="4">
                  <c:v>0.0416</c:v>
                </c:pt>
              </c:numCache>
            </c:numRef>
          </c:xVal>
          <c:yVal>
            <c:numRef>
              <c:f>Sheet1!$B$2:$B$6</c:f>
              <c:numCache>
                <c:formatCode>General</c:formatCode>
                <c:ptCount val="5"/>
                <c:pt idx="0">
                  <c:v>0.5227</c:v>
                </c:pt>
                <c:pt idx="1">
                  <c:v>0.2565</c:v>
                </c:pt>
                <c:pt idx="2">
                  <c:v>0.4868</c:v>
                </c:pt>
                <c:pt idx="3">
                  <c:v>0.4598</c:v>
                </c:pt>
                <c:pt idx="4">
                  <c:v>0.4776</c:v>
                </c:pt>
              </c:numCache>
            </c:numRef>
          </c:yVal>
          <c:bubbleSize>
            <c:numRef>
              <c:f>Sheet1!$C$2:$C$6</c:f>
              <c:numCache>
                <c:formatCode>General</c:formatCode>
                <c:ptCount val="5"/>
                <c:pt idx="0">
                  <c:v>408.96</c:v>
                </c:pt>
                <c:pt idx="1">
                  <c:v>1087.5081967213114</c:v>
                </c:pt>
                <c:pt idx="2">
                  <c:v>344.125</c:v>
                </c:pt>
                <c:pt idx="3">
                  <c:v>421.6666666666667</c:v>
                </c:pt>
                <c:pt idx="4">
                  <c:v>450.678571428571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574B970-1A74-483B-86C8-BCF066DDD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8EB94C0-D7EF-4C6D-9410-A220B9777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1B8F177-096D-4179-B706-37C62A52E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394BA60-68FC-4C2F-A854-170B1E2D7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EDF6336-5601-42C3-B461-DF4952981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E6670BB-A996-483C-BF10-57172CC7C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8036FE6-CE4C-47DF-A675-DA35E5B4F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A4FB0AA-5BE8-47B3-8D5D-964549757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5793EE8-A871-4CE0-AAD6-488A1FB98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9653E46-4BEE-48E7-AA0C-C626D5F09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0EA9B9D-B10D-489B-A916-6C99EF7BD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7409A01-1597-4B58-9F9E-CA66F1DD83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3E70EF6-838B-45A3-B1BD-2CD4B86B0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7455270-0F2C-452E-B7F1-542375DC3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B340B4C-6308-417F-B714-595B9524C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5126CF5-EA7F-4AA4-A36B-B01D8BEE9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85F881F-6313-4C4F-B8FE-46CBD77312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39A1127-FA64-406C-9FAA-EE00A8D6E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3E39AE3-07D3-49F0-BDD4-C17DF6084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071BE1E-E545-4B11-8A92-1E6448E25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DF85D63-B513-4CB8-BCDA-4A0935303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9C654BC-FA0E-45AD-9C26-4E39891668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DE1BBA4-3CF1-48F1-87F9-F2A0DB6B2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3EDE2A6-6BE9-40B7-ABE1-711BA3709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85935F9-9E5B-4EF7-8130-DF86015A3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F169DEF-B63E-4774-9E9F-FB8EB4EE3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642A2C2-3287-425A-A1E4-922AA6ADD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9A27310-98DA-437D-AF6C-D0B7C081C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99A1B28-C8CA-4B51-B9B7-5D5BA8325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C59C953B-9623-48FB-981C-852C14E60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9D40A9F-9F58-4F5F-9918-21379C90F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E35C134-A6E8-4265-918E-8B5C43CBA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7303BAA-D2B0-404B-9922-C11CA8F2D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9FE989A1-BE74-4D3E-B9A4-F3D730988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770AC6F-0D5F-4530-B9C7-E02AE50EB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AED5671-D811-4815-ACCB-CB56D3343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F6ACD82-AE31-40CC-B3EA-599871F6E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772A603-F13C-4B6A-9838-A7984D455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8C96A0C-AA5B-4F01-9F64-31A361696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D64A77C-98BF-4CA9-BA88-EEE8E7CBD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A44292B-28D7-4D7D-A588-C07290CB6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F58A51C-4D97-4D7C-A662-4B3624668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CA28CC0-02F4-4EB6-94B5-BB46CDCE5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4339C9E-43F8-4FA1-A0FF-167ACDDC1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CD5F0E7-7B9F-4CF9-9F89-4B218AE89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114002B-D092-491F-845E-B873EE394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771626A-8941-4BAD-A44A-36DDDE8CA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B75D984-B48F-4A37-A4B9-9C3B2544A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7714305-DD83-459D-8FA3-6C9C84344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D8C17EC-ACB2-438C-8C98-B28397E89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30AAF46-237D-43E5-A780-C4DAC5DD5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036A0F1-555F-4487-8683-BD1CE2627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53F55D6-7630-43D0-A803-79B58F041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870B3CC-A330-410D-8FD7-C06365780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5B243D7-F2BC-4205-8AB1-3C534F8ED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8D0CA05-9D2B-49C4-8CC1-7E2F17C23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F8F19E5-4C78-4017-98E3-BEAC12A17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0843</c:v>
                </c:pt>
                <c:pt idx="1">
                  <c:v>0.0038</c:v>
                </c:pt>
                <c:pt idx="2">
                  <c:v>0.0906</c:v>
                </c:pt>
              </c:numCache>
            </c:numRef>
          </c:xVal>
          <c:yVal>
            <c:numRef>
              <c:f>Sheet1!$B$2:$B$4</c:f>
              <c:numCache>
                <c:formatCode>General</c:formatCode>
                <c:ptCount val="3"/>
                <c:pt idx="0">
                  <c:v>0.5222</c:v>
                </c:pt>
                <c:pt idx="1">
                  <c:v>0.257</c:v>
                </c:pt>
                <c:pt idx="2">
                  <c:v>0.4826</c:v>
                </c:pt>
              </c:numCache>
            </c:numRef>
          </c:yVal>
          <c:bubbleSize>
            <c:numRef>
              <c:f>Sheet1!$C$2:$C$4</c:f>
              <c:numCache>
                <c:formatCode>General</c:formatCode>
                <c:ptCount val="3"/>
                <c:pt idx="0">
                  <c:v>204.14285714285714</c:v>
                </c:pt>
                <c:pt idx="1">
                  <c:v>468.7678571428571</c:v>
                </c:pt>
                <c:pt idx="2">
                  <c:v>175.0476190476190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E8B54E6-5CE1-4A16-A434-49A04191C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BBA60BF-FBAD-4FE0-BC06-54B1A8218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526FD39-998F-46C5-A71E-0AB96E9EB3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A64F4D7-D7EB-4CB6-8840-C29C4AAE8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E5BDEF6-0C6C-4151-8B98-0C4064CC5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97CBB93-0C4B-452D-A079-4565A4C85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80DFE65-AB08-4B46-AC25-8C0F4EE62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7CA9D06-3987-4F96-A420-0F027A697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B3BC57F-3E35-45BC-BDA6-E2B8BD775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EE810DD-58EF-4CD2-BDC0-F7D772090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471620D-D855-493B-B886-D69C892FF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86C6E99-8D8B-4468-AFF0-1930414BE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B0B4510-3077-45C2-85C1-0D2FD3A6D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CDE4747-84C0-4194-8DB5-2518D2950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589447B-4B41-4A9C-9DCF-A98C04FBD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0109202-B2D4-4F45-B2C5-65159DD0C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C968FC1-4AED-441E-BA4D-9F9FFDF87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146F2DD-1BCF-46D8-8B86-F8D9127C9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FCFA01E-F5B8-41E4-9F63-19BEBB4AD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092FC37-1132-4236-A333-D97E5DE5D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F3B6C49-3F80-4BBB-8EBC-6805613D9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3D6D3B9-1180-4601-8719-C73CF6B6E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C02E0AE-2C50-4677-BB55-BCE2CCD52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D0F3BF1-3034-480C-8FB8-7D83971A5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6B8A756-CCE8-4337-8547-5045BFAD0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2A67480-043F-4DC8-8AF6-97F565C4A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882CE81-91F0-493B-9F87-157D76256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0DF1B47-4862-46E6-BB9D-0F25AE96B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2064EA1-A5C6-4D8D-ADFA-F1E0EB366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78A7722-69E8-4DC3-A59B-0A765E21B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373168C-C8EA-4422-9BC0-407413CA8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0BD0411-C59D-42CC-8C3E-7765FA413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6B74F5B-B8A9-4157-8C03-97C563181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220E6D2-F04D-4055-ADEE-BD2ED5E79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6550BA5-6425-40B8-8779-C33BA62D1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A1086A1-9743-4B82-9E35-2C0A2525A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818F092-5879-453F-9ADD-611EEBB8C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8C6D521-FE82-418E-9644-E91864C2C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E359486-8AA6-4AB1-A431-C17E72EA6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917E404-B92A-4100-A882-B29FB823C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CF10FD7-B90E-4406-91A9-615CE04A1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A096ED4-DC6F-4503-A2CA-44AD1249C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1D6FA761-1A3A-49E1-AC2E-F9C73D438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B372654-90AA-4259-8BFE-871364FEE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3918E88-8E79-4E3B-835F-5DB4FF3B7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9C1EDD6-635D-41FC-AB5C-40B723638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DE611D2-C09E-4CE3-9FDE-1913A755B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DA6E0AD-1E5E-45D4-A77B-D8880F602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63E7CFF-0667-472E-88B3-88B0EC2B58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BD5BD58-1D08-4299-9D64-BB2C5FA66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2EC0ABC-FC2D-4A1B-8A07-192571D7B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57E240A-DBE9-4537-973C-7B13DAD82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B4BB660-26D8-4EE9-85BE-FAC39E26E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A7B51AA4-E51A-4139-B280-EEE48A472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50BAB40-A64A-4636-BBF7-94DD5D0DB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243EF91-8000-4B83-9754-B3C5CA752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50A947A-98BF-4679-B5EF-45E083AF9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38</c:v>
                </c:pt>
                <c:pt idx="1">
                  <c:v>0.0092</c:v>
                </c:pt>
                <c:pt idx="2">
                  <c:v>0.054</c:v>
                </c:pt>
              </c:numCache>
            </c:numRef>
          </c:xVal>
          <c:yVal>
            <c:numRef>
              <c:f>Sheet1!$B$2:$B$4</c:f>
              <c:numCache>
                <c:formatCode>General</c:formatCode>
                <c:ptCount val="3"/>
                <c:pt idx="0">
                  <c:v>0.5234</c:v>
                </c:pt>
                <c:pt idx="1">
                  <c:v>0.2576</c:v>
                </c:pt>
                <c:pt idx="2">
                  <c:v>0.479</c:v>
                </c:pt>
              </c:numCache>
            </c:numRef>
          </c:yVal>
          <c:bubbleSize>
            <c:numRef>
              <c:f>Sheet1!$C$2:$C$4</c:f>
              <c:numCache>
                <c:formatCode>General</c:formatCode>
                <c:ptCount val="3"/>
                <c:pt idx="0">
                  <c:v>48.13953488372093</c:v>
                </c:pt>
                <c:pt idx="1">
                  <c:v>163.08536585365854</c:v>
                </c:pt>
                <c:pt idx="2">
                  <c:v>61.30769230769231</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7028417-D733-4327-BD3D-26F47E8EA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C151BBB-FA3B-4382-8C9F-230D98669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1C60FAC-409B-4A26-871B-A2FF21EA0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EA83133-A1A4-494B-9177-6380ABB0C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0C31F27-B9DC-45E9-8984-B011946D2F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E4752DE-ADE6-46D5-835F-8FDA1492C0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3DCDEE5-C3FF-4E87-9F0F-09A115A87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0BED220-B414-4E54-A889-ADC5263AF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493D49F-0357-4210-BC21-9453025E0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3334128-208F-43A6-96A3-7C43C1030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5D9A3A2-C0C8-46BC-8536-7EFEFABA7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BF6FFBF-3F2F-476D-BBCE-7C89EDDADA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C63C932-B359-4955-90B4-ED40E0C6C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6CFF529-9F78-4FBC-8E77-4438B5C36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1956D5D-3BF9-488B-BF78-2352CE9D0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5B1DD75-D992-425D-B5EA-5EB056B5A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E616657-A244-4100-BE38-425356C24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2732D22-059B-48FC-AE39-F36967EA2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37A8821-9BC2-42A0-9E12-4630B6AF4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176465F-8518-4192-AB41-6015A9117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FCC93BE-E6D8-4E7A-80B3-F8AC7DA3F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10BF4E9-822D-4947-A89E-056B74F23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BEFA3C3-BF8E-461B-853D-73C9090AF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7C8F32F-6436-4F63-AE23-04E3AB043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5E57262-47FA-4393-B5B5-054D08094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1C88727-1CCE-4995-A3A5-757646A34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F8F943A-BA2F-478D-827F-EBC759AA4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C5EAA07-2997-47A1-AD52-E7249D0AE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04212C3-C767-4C21-87F5-7DBDD0E54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0CF5393-EE3C-471A-BB75-35DE5CACE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AC7395A-D116-4E9F-8B58-6417E8584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24F777A-7576-47E7-8C72-3ACE8A9AE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9A8A7DA-4003-48B3-87B6-76581198A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97920270-50F0-4D23-BABD-C8AA6AD52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6D7FC32-C31B-4610-BAF1-56CBEF427C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D3F647B-C76C-47A4-A15A-D12423D4A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AC58000-24AB-439F-819B-87C7361F4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7EF76DA-A612-45CD-9481-FB6F756F3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1B11826-098B-495B-88B6-052E09D4C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8506626-458F-4A1C-942F-A91B6A44D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6CEC64D-ED16-4AA2-8B2A-AED8165B8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6F06793-0D29-41B2-825C-BCE2218C5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1E6AECB1-6BC5-4394-81EB-AAFA13251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6299D14-CAD6-4B3D-A4B9-4AC1821A9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7EA3E94-471C-4C58-82ED-1509784B7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639CE97-24CD-40D1-ABA7-33FC8900E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F65E0B5-A721-4F9D-AD66-057361C7C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5DA73FC-BE1F-4F64-A309-D29BBE60F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C3949C7-9751-49C4-8BE0-C2F38F0DFB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6424060-1F17-4EA1-B27D-8939FDCB3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478144B-3080-4D7E-B242-F2DCDAF63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74DB3F0-6824-46FC-AC4C-51125B167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931B3EC-FB4B-4943-A322-8A4B78149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9F97EEF-49C9-4C13-B3F0-AC76EF044F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4E8596D-6124-4E62-866A-DE56D317C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9B913E0-28E5-48C6-929A-12E0E95E1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9C4B6A5-59E6-489A-96CD-7824FD212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0693</c:v>
                </c:pt>
                <c:pt idx="1">
                  <c:v>0.0008</c:v>
                </c:pt>
                <c:pt idx="2">
                  <c:v>0.1014</c:v>
                </c:pt>
                <c:pt idx="3">
                  <c:v>0.0899</c:v>
                </c:pt>
                <c:pt idx="4">
                  <c:v>0.0471</c:v>
                </c:pt>
              </c:numCache>
            </c:numRef>
          </c:xVal>
          <c:yVal>
            <c:numRef>
              <c:f>Sheet1!$B$2:$B$6</c:f>
              <c:numCache>
                <c:formatCode>General</c:formatCode>
                <c:ptCount val="5"/>
                <c:pt idx="0">
                  <c:v>0.5211</c:v>
                </c:pt>
                <c:pt idx="1">
                  <c:v>0.2559</c:v>
                </c:pt>
                <c:pt idx="2">
                  <c:v>0.4894</c:v>
                </c:pt>
                <c:pt idx="3">
                  <c:v>0.4601</c:v>
                </c:pt>
                <c:pt idx="4">
                  <c:v>0.4812</c:v>
                </c:pt>
              </c:numCache>
            </c:numRef>
          </c:yVal>
          <c:bubbleSize>
            <c:numRef>
              <c:f>Sheet1!$C$2:$C$6</c:f>
              <c:numCache>
                <c:formatCode>General</c:formatCode>
                <c:ptCount val="5"/>
                <c:pt idx="0">
                  <c:v>1250.962962962963</c:v>
                </c:pt>
                <c:pt idx="1">
                  <c:v>2988.0338983050847</c:v>
                </c:pt>
                <c:pt idx="2">
                  <c:v>1025.0</c:v>
                </c:pt>
                <c:pt idx="3">
                  <c:v>1141.2222222222222</c:v>
                </c:pt>
                <c:pt idx="4">
                  <c:v>1302.87878787878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8D7932D-DB98-45F9-9993-32F017782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4A3ECB6-E8A5-478C-B1D5-545D26B0E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518656F-D9BA-4299-A290-3D5528D9A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18A463A-8DD7-41B1-B396-F66D0C26C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056BFD7-4FE9-447F-A377-9FE293621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7E081BC-3514-4DC1-B8D2-DCD3B84D1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82E1A35-07DE-4EC7-B1AF-B930067B2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7459A11-5F90-4CDE-AC2B-2AF97AF48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5BEB63D-F7DC-4DEB-A2F5-A42D0ED4D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2D60EBA-FC1C-4E77-8285-6242B3D2C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E544C8B-E507-430C-B1A9-5FFEA63D8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C6F3D18-B07A-4F52-A2AC-CED9B1E41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BA653DA-C6A0-4C86-BC3A-BD0C3A7C9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BE053F2-992F-4EAD-8FB3-DC67B73D3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6DCBB3D-EB2D-4ACF-B768-54B15DC4F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FB30D67-F7DF-418C-B5A4-04741B8EE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0740D22-D5B8-4B54-9F1C-A8560089B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EC4E388-A23A-4D6F-A2FF-0D35C9281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2B35315-C3F7-41FE-8AB7-8275A3E12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73C98CA-618F-4A72-A0AF-6D99FFC77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D1A7C55-6A43-4980-A850-8A9951ABB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DB84DB7-1DEF-4C9C-9B73-184EC6431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192D99A-3A63-4012-BC59-33BD6DC6C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364F15A-DF27-4B17-88E1-172C4BAFB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499D6D5-E364-4C45-BC4C-3077FCA13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C4EEF25-C41D-4D48-BC01-A5D8B36E7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B53ED87-2C45-4436-A4A8-70A01F773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B8C9BA1-A543-4A31-B0ED-1055AD9AD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513C6E2-100C-4AD4-82AA-4097CA77D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928B9ED-C795-49FD-AA2F-0173B2BD2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5DA9AE1-9B68-404A-B001-46A029902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AF04BEF-74C7-47EC-A75F-079BB0399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A24C97C-54AD-400B-9163-9DF5B948C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FD3A238-11BF-4102-AB40-E39EF86CE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2ABD530-3B10-41AF-8665-AD2586DF1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076BCF6-C7D6-4699-ACBA-166CEDA56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D7FD055-31C4-40DC-BD88-2ACA31721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B3252E6-6FE6-4AF6-9F03-EE5FFD1E3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29CF8D0-BD44-4A55-9E53-BF8A2EEE8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FA6CC1D-D630-4840-B4B3-A4231B3C7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5930D24-B3E0-4D27-B232-753E1A5B7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D9B0EBA-71FA-403E-B945-609A4BE66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F738ACE-68A9-46AF-B794-FB5F8DF7C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FA6084C-3FD5-45F3-8779-73227E352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50FAE41-CB0C-47FB-80A6-F31E5E3EB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929C2DF-E01C-42BC-ADC2-6BC229154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39ECD3B0-B5BF-4ADA-B4DA-4F11B04BF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35631CE-DB61-48B6-A819-424B6BF42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F2ADE01-CA27-4063-8BFA-325DD4238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CF634B4-D2B2-4BFF-9F7A-06CDD89D6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1CC712D-4984-4319-A75C-8C13F1507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0D90A46-E5A9-4484-A97E-A1C2E90A3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56E9D35-60AA-484A-AB87-F40D936D4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A1AB2D1-4425-49DD-AFD6-1D1725ED8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1FA78F5-1840-413F-A408-03E190572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AEF345B-B33F-4D04-B9C4-8817DE799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E3868EB-8128-4D87-9EB9-01F5E2737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0996</c:v>
                </c:pt>
                <c:pt idx="1">
                  <c:v>0.0029</c:v>
                </c:pt>
                <c:pt idx="2">
                  <c:v>0.0951</c:v>
                </c:pt>
              </c:numCache>
            </c:numRef>
          </c:xVal>
          <c:yVal>
            <c:numRef>
              <c:f>Sheet1!$B$2:$B$4</c:f>
              <c:numCache>
                <c:formatCode>General</c:formatCode>
                <c:ptCount val="3"/>
                <c:pt idx="0">
                  <c:v>0.5245</c:v>
                </c:pt>
                <c:pt idx="1">
                  <c:v>0.2577</c:v>
                </c:pt>
                <c:pt idx="2">
                  <c:v>0.4829</c:v>
                </c:pt>
              </c:numCache>
            </c:numRef>
          </c:yVal>
          <c:bubbleSize>
            <c:numRef>
              <c:f>Sheet1!$C$2:$C$4</c:f>
              <c:numCache>
                <c:formatCode>General</c:formatCode>
                <c:ptCount val="3"/>
                <c:pt idx="0">
                  <c:v>105.60975609756098</c:v>
                </c:pt>
                <c:pt idx="1">
                  <c:v>355.9767441860465</c:v>
                </c:pt>
                <c:pt idx="2">
                  <c:v>173.74418604651163</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33C1C3A-0BB2-46E3-ABAA-BC6F1E810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F8BB865-F880-4AAF-AE63-B5E6BD487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0E3484D-C506-49D4-B99D-E8D741C2D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BA2041C-DE4B-4A36-AFB0-943EF064F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E2F202C-8FED-464F-9467-0382DD011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B5A0D85-86B1-4E2E-83CE-FFCA8ADE6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1BF9E9D-007F-48B3-BD23-20B997B8D5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CC3092D-6929-40E9-9B76-4BE2A519F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308</c:v>
                </c:pt>
                <c:pt idx="1">
                  <c:v>47.7259</c:v>
                </c:pt>
                <c:pt idx="2">
                  <c:v>24.7706</c:v>
                </c:pt>
              </c:numCache>
            </c:numRef>
          </c:xVal>
          <c:yVal>
            <c:numRef>
              <c:f>Sheet1!$B$2:$B$4</c:f>
              <c:numCache>
                <c:formatCode>General</c:formatCode>
                <c:ptCount val="3"/>
                <c:pt idx="0">
                  <c:v>0.5221</c:v>
                </c:pt>
                <c:pt idx="1">
                  <c:v>0.3998</c:v>
                </c:pt>
                <c:pt idx="2">
                  <c:v>0.5316</c:v>
                </c:pt>
              </c:numCache>
            </c:numRef>
          </c:yVal>
          <c:bubbleSize>
            <c:numRef>
              <c:f>Sheet1!$C$2:$C$4</c:f>
              <c:numCache>
                <c:formatCode>General</c:formatCode>
                <c:ptCount val="3"/>
                <c:pt idx="0">
                  <c:v>2177503.0831999998</c:v>
                </c:pt>
                <c:pt idx="1">
                  <c:v>36010739.4813</c:v>
                </c:pt>
                <c:pt idx="2">
                  <c:v>385875.914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7.271080000000005"/>
          <c:min val="9.0646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80222766232193"/>
        <c:crossBetween val="midCat"/>
      </c:valAx>
      <c:valAx>
        <c:axId val="1011451359"/>
        <c:scaling>
          <c:orientation val="minMax"/>
          <c:max val="0.9979199999999998"/>
          <c:min val="0.07984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5.44176899916856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F6852EE-E1B4-44A1-BDD8-7B39A16CE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B690FF8-2B47-4077-A43B-320685127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E840240-40BC-4043-8B15-C78C75787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9226DE0-9850-4E51-A8C7-DD04604A9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55B2A85-8B57-45A0-8D2F-671250284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092C4C1-B3B6-4511-84D1-9BFD2E2D1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64A6035-1453-4A4F-9F39-2E205CA7EA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BC349C9-0A75-4CD9-B0E2-75CDC9D9E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3B337A0-82F0-4DCA-B53F-39BE2A7D0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FD01932-BF5D-4BE9-B296-99BD120F5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2BAC359-4110-45C9-889A-B3AC1FFF6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3563708-4347-44DE-8A83-7681963C3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E45790E-4F47-4A44-93B4-200502004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1D61369-9DD5-4112-A318-149E2369A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9584608-D86E-471E-B48B-89EED0703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CE5CFB1-A287-4DD7-B42A-09F6E5951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62C7679-E58E-48EB-ADBC-48010E8ED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B612C50-3916-4559-B69F-319FE05E5C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C8D9586-EFD8-4E89-B25A-C521F1AEF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EE14CB71-ED68-4130-BAB3-0C4FE2C34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F0E6FEA-BD68-4840-A8A9-919E4E306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C528AB6-5486-4B1D-BCF7-9A6935090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45E21A4-1198-47BE-9D80-191102706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CEDAD6A-3301-4A9D-99CE-8545765DC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EE476D4-00CA-44E6-B145-8AEC29545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CD073AA-BD5C-40FD-B26B-957315641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3E33F05-A154-4945-A5A6-53CFB2695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E989B08-C413-4325-AA2B-F4E74F5A6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52E701E-753C-4EB5-B538-55000A5F1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1E9586F-D9F0-4122-B5CA-473F274A4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F44CA3E-F520-4353-9DBB-1B6E7E547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AD0318E-E885-4411-BC67-B67717968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7EE3F57-A3C4-4591-B7E4-C904DCE6D8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07F1C81-68CA-44FC-86A3-C70122BF1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A15452B-DBD8-43B2-997A-227ACD681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E87105E-B991-4D88-8F9E-DB1C3DEE7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E978C32-70A1-450D-9FF3-68CDEF7FD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BAB903C-25F8-4D9F-ACF3-2559B70AA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C36D27F-C45B-4835-8858-D6E47F267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2B3ABBE-E367-45A6-9930-F51F03234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AA61986-0F4E-485A-8E70-62BD6B9DD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5B61C0F-30CE-4DB4-8258-24908EA55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3BD753A-AE48-4966-A2FD-342136BAA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547E35B-5089-4FEE-BA22-531D7E7EA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A7628B7-5991-4B8B-80AE-9F0871D04B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878DFC6-49F1-416B-86D7-39419FD34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065EC06-A0C3-478B-8110-7050647E2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38C7656-FAF9-4870-8B30-0E7FBB3D5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ABEAAD2-EC6B-40C5-90CF-EDCD2CCC1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4A62CDF-2849-4EA7-A9D3-9DB8A8EA7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2FFCECF-616C-4A21-A017-FA1855EF6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D0FDCFAA-7ED1-42D5-A26F-32579DB40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279A86C-EA54-49BA-B5B3-64F2D6A1C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47854D6-B802-4FE3-BCE5-5015A84EC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0234FFF-733E-4633-9AE7-2C4CCB1F4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5058013-E3F6-4E74-AE37-372AA9736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55EEDB7-BE56-46AF-B3E3-750F6CD36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0867</c:v>
                </c:pt>
                <c:pt idx="1">
                  <c:v>0.0031</c:v>
                </c:pt>
                <c:pt idx="2">
                  <c:v>0.1539</c:v>
                </c:pt>
                <c:pt idx="3">
                  <c:v>0.0704</c:v>
                </c:pt>
              </c:numCache>
            </c:numRef>
          </c:xVal>
          <c:yVal>
            <c:numRef>
              <c:f>Sheet1!$B$2:$B$5</c:f>
              <c:numCache>
                <c:formatCode>General</c:formatCode>
                <c:ptCount val="4"/>
                <c:pt idx="0">
                  <c:v>0.522</c:v>
                </c:pt>
                <c:pt idx="1">
                  <c:v>0.2562</c:v>
                </c:pt>
                <c:pt idx="2">
                  <c:v>0.452</c:v>
                </c:pt>
                <c:pt idx="3">
                  <c:v>0.4818</c:v>
                </c:pt>
              </c:numCache>
            </c:numRef>
          </c:yVal>
          <c:bubbleSize>
            <c:numRef>
              <c:f>Sheet1!$C$2:$C$5</c:f>
              <c:numCache>
                <c:formatCode>General</c:formatCode>
                <c:ptCount val="4"/>
                <c:pt idx="0">
                  <c:v>210.625</c:v>
                </c:pt>
                <c:pt idx="1">
                  <c:v>516.92</c:v>
                </c:pt>
                <c:pt idx="2">
                  <c:v>176.1875</c:v>
                </c:pt>
                <c:pt idx="3">
                  <c:v>272.187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995778F-E00D-4169-8620-648FB2764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89E850A-AEBF-4E99-82AE-54AD805C8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3D10463-F033-40C7-B94C-EA513A92B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E20806C-2352-4F05-A9DF-5EC0C39CA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F14DAFD-3F44-4FC5-AD44-9CD219A27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99F0F0D-72F4-4B98-A0BE-91E745ED7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1C55A8C-585E-4BD9-91DE-9D76474E4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D683DD4-F7B2-4994-BD12-3B3A11A9F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CCB33DF-1057-49DE-8E8B-4A02E56AC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E5E50A9-94D3-483E-A108-051B25DDF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7D4AA0E-96F7-4BD2-90F8-D1A5ADD11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A5EC04D-7521-4CAB-B97C-DE8AB2FE7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E63A105-09CA-43B3-906F-ACBF97EA4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15892C0-2127-49A7-A6AD-4FE61AE75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084CE37-64BD-4B04-AC91-25D8611EFD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51A783A-585B-46A3-804A-60623DD20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B9B8CC6-34D3-4629-9C73-DA5A2CDF6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D69EA9B-27F3-43F1-ADCC-CD4438267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40943DC-A9C2-442B-A3A2-9E9DF4018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2BF0C2C-F4DF-4625-81AB-78921528E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497FACB-76E6-4449-9673-2C58634E6C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2EAF6C3F-59BE-4E53-BABA-D6119255B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4D48264-CE1E-487C-91EB-F4C6FF3CD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ED63DF4-6680-4A1A-A373-C688BC7F5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2B22514-88B5-4D70-BADE-E46F732F3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2856FAC-E25A-4D77-B61B-EC46AEB16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D69194C-6215-40A1-BCD7-426E36226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165BED4-6F0A-4DED-8886-69F966B30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EFE42D0-37AF-44C1-BB27-C347F1AB1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FE0B71F-E1BC-4F68-8159-5CDF327B6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2CC6998-F229-491A-AE9B-50DBE6A09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AAA9713-FD4C-47C6-BF78-2DB89F473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6CFEB8D-04FD-4D74-974D-08094EF6D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949D68B8-515A-4A51-A194-5C4DA54C5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C005AAE-D1A1-47BE-BBC2-01C5A9E9A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E8264E5-8045-46AD-8340-A6A024041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AC677AC-AFA5-4FE7-BB28-81F9AF087D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785EFAA-3819-4482-9F47-474313455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63D22CF-27E6-4F7E-A8CA-A5A2A88F6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04514B4-02A3-4CBF-8734-0BF5050A1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A6B021C-1B63-4EF7-AA5E-0B7E12ED9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902E1CC-86B9-4026-A375-77414AA77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8FCC3B9-B8BC-4C59-8F58-44DCC6409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AC8AF6E8-750D-4350-898A-1B0F49D63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46B96AD-B75E-4D43-BA63-2870A3007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5A42324-CBB7-4303-B338-C12150233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C6320FC-FFD9-4B94-9BD6-D55A22B1B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177E576-3C6B-47AE-B6CA-670E8462A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D325439-C247-4D64-B30E-606EC1ACE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0C09D12-6D89-4C90-B056-6239003810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E821E66-AF52-4E45-86E8-3DD2E6392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CCA95E5-311A-4E34-B3D7-90DFDCD1C5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5368860-DACB-4C48-B6DD-960A61295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AEC3424-CAB3-48BA-93C7-425DAC6DB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456E71B-FFEC-4A14-A6AD-D31FB763B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D83756F-0C8B-40E8-8187-03EF1C1F5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17451E9-37F1-4079-93F0-28CE6928D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0738</c:v>
                </c:pt>
                <c:pt idx="1">
                  <c:v>0.0016</c:v>
                </c:pt>
                <c:pt idx="2">
                  <c:v>0.1424</c:v>
                </c:pt>
                <c:pt idx="3">
                  <c:v>0.1569</c:v>
                </c:pt>
                <c:pt idx="4">
                  <c:v>0.061</c:v>
                </c:pt>
              </c:numCache>
            </c:numRef>
          </c:xVal>
          <c:yVal>
            <c:numRef>
              <c:f>Sheet1!$B$2:$B$6</c:f>
              <c:numCache>
                <c:formatCode>General</c:formatCode>
                <c:ptCount val="5"/>
                <c:pt idx="0">
                  <c:v>0.5209</c:v>
                </c:pt>
                <c:pt idx="1">
                  <c:v>0.2561</c:v>
                </c:pt>
                <c:pt idx="2">
                  <c:v>0.4895</c:v>
                </c:pt>
                <c:pt idx="3">
                  <c:v>0.4652</c:v>
                </c:pt>
                <c:pt idx="4">
                  <c:v>0.4806</c:v>
                </c:pt>
              </c:numCache>
            </c:numRef>
          </c:yVal>
          <c:bubbleSize>
            <c:numRef>
              <c:f>Sheet1!$C$2:$C$6</c:f>
              <c:numCache>
                <c:formatCode>General</c:formatCode>
                <c:ptCount val="5"/>
                <c:pt idx="0">
                  <c:v>500.30434782608694</c:v>
                </c:pt>
                <c:pt idx="1">
                  <c:v>1071.767857142857</c:v>
                </c:pt>
                <c:pt idx="2">
                  <c:v>391.6666666666667</c:v>
                </c:pt>
                <c:pt idx="3">
                  <c:v>392.1111111111111</c:v>
                </c:pt>
                <c:pt idx="4">
                  <c:v>517.7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F5889D7-0316-4D18-AD07-CDBD3328D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7B0A6AB-090B-4CAB-894B-37AA35198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9869C96-6B1C-44C9-96CA-85C3973698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7814A30-F09C-482F-BA36-A98C441F5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85BE3D3-9B3F-4737-9DE7-A29882829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E10748B-022C-439B-99C0-4C6157AD7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39A469E-1566-43FA-9362-FA887291A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6B2EFDB-BC40-4F6E-8D24-A392EA727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6026FC5-A045-443D-A927-5301C5712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88D48C5-8B99-4201-8649-F67F79FC4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E8FECBD-122A-4D1C-8953-796DAF5E6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C830515-F7CE-4501-9015-283B07F2F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531C927-8B3B-4652-93D8-0FA1CBB9A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C02371F-6B39-4840-8DA4-E6C7BCF0A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88C0156-86EB-4310-ADCD-A2F61204B8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049E9FF-B858-445B-BCA3-14DF3875A8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32FBA74-43E0-4460-B2C9-C560C7971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0BA67FC-F38C-4FBD-A4AA-0248048A2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90CC278-CE2E-44D5-ADC8-AE0817034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55D096A-65EE-4035-9DBB-258F1892A9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D754D0C-9E5C-450B-B59E-E6F231613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9885544-E56D-4DA6-8B22-6B6812B24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A5E85A4-1CE4-4737-9EA5-05EBBC15D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4805C7B-8BFF-4C2C-ABD9-FDE3151C1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1679ADF-98C4-4CD0-B3B1-0C3FCCA9D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271E463-6F76-4019-9C21-7B277BC86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15F3AC4-95C2-4A8C-B859-508AD5B63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0A88D52-FF5F-4609-AED6-CBEBE0D07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B01EDDE-99A7-491A-AB79-5A6FEF7B3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2E05075-5742-42D6-99A5-7B832507A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11335C1-CB78-4869-A5A2-F522D6A19E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4F613E3-4D2E-414E-AA74-A5A702AB6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F6B8909-0199-4E75-B741-2E9BBBDF0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9A99CD3-0968-4FD1-A7B6-32B089EF2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2282D4F-E2FC-4567-8447-07381196A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D1C0F19-8C64-4528-975B-FA151FD1C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830B704-7863-4A06-A6E1-E1B38954E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1197257-EE14-4ED4-AC5C-3C53CA00D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6403791-321C-4CF2-B81F-31276B7D9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64D4D79-04BB-4182-9575-8FEDAC12E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B0CE5AE-CE35-40C5-A869-51939CF85C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B037592-EA14-47DF-A64D-187FB9163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8C0C1DE-06B8-4AFB-8751-355A74752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31201E6-863D-4FB3-9189-64BB19C10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1C6C3244-1888-485D-BD71-A6D74A178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59A3ACF-3CB5-4869-89B8-5E796F0DA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ADD5D64-0D18-492E-8D4A-0018DDD76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C15F0C5-F899-4022-8030-682D7FEC3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1676268-D705-4A61-8033-F2F023BBF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2948083-984C-4937-B123-20B4DA7FBF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1D931AC-E854-4268-9E3A-DEDD83E13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581DC55-DCFE-4FAC-897C-5C345A6D5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084A8F8-D36B-4A99-B5B1-4F8E9A32E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3218D76-0909-4CD4-918E-5D37D7CE8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4B0AFA7-AF8C-48E7-80C3-80B80B4A6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BBD416B-4DE2-4E92-B7D2-371708292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4FA6759-4AEF-48A8-AC1B-FDA87113C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0831</c:v>
                </c:pt>
                <c:pt idx="1">
                  <c:v>0.0003</c:v>
                </c:pt>
                <c:pt idx="2">
                  <c:v>0.133</c:v>
                </c:pt>
                <c:pt idx="3">
                  <c:v>0.0544</c:v>
                </c:pt>
              </c:numCache>
            </c:numRef>
          </c:xVal>
          <c:yVal>
            <c:numRef>
              <c:f>Sheet1!$B$2:$B$5</c:f>
              <c:numCache>
                <c:formatCode>General</c:formatCode>
                <c:ptCount val="4"/>
                <c:pt idx="0">
                  <c:v>0.5239</c:v>
                </c:pt>
                <c:pt idx="1">
                  <c:v>0.2565</c:v>
                </c:pt>
                <c:pt idx="2">
                  <c:v>0.4889</c:v>
                </c:pt>
                <c:pt idx="3">
                  <c:v>0.4829</c:v>
                </c:pt>
              </c:numCache>
            </c:numRef>
          </c:yVal>
          <c:bubbleSize>
            <c:numRef>
              <c:f>Sheet1!$C$2:$C$5</c:f>
              <c:numCache>
                <c:formatCode>General</c:formatCode>
                <c:ptCount val="4"/>
                <c:pt idx="0">
                  <c:v>464.65</c:v>
                </c:pt>
                <c:pt idx="1">
                  <c:v>1188.088888888889</c:v>
                </c:pt>
                <c:pt idx="2">
                  <c:v>839.75</c:v>
                </c:pt>
                <c:pt idx="3">
                  <c:v>480.2941176470588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DBDD8D7-9AAF-4793-A6B9-309B56DDC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3816F56-EDE5-4B94-A217-B8DF1EDEE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0B27A54-EA2D-4FF0-AB88-FA7FCEF52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33A127B-48FC-4641-903A-AF77C0C4E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B3D5DAD-02AF-4172-9731-C7DB85E8A0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14BC04A-B033-4AFF-A6A3-649CCFEF1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E391F3A-847D-4CDB-B684-4D426C484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98CFB6D-3153-46FB-A108-AEB148BD9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1FC9CDB-236C-4D54-855D-CF6856B15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D5AD70C-82D6-40D6-B60D-4E71F5B10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6654AC3-F97E-4A17-99CB-0EEFAA28B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6FF6813-4AE8-45D7-941D-F6CEB9ECE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8DB5C25-2619-4780-ABE4-926F558A8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4925C09-9A58-4771-A87E-4F4E618A9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284A354-E71D-43E4-A2DC-89EE77BD8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7233A66-20BC-4F1B-9047-82FF68506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BE4F00E-8067-44CD-94D6-008D6407F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09B80B8-9BCD-4EC7-9457-DB415A144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07F21DA-FD42-4B64-A7D9-26AC05C42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FB2E9E1-62E9-4395-AC74-A4B0BDB29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FEE66DD-EBA7-4B5A-9403-A27445E1D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CDA0BC7-7C6D-443E-9C14-58B5944D3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D55804F-6AB5-43BD-A9CC-E7BEE5D9D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E8A9C2C-8AF4-48EE-8C10-42BE035EA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CCE8DB2-B561-45AD-8C4C-1BB1F9A6C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4EB1FDC-2F27-4B1C-B545-C99A7EAD5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DDDDB3B-2F45-431C-BB46-E595C09D0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4D18B36-FCC7-4ADE-87A7-AC120C51F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5159664-80B3-446D-87BC-9F1DC02B6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2CD0D5B-9AF3-4A44-A9E5-774411FBB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ABD78AB-203B-4713-BF01-59BC4D866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254C1EE-DECF-4C5F-92D1-21FC7EFD8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2B0B42C-0B30-4308-B94C-A09793C94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A1CBE7B-D290-42AE-9E8A-0EC5E2940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7CCF8C2-2C39-4398-87B0-627E4E4A0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DE9D702-632E-47E7-AEF8-32B516E625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5DA7102-C9C6-4F10-A842-41B3BDF79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003B3CA-61EE-4C81-B442-09527E3FE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9BC9ADA-68E5-4109-8B57-327C76D61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E8F0F91-4683-4FF9-A657-F67642A3A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4A9D3C1-3D4A-45CA-B0FA-7450052C9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78E81F2-0AFE-4642-9487-3E78B57AE2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8D16FB0-97F1-482C-88D4-61B59C196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B9BEA54-B8F7-4BA2-BF86-E2FB2E392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F4750C1-FFDF-460F-8612-9CBC0A13B8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7C715E04-E543-4059-891B-EB709938C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DCCC475-15A0-4E4B-BF8C-9DCC32D2A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6CE6A84-A7FB-403C-A11A-EC10A55D7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526FD81-8B29-48BF-A41E-B2B034BAC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3310CB3-88C6-4C0A-BC4A-8C660201E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98F4022-B8FE-4BBE-87AD-74E3417B2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D1A0F1B-F60B-4A2B-B975-C4D21A2D2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A2258EB-355E-473E-A968-396079D8E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C9D10CD-0D21-4E0F-9C69-528D51A59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0A9B310-D681-45B6-A4AD-2A8D40F11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E772AB1-5C9E-4E95-89E5-7F84A727D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56FEF03-45AE-4400-828C-0DED18B75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1052</c:v>
                </c:pt>
                <c:pt idx="1">
                  <c:v>0.138</c:v>
                </c:pt>
                <c:pt idx="2">
                  <c:v>0.126</c:v>
                </c:pt>
                <c:pt idx="3">
                  <c:v>0.0427</c:v>
                </c:pt>
                <c:pt idx="4">
                  <c:v>0.0092</c:v>
                </c:pt>
                <c:pt idx="5">
                  <c:v>0.0044</c:v>
                </c:pt>
                <c:pt idx="6">
                  <c:v>0.0583</c:v>
                </c:pt>
                <c:pt idx="7">
                  <c:v>0.0811</c:v>
                </c:pt>
                <c:pt idx="8">
                  <c:v>0.04</c:v>
                </c:pt>
                <c:pt idx="9">
                  <c:v>0.0938</c:v>
                </c:pt>
                <c:pt idx="10">
                  <c:v>0.054</c:v>
                </c:pt>
              </c:numCache>
            </c:numRef>
          </c:xVal>
          <c:yVal>
            <c:numRef>
              <c:f>Sheet1!$B$2:$B$12</c:f>
              <c:numCache>
                <c:formatCode>General</c:formatCode>
                <c:ptCount val="11"/>
                <c:pt idx="0">
                  <c:v>0.5086</c:v>
                </c:pt>
                <c:pt idx="1">
                  <c:v>0.5234</c:v>
                </c:pt>
                <c:pt idx="2">
                  <c:v>0.4828</c:v>
                </c:pt>
                <c:pt idx="3">
                  <c:v>0.2848</c:v>
                </c:pt>
                <c:pt idx="4">
                  <c:v>0.2576</c:v>
                </c:pt>
                <c:pt idx="5">
                  <c:v>0.4509</c:v>
                </c:pt>
                <c:pt idx="6">
                  <c:v>0.4535</c:v>
                </c:pt>
                <c:pt idx="7">
                  <c:v>0.5038</c:v>
                </c:pt>
                <c:pt idx="8">
                  <c:v>0.2125</c:v>
                </c:pt>
                <c:pt idx="9">
                  <c:v>0.4516</c:v>
                </c:pt>
                <c:pt idx="10">
                  <c:v>0.479</c:v>
                </c:pt>
              </c:numCache>
            </c:numRef>
          </c:yVal>
          <c:bubbleSize>
            <c:numRef>
              <c:f>Sheet1!$C$2:$C$12</c:f>
              <c:numCache>
                <c:formatCode>General</c:formatCode>
                <c:ptCount val="11"/>
                <c:pt idx="0">
                  <c:v>50.15094339622642</c:v>
                </c:pt>
                <c:pt idx="1">
                  <c:v>48.13953488372093</c:v>
                </c:pt>
                <c:pt idx="2">
                  <c:v>103.61764705882354</c:v>
                </c:pt>
                <c:pt idx="3">
                  <c:v>117.4</c:v>
                </c:pt>
                <c:pt idx="4">
                  <c:v>163.08536585365854</c:v>
                </c:pt>
                <c:pt idx="5">
                  <c:v>134.71052631578948</c:v>
                </c:pt>
                <c:pt idx="6">
                  <c:v>78.1304347826087</c:v>
                </c:pt>
                <c:pt idx="7">
                  <c:v>38.91803278688525</c:v>
                </c:pt>
                <c:pt idx="8">
                  <c:v>1744.57</c:v>
                </c:pt>
                <c:pt idx="9">
                  <c:v>276.32307692307694</c:v>
                </c:pt>
                <c:pt idx="10">
                  <c:v>61.30769230769231</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E4D666D-BE84-4BDA-B900-B8B0CB210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CF6A5C5-35F9-43FE-946E-D139C8424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027F7B2-D92F-4137-BCDD-65CAD4B22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A9179DB-0638-4BC4-8A93-76E513613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0C8945B-AA1F-46EC-A6BF-B207A2ABCB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9CAC689-EBB5-470B-A736-ED0053C56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0651790-D21E-4C64-9639-A84C719A0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B351473-657F-4C14-AA29-3F7427295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45BC1A5-AC38-446F-8A90-54A9B010F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C0D84BC-2AC2-4490-BB02-031145AF3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AA991D7-E695-492F-96C4-BEDE62FFB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D804BAC-269D-47AA-8CD8-693822D62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8D0D0C5-F262-4B08-BD83-4C31CDAB0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4FC2541-BC60-40F5-8B58-84973F896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AD2C071-2F8F-4595-B279-9DD262E0B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0626A33-4E27-4AA2-999F-8BDCDDB13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B58612B-B064-4CB2-954B-CAD9AD5DCA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88EF195-8FE8-4122-89D8-ABC0D1ABF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B7C3597-92F0-43B2-9F64-F723D1E8B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C85AD68-11CC-4367-AD58-283EA3208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B268789-9AD3-4FB7-B35A-DD9C1B77E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92F72EB-A1AB-41CA-BFE5-3E860E57E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AE6EB33-D4AD-468D-A92F-A5CB687EF5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AACA2FA-D3E6-4ADA-AE7F-89CA4A461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BBC1757-9DDA-48DF-A8E2-F17511857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F598F42-4042-4D48-8945-BF3CC14E4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2F44204-443A-4B32-948E-388A3F9FF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27F1D0A-434C-4000-82EF-EE8A0590F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7F33083-0E57-402B-B24C-2FABEA436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CF54944-96F2-48E5-9989-9B875016A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58495C1-3DF0-42A0-873C-2D1163BA3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8E3F8C7-AF8B-4EF2-BFE7-6A3562C0D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AF88E70-03C8-4526-84E5-BE5702931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64DB2D7-D853-4F5D-AD32-FB5A8D3EC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5701963C-A2B1-4D29-916B-C6DEF8608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467B034-80B9-4036-A43B-BB4BA6E2C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9CCE83B-ED91-4F91-844D-69DC75D3D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C024741-1694-4FE3-950A-24F2B560F5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3B264EA3-1DD1-4576-B0C0-42C072107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715B764-2B4F-424C-A3C6-A1DA58679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3044CFF-4E37-4430-A40F-275A253AB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3B30404-B60D-4A58-9713-4352B603D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EF7F11A-A568-4BC0-B5AC-638B9D77B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80B2D59-E967-4C43-B471-79BDA8DCF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739EF24-7340-4A05-9EBE-E205D6C83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2DD60FE-3192-404C-B36D-13FF13182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3882A3B-DEE9-4A17-AE19-8BC72920B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31055B3-C485-45BE-9068-19C6FB2FD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050B11C-EBD2-4F08-8475-55C30A176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7BE1166-612D-4BF8-AB09-2F2BF130A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504564D-93FE-4554-9ABF-D8526535A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69A33EB-A9F4-4EA4-9672-B58E7D479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A97B94E-56A4-4ED2-87F0-E14BC2FF1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B8ADF85-913C-4081-9CD5-8110DA8D2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4D04699-F88F-4F3C-89A5-2F1D54F8B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5147836-3905-4971-9AB4-815F45F48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5039839-A726-4C08-8323-EC477940B7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79</c:v>
                </c:pt>
                <c:pt idx="1">
                  <c:v>0.1056</c:v>
                </c:pt>
                <c:pt idx="2">
                  <c:v>0.1504</c:v>
                </c:pt>
                <c:pt idx="3">
                  <c:v>0.0411</c:v>
                </c:pt>
                <c:pt idx="4">
                  <c:v>0.0055</c:v>
                </c:pt>
                <c:pt idx="5">
                  <c:v>0.0257</c:v>
                </c:pt>
                <c:pt idx="6">
                  <c:v>0.0373</c:v>
                </c:pt>
                <c:pt idx="7">
                  <c:v>0.0424</c:v>
                </c:pt>
                <c:pt idx="8">
                  <c:v>0.0359</c:v>
                </c:pt>
                <c:pt idx="9">
                  <c:v>0.0431</c:v>
                </c:pt>
                <c:pt idx="10">
                  <c:v>0.0901</c:v>
                </c:pt>
                <c:pt idx="11">
                  <c:v>0.0902</c:v>
                </c:pt>
                <c:pt idx="12">
                  <c:v>0.0843</c:v>
                </c:pt>
                <c:pt idx="13">
                  <c:v>0.0714</c:v>
                </c:pt>
                <c:pt idx="14">
                  <c:v>0.0901</c:v>
                </c:pt>
              </c:numCache>
            </c:numRef>
          </c:xVal>
          <c:yVal>
            <c:numRef>
              <c:f>Sheet1!$B$2:$B$16</c:f>
              <c:numCache>
                <c:formatCode>General</c:formatCode>
                <c:ptCount val="15"/>
                <c:pt idx="0">
                  <c:v>0.5086</c:v>
                </c:pt>
                <c:pt idx="1">
                  <c:v>0.5203</c:v>
                </c:pt>
                <c:pt idx="2">
                  <c:v>0.4823</c:v>
                </c:pt>
                <c:pt idx="3">
                  <c:v>0.2834</c:v>
                </c:pt>
                <c:pt idx="4">
                  <c:v>0.2562</c:v>
                </c:pt>
                <c:pt idx="5">
                  <c:v>0.4508</c:v>
                </c:pt>
                <c:pt idx="6">
                  <c:v>0.4492</c:v>
                </c:pt>
                <c:pt idx="7">
                  <c:v>0.4493</c:v>
                </c:pt>
                <c:pt idx="8">
                  <c:v>0.5153</c:v>
                </c:pt>
                <c:pt idx="9">
                  <c:v>0.2115</c:v>
                </c:pt>
                <c:pt idx="10">
                  <c:v>0.4502</c:v>
                </c:pt>
                <c:pt idx="11">
                  <c:v>0.4722</c:v>
                </c:pt>
                <c:pt idx="12">
                  <c:v>0.4819</c:v>
                </c:pt>
                <c:pt idx="13">
                  <c:v>0.4591</c:v>
                </c:pt>
                <c:pt idx="14">
                  <c:v>0.4516</c:v>
                </c:pt>
              </c:numCache>
            </c:numRef>
          </c:yVal>
          <c:bubbleSize>
            <c:numRef>
              <c:f>Sheet1!$C$2:$C$16</c:f>
              <c:numCache>
                <c:formatCode>General</c:formatCode>
                <c:ptCount val="15"/>
                <c:pt idx="0">
                  <c:v>132.2051282051282</c:v>
                </c:pt>
                <c:pt idx="1">
                  <c:v>67.9090909090909</c:v>
                </c:pt>
                <c:pt idx="2">
                  <c:v>150.47368421052633</c:v>
                </c:pt>
                <c:pt idx="3">
                  <c:v>193.99999999999997</c:v>
                </c:pt>
                <c:pt idx="4">
                  <c:v>283.578125</c:v>
                </c:pt>
                <c:pt idx="5">
                  <c:v>169.55</c:v>
                </c:pt>
                <c:pt idx="6">
                  <c:v>280.6666666666667</c:v>
                </c:pt>
                <c:pt idx="7">
                  <c:v>133.56521739130434</c:v>
                </c:pt>
                <c:pt idx="8">
                  <c:v>136.1860465116279</c:v>
                </c:pt>
                <c:pt idx="9">
                  <c:v>2484.32</c:v>
                </c:pt>
                <c:pt idx="10">
                  <c:v>394.0508474576271</c:v>
                </c:pt>
                <c:pt idx="11">
                  <c:v>51.49999999999999</c:v>
                </c:pt>
                <c:pt idx="12">
                  <c:v>100.02631578947368</c:v>
                </c:pt>
                <c:pt idx="13">
                  <c:v>95.55</c:v>
                </c:pt>
                <c:pt idx="14">
                  <c:v>61.8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EEB53CA-3B54-4FB3-980D-40DA14276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2480BDF-D348-4FD0-96C0-3B51EE8FC9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45CBEBC-4558-4F80-B1EE-06C24B3B7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00B054E-F5F6-42A2-9BD0-858B8B41F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1483A3C-056D-438A-A730-9BC8D9737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E240F9B-1CF4-4FA4-B7F8-6C4A94022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77830B6-CC90-4251-95B2-DC3BBE4F7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5BE5ADA-8FBA-4FB3-B2D4-A7B243113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459</c:v>
                </c:pt>
                <c:pt idx="1">
                  <c:v>46.3785</c:v>
                </c:pt>
                <c:pt idx="2">
                  <c:v>22.4331</c:v>
                </c:pt>
              </c:numCache>
            </c:numRef>
          </c:xVal>
          <c:yVal>
            <c:numRef>
              <c:f>Sheet1!$B$2:$B$4</c:f>
              <c:numCache>
                <c:formatCode>General</c:formatCode>
                <c:ptCount val="3"/>
                <c:pt idx="0">
                  <c:v>0.5081</c:v>
                </c:pt>
                <c:pt idx="1">
                  <c:v>0.3973</c:v>
                </c:pt>
                <c:pt idx="2">
                  <c:v>0.5241</c:v>
                </c:pt>
              </c:numCache>
            </c:numRef>
          </c:yVal>
          <c:bubbleSize>
            <c:numRef>
              <c:f>Sheet1!$C$2:$C$4</c:f>
              <c:numCache>
                <c:formatCode>General</c:formatCode>
                <c:ptCount val="3"/>
                <c:pt idx="0">
                  <c:v>669000.7755000002</c:v>
                </c:pt>
                <c:pt idx="1">
                  <c:v>10113337.939800002</c:v>
                </c:pt>
                <c:pt idx="2">
                  <c:v>97987.69450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5.6542"/>
          <c:min val="9.0767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52547361290598"/>
        <c:crossBetween val="midCat"/>
      </c:valAx>
      <c:valAx>
        <c:axId val="1011451359"/>
        <c:scaling>
          <c:orientation val="minMax"/>
          <c:max val="0.98892"/>
          <c:min val="0.0778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4.0087924989053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319D7AE-7D30-4E3D-847D-9BF22A553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06C1B17-82EC-4BC9-A0C2-56576392A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A4BB14B-5BE2-4872-911B-C6138F0ED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3FB33D8-1F48-40BA-9549-C5001A103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443041A-4B12-4EEA-A46D-F0CE69D3D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3A83052-2D5C-481F-A58C-DCE96A91F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A6ABE9E-ABC6-4AE6-9B7D-A6932E175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73B9396-DD20-4F4F-AA4E-1B8321510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9BC51B0-089F-406F-8388-CAF1589F0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9D98A69-BD7B-4834-AF7D-3C4A37685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01E65A5-B3BB-42A9-A159-E4A2C5B2E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BF5C621-31F5-493C-8C17-BF22EB82B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FFD72EF-960E-46A5-B229-50FCE1907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B7BA14C-0389-4964-A444-B5323117E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DCE58E7-80DC-4A72-9739-694659193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60D1865-BD31-476D-8658-119B90367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03B2F60-784E-43DC-BB1E-8BA13B01B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3F066B1-7EDE-49D0-B30B-524D5E5E8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F46877E-CA49-4287-971F-B055712C0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52C9E9D-5AEC-4192-BC8B-0D6072F7F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66729A7-A63D-4660-9598-7C1EFA185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8B8626A-DC0E-48D8-9B7A-BAE1AF7A7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30EBE6A-24FE-43D2-8AEF-C93617958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00F70B1-C594-487D-953F-4A5BF9818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4A26870-FDB9-4012-A13E-79FA2CD23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84A87C1-A07F-44DA-89C0-761685DDC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0BA2586-99A4-43EF-83B5-BA2647AEE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17AE882-98D5-4F53-828E-BC1E5D03C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7E01EB3-6A68-4F10-82FA-3B55AE96D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E1D48BF-5FB8-49F4-8958-E53CC4039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B0D460E-93F1-4B7E-BF3A-0351A20432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61BACB3-A938-4248-82D3-C56274D73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8C5F357-ABF9-48A5-A994-5494F3408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90E8F4AD-6669-45E9-AC5B-60EF3E563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B625246-3F5D-48B3-A94E-A7979100F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8CEBD08-1582-48B5-9CA5-DD8DE1E64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4A7636B-5EDC-4470-BE15-B38BDB115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845B016-1751-4948-BED9-AD7E44BCA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FCA5252-541B-4712-923D-53DB9A3DA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8B25F92-D8EF-4949-B600-189DCE496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ADD4BFD-1061-4EFB-9068-3CB11B129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B3EE430-34B8-4D59-9CB2-739200474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9CA46B8-523C-483D-A8FA-40EE0451A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F55D32C-2206-468A-B998-23943B06F7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4A70758-CF8A-42E5-A506-B7EF99A783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6FF039A-A093-4AC6-88B0-A137FCABC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94061F5-C8D9-49B6-A74D-E8CC9EABD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2DD9CF8-1170-41F3-8932-B83333DBA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228DAE8-8420-4E53-B520-3C875B47C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9C15043-E10A-46D1-854C-08FD0DE60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74E35D6-2468-48AB-A72F-DB3AADA42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BE3F332-7514-47FE-A629-617BB25E63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41D824D-1995-4F06-94D0-4B63FCE8A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AFB89ED-68F6-4877-ABBD-D50DB529D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4AD5BA4-5937-4F1D-8A5C-F43B2DDB0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0CD7816-E107-4A0A-B1B5-A36D72331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B0ED9EC-F077-402A-B2BE-E2762F6F0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0.0944</c:v>
                </c:pt>
                <c:pt idx="1">
                  <c:v>0.0996</c:v>
                </c:pt>
                <c:pt idx="2">
                  <c:v>0.1147</c:v>
                </c:pt>
                <c:pt idx="3">
                  <c:v>0.0139</c:v>
                </c:pt>
                <c:pt idx="4">
                  <c:v>0.0029</c:v>
                </c:pt>
                <c:pt idx="5">
                  <c:v>0.0196</c:v>
                </c:pt>
                <c:pt idx="6">
                  <c:v>0.1247</c:v>
                </c:pt>
                <c:pt idx="7">
                  <c:v>0.0319</c:v>
                </c:pt>
                <c:pt idx="8">
                  <c:v>0.0636</c:v>
                </c:pt>
                <c:pt idx="9">
                  <c:v>0.0431</c:v>
                </c:pt>
                <c:pt idx="10">
                  <c:v>0.0382</c:v>
                </c:pt>
                <c:pt idx="11">
                  <c:v>0.0865</c:v>
                </c:pt>
                <c:pt idx="12">
                  <c:v>0.1056</c:v>
                </c:pt>
                <c:pt idx="13">
                  <c:v>0.0951</c:v>
                </c:pt>
                <c:pt idx="14">
                  <c:v>0.0407</c:v>
                </c:pt>
                <c:pt idx="15">
                  <c:v>0.1577</c:v>
                </c:pt>
              </c:numCache>
            </c:numRef>
          </c:xVal>
          <c:yVal>
            <c:numRef>
              <c:f>Sheet1!$B$2:$B$17</c:f>
              <c:numCache>
                <c:formatCode>General</c:formatCode>
                <c:ptCount val="16"/>
                <c:pt idx="0">
                  <c:v>0.5086</c:v>
                </c:pt>
                <c:pt idx="1">
                  <c:v>0.5245</c:v>
                </c:pt>
                <c:pt idx="2">
                  <c:v>0.485</c:v>
                </c:pt>
                <c:pt idx="3">
                  <c:v>0.2851</c:v>
                </c:pt>
                <c:pt idx="4">
                  <c:v>0.2577</c:v>
                </c:pt>
                <c:pt idx="5">
                  <c:v>0.4519</c:v>
                </c:pt>
                <c:pt idx="6">
                  <c:v>0.4528</c:v>
                </c:pt>
                <c:pt idx="7">
                  <c:v>0.4492</c:v>
                </c:pt>
                <c:pt idx="8">
                  <c:v>0.4454</c:v>
                </c:pt>
                <c:pt idx="9">
                  <c:v>0.5084</c:v>
                </c:pt>
                <c:pt idx="10">
                  <c:v>0.2127</c:v>
                </c:pt>
                <c:pt idx="11">
                  <c:v>0.4515</c:v>
                </c:pt>
                <c:pt idx="12">
                  <c:v>0.4518</c:v>
                </c:pt>
                <c:pt idx="13">
                  <c:v>0.4829</c:v>
                </c:pt>
                <c:pt idx="14">
                  <c:v>0.4551</c:v>
                </c:pt>
                <c:pt idx="15">
                  <c:v>0.4496</c:v>
                </c:pt>
              </c:numCache>
            </c:numRef>
          </c:yVal>
          <c:bubbleSize>
            <c:numRef>
              <c:f>Sheet1!$C$2:$C$17</c:f>
              <c:numCache>
                <c:formatCode>General</c:formatCode>
                <c:ptCount val="16"/>
                <c:pt idx="0">
                  <c:v>214.32432432432432</c:v>
                </c:pt>
                <c:pt idx="1">
                  <c:v>105.60975609756098</c:v>
                </c:pt>
                <c:pt idx="2">
                  <c:v>330.95</c:v>
                </c:pt>
                <c:pt idx="3">
                  <c:v>383.1025641025641</c:v>
                </c:pt>
                <c:pt idx="4">
                  <c:v>355.9767441860465</c:v>
                </c:pt>
                <c:pt idx="5">
                  <c:v>284.11538461538464</c:v>
                </c:pt>
                <c:pt idx="6">
                  <c:v>189.34615384615384</c:v>
                </c:pt>
                <c:pt idx="7">
                  <c:v>262.10526315789474</c:v>
                </c:pt>
                <c:pt idx="8">
                  <c:v>98.5</c:v>
                </c:pt>
                <c:pt idx="9">
                  <c:v>210.54545454545453</c:v>
                </c:pt>
                <c:pt idx="10">
                  <c:v>4592.25</c:v>
                </c:pt>
                <c:pt idx="11">
                  <c:v>578.945205479452</c:v>
                </c:pt>
                <c:pt idx="12">
                  <c:v>217.2941176470588</c:v>
                </c:pt>
                <c:pt idx="13">
                  <c:v>173.74418604651163</c:v>
                </c:pt>
                <c:pt idx="14">
                  <c:v>174.64</c:v>
                </c:pt>
                <c:pt idx="15">
                  <c:v>138.56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B6746DA-FA07-4231-9770-F5526F7EA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12BB17B-42D3-49EF-B353-1F0255E28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51C0514-F7CE-4C4C-BF7D-E39EAA09C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5149835-EFB1-4190-857C-1E7CDDF1E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3C2F2A6-C93A-4CB4-8374-5E2107B39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EBA2073-CBCC-4C0F-BED7-8745A156E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10A4FF1-A5F6-4E5D-9CD0-A435D9A66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28B159E-FDB2-4474-AB60-C00B23A3E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6EB50D4-7140-4976-BDDD-80419897E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EA38AE0-2754-405E-9528-252277B5B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FDBC4A6-354D-4FB2-80A6-C6251FE2C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215A2ED-E1D5-4C1E-8913-60513B9E0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8EDE588-6BE3-445A-AACB-13D94A4E7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B478DF6-CBEE-4935-86EB-3B4AD9C79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A73A01A-889E-4D30-98B7-1376CD204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A553927-B0A6-4743-BF91-31BC8F34F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FC54C0B-AEF6-40EE-AD8E-6F30A5BDE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21FDB9B-BF90-41D0-B9D1-6FAF205EF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2D5B182-7ADC-4E4F-B865-B41FFA8A4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1ACF729-961B-4355-B92C-31F321812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EA09611-41FF-413E-907C-69E87370F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7D75599-E271-4791-94DB-CF90C468C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9894104-8B03-4C56-882B-8041A314AF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5E4B964E-42C5-4968-A61D-8E078B1F8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2F2DC77-E028-4582-BA2C-4A4063BE7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ACF3DA5-8F5B-418B-B069-16691C3A5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2CAEF3B-1131-4618-9343-DB9BF2629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DA729CB-D49A-488C-BA17-BC214AF33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7AB520A-083E-4850-94FA-226340CA7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ED99AAB-9208-4EEF-97C6-37C1B1A34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ED3A30D-FB1D-45BE-B3C1-8ED1C7650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BDB8629-FB73-40E5-8D03-DD2AA34AD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421D6B3-A992-4281-8D50-AE540E731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1BA929A-5764-4935-BE32-5E3FAC29B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0349B42-BED8-4D8B-B3C8-C130EBEF6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A7521E7-7549-45D0-ADF1-C39DD75E5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ADCE211-DAE2-4BC4-83B8-39CB1BE9D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8F60120-DCA6-4614-9D43-8CFFFFFA7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35E67D0-3910-4F23-AD6F-8B9B869DD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5E5E9B9-3CB4-4EC4-A856-613EAB184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B156BE9-17C4-48C8-A7BB-151D1D809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9093626-38AE-485F-98B3-CCFE2894F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E1C745E-5D3C-4B9F-921A-9F04D7DDA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88A1A6C-261C-4F88-B11A-36385E906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B287599-A8C9-443D-BE44-46471B758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5D38272-BBBA-4D61-A387-220FA620E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7EA7D52-B9AF-4D67-962C-1593D13CB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9843571-45BC-43BB-864C-76523EA3E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595F4DA-9191-4141-B875-81C96CD92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2368617-ECA1-405C-8421-1F82341EC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E0D7147-D370-47F2-8D42-1C2C67E86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D1BE5C9-8777-435A-B9A7-A6A0EED1F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1BBCA64-4143-4DDC-868B-CFE3E994F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E480703-D85B-4EB0-8046-4CEE55E26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2E7E6F7-0E91-4B19-8E04-29BF8AE885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08A494B-582E-44A4-92FF-D4F2C4D4F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26EB21B-DDA1-4FC7-8509-4A66AA418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0.0906</c:v>
                </c:pt>
                <c:pt idx="1">
                  <c:v>0.0843</c:v>
                </c:pt>
                <c:pt idx="2">
                  <c:v>0.1232</c:v>
                </c:pt>
                <c:pt idx="3">
                  <c:v>0.0226</c:v>
                </c:pt>
                <c:pt idx="4">
                  <c:v>0.0038</c:v>
                </c:pt>
                <c:pt idx="5">
                  <c:v>0.0077</c:v>
                </c:pt>
                <c:pt idx="6">
                  <c:v>0.1325</c:v>
                </c:pt>
                <c:pt idx="7">
                  <c:v>0.0165</c:v>
                </c:pt>
                <c:pt idx="8">
                  <c:v>0.0519</c:v>
                </c:pt>
                <c:pt idx="9">
                  <c:v>0.0325</c:v>
                </c:pt>
                <c:pt idx="10">
                  <c:v>0.0429</c:v>
                </c:pt>
                <c:pt idx="11">
                  <c:v>0.084</c:v>
                </c:pt>
                <c:pt idx="12">
                  <c:v>0.118</c:v>
                </c:pt>
                <c:pt idx="13">
                  <c:v>0.0906</c:v>
                </c:pt>
                <c:pt idx="14">
                  <c:v>0.098</c:v>
                </c:pt>
                <c:pt idx="15">
                  <c:v>0.1158</c:v>
                </c:pt>
              </c:numCache>
            </c:numRef>
          </c:xVal>
          <c:yVal>
            <c:numRef>
              <c:f>Sheet1!$B$2:$B$17</c:f>
              <c:numCache>
                <c:formatCode>General</c:formatCode>
                <c:ptCount val="16"/>
                <c:pt idx="0">
                  <c:v>0.5086</c:v>
                </c:pt>
                <c:pt idx="1">
                  <c:v>0.5222</c:v>
                </c:pt>
                <c:pt idx="2">
                  <c:v>0.4814</c:v>
                </c:pt>
                <c:pt idx="3">
                  <c:v>0.2841</c:v>
                </c:pt>
                <c:pt idx="4">
                  <c:v>0.257</c:v>
                </c:pt>
                <c:pt idx="5">
                  <c:v>0.4523</c:v>
                </c:pt>
                <c:pt idx="6">
                  <c:v>0.4528</c:v>
                </c:pt>
                <c:pt idx="7">
                  <c:v>0.4492</c:v>
                </c:pt>
                <c:pt idx="8">
                  <c:v>0.4441</c:v>
                </c:pt>
                <c:pt idx="9">
                  <c:v>0.5161</c:v>
                </c:pt>
                <c:pt idx="10">
                  <c:v>0.2119</c:v>
                </c:pt>
                <c:pt idx="11">
                  <c:v>0.4509</c:v>
                </c:pt>
                <c:pt idx="12">
                  <c:v>0.4543</c:v>
                </c:pt>
                <c:pt idx="13">
                  <c:v>0.4826</c:v>
                </c:pt>
                <c:pt idx="14">
                  <c:v>0.4513</c:v>
                </c:pt>
                <c:pt idx="15">
                  <c:v>0.4497</c:v>
                </c:pt>
              </c:numCache>
            </c:numRef>
          </c:yVal>
          <c:bubbleSize>
            <c:numRef>
              <c:f>Sheet1!$C$2:$C$17</c:f>
              <c:numCache>
                <c:formatCode>General</c:formatCode>
                <c:ptCount val="16"/>
                <c:pt idx="0">
                  <c:v>217.27272727272728</c:v>
                </c:pt>
                <c:pt idx="1">
                  <c:v>204.14285714285714</c:v>
                </c:pt>
                <c:pt idx="2">
                  <c:v>248.9</c:v>
                </c:pt>
                <c:pt idx="3">
                  <c:v>337.32142857142856</c:v>
                </c:pt>
                <c:pt idx="4">
                  <c:v>468.7678571428571</c:v>
                </c:pt>
                <c:pt idx="5">
                  <c:v>280.97402597402595</c:v>
                </c:pt>
                <c:pt idx="6">
                  <c:v>243.1578947368421</c:v>
                </c:pt>
                <c:pt idx="7">
                  <c:v>315.4</c:v>
                </c:pt>
                <c:pt idx="8">
                  <c:v>73.27027027027027</c:v>
                </c:pt>
                <c:pt idx="9">
                  <c:v>281.55102040816325</c:v>
                </c:pt>
                <c:pt idx="10">
                  <c:v>4501.02</c:v>
                </c:pt>
                <c:pt idx="11">
                  <c:v>631.5294117647059</c:v>
                </c:pt>
                <c:pt idx="12">
                  <c:v>263.9230769230769</c:v>
                </c:pt>
                <c:pt idx="13">
                  <c:v>175.04761904761904</c:v>
                </c:pt>
                <c:pt idx="14">
                  <c:v>102.33333333333333</c:v>
                </c:pt>
                <c:pt idx="15">
                  <c:v>182.6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38D2E6-8C5C-436E-97FD-BF83ADB73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7E406E5-0654-4EB7-A929-1BB06502D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F217091-830C-47C8-9D9D-477279FF4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DB6D8B5-B9F0-44FF-BE4A-55BACF88A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A6A7755-4093-44AB-9C2A-2C72DD305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73A7BA1-3463-4C0A-B71F-389C0C700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C1FBB03-5BC4-48DB-BD7C-13A67A4799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2A0705A-C922-43D3-84F5-25311F9AA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85EEEAC-7EE2-42ED-85B7-8A4FF8C4A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DB08079-4EA5-4C6A-8379-F738BFFA81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6ADBC2D-66C4-4692-A9E1-06FFF6053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14F261C-4ADB-46BC-984C-CFA864AB7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68AD448-4F1D-4010-AD35-FE4200B0D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89A9B6A-C9B4-4F3F-8FB0-5CFBA112D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F0F3C56-7881-42DB-80E1-6D439EF16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6072E61-3BD8-4E8F-817D-324F06B30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AEF78D3-E8EF-4ECB-AE95-40461AD9C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095B704-F919-47C0-BD66-0D8B6EF82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1A3A270-443C-42DC-AF63-397F9C56E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37216FB-4A05-4125-99CB-899F5CCA3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3AB101C-404B-422D-ACC6-EEFE8BB7C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128E365B-3005-4B56-B260-33109914A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A2973F6-4E27-44B2-BF55-5DA0CBA39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92ECDBF-8DEB-46FB-B5FD-8A25FF9DF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D1EC21C-D7CB-4F02-88BE-E0C78A0AA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C3E2E98-9A3B-4102-855C-AF68845DF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7D0E2BD-7CF0-4A1C-B288-331873521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D1BEA58-95AE-4EED-8342-22A230B04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2C3F0B1-4E0F-43F5-B60C-F67CE3752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148F346-A79E-4EE0-8856-D6C580C66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C611134-3FC4-4634-BA8C-88989BE22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F3DA074-E0E5-4D01-A17E-5B41BFFDC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603E78B-2A98-4CC6-B3F3-7D8219B04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36ECF6A-2297-46FE-A19F-5B2174B1C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E9824F3-3973-4FCA-A238-420467BC7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22C535E-2A7B-43FD-BB5E-C15A015F1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E43EA05-A095-46B9-A100-A10938A25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5E44101-E8DF-4C6C-86B7-7A4A26608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9634390-AD4C-4077-8C34-DAD0689B6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B111E03-3F67-421E-937F-199065EF4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6AC133C-E504-44AF-9AA9-32F275E2A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B6F4B98-6106-448E-AD6C-C9DE0817F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C4AF57B-3584-4C21-A1D3-312CFE2D4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223C718-4E21-496C-863B-C322550C7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6677F51-1982-4A12-9FC7-BB699BA3E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2E37389-7F98-4C06-8EFE-859AEB592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4B9842D-1D49-49D5-8E63-11CEEED4C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70BA098-23DC-46EE-A7AF-B87ABD348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AC903DF-E01B-4D96-97DE-6B593B6EC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E3472F2-3E03-4958-9915-7AFD69BA2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FFAD28E-B4B6-410E-959F-91DE99234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776A924-B92D-4ECF-9BF1-6C833AA3A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3E4E33F-7470-4E06-9086-66295C17F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96E005B-44DD-43AB-8AD6-EA017ED38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971611F-3F60-44B6-8079-0D76B3D41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8396692-308D-4A3C-BFC6-7DDC2CD24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4353AA1-0546-4249-95A2-563581C9B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0.0872</c:v>
                </c:pt>
                <c:pt idx="1">
                  <c:v>0.078</c:v>
                </c:pt>
                <c:pt idx="2">
                  <c:v>0.0942</c:v>
                </c:pt>
                <c:pt idx="3">
                  <c:v>-0.0003</c:v>
                </c:pt>
                <c:pt idx="4">
                  <c:v>-0.007</c:v>
                </c:pt>
                <c:pt idx="5">
                  <c:v>-0.0544</c:v>
                </c:pt>
                <c:pt idx="6">
                  <c:v>0.1119</c:v>
                </c:pt>
                <c:pt idx="7">
                  <c:v>0.0105</c:v>
                </c:pt>
                <c:pt idx="8">
                  <c:v>0.0381</c:v>
                </c:pt>
                <c:pt idx="9">
                  <c:v>0.1542</c:v>
                </c:pt>
                <c:pt idx="10">
                  <c:v>0.1389</c:v>
                </c:pt>
                <c:pt idx="11">
                  <c:v>0.157</c:v>
                </c:pt>
                <c:pt idx="12">
                  <c:v>0.0318</c:v>
                </c:pt>
                <c:pt idx="13">
                  <c:v>0.0375</c:v>
                </c:pt>
                <c:pt idx="14">
                  <c:v>0.0829</c:v>
                </c:pt>
                <c:pt idx="15">
                  <c:v>0.0799</c:v>
                </c:pt>
                <c:pt idx="16">
                  <c:v>0.0416</c:v>
                </c:pt>
                <c:pt idx="17">
                  <c:v>0.1699</c:v>
                </c:pt>
                <c:pt idx="18">
                  <c:v>-0.0171</c:v>
                </c:pt>
                <c:pt idx="19">
                  <c:v>0.0502</c:v>
                </c:pt>
                <c:pt idx="20">
                  <c:v>0.0994</c:v>
                </c:pt>
              </c:numCache>
            </c:numRef>
          </c:xVal>
          <c:yVal>
            <c:numRef>
              <c:f>Sheet1!$B$2:$B$22</c:f>
              <c:numCache>
                <c:formatCode>General</c:formatCode>
                <c:ptCount val="21"/>
                <c:pt idx="0">
                  <c:v>0.5086</c:v>
                </c:pt>
                <c:pt idx="1">
                  <c:v>0.5227</c:v>
                </c:pt>
                <c:pt idx="2">
                  <c:v>0.4822</c:v>
                </c:pt>
                <c:pt idx="3">
                  <c:v>0.2842</c:v>
                </c:pt>
                <c:pt idx="4">
                  <c:v>0.2565</c:v>
                </c:pt>
                <c:pt idx="5">
                  <c:v>0.4507</c:v>
                </c:pt>
                <c:pt idx="6">
                  <c:v>0.4528</c:v>
                </c:pt>
                <c:pt idx="7">
                  <c:v>0.4492</c:v>
                </c:pt>
                <c:pt idx="8">
                  <c:v>0.4503</c:v>
                </c:pt>
                <c:pt idx="9">
                  <c:v>0.4868</c:v>
                </c:pt>
                <c:pt idx="10">
                  <c:v>0.4598</c:v>
                </c:pt>
                <c:pt idx="11">
                  <c:v>0.4491</c:v>
                </c:pt>
                <c:pt idx="12">
                  <c:v>0.5104</c:v>
                </c:pt>
                <c:pt idx="13">
                  <c:v>0.212</c:v>
                </c:pt>
                <c:pt idx="14">
                  <c:v>0.4511</c:v>
                </c:pt>
                <c:pt idx="15">
                  <c:v>0.4576</c:v>
                </c:pt>
                <c:pt idx="16">
                  <c:v>0.4776</c:v>
                </c:pt>
                <c:pt idx="17">
                  <c:v>0.4528</c:v>
                </c:pt>
                <c:pt idx="18">
                  <c:v>0.4582</c:v>
                </c:pt>
                <c:pt idx="19">
                  <c:v>0.4382</c:v>
                </c:pt>
                <c:pt idx="20">
                  <c:v>0.4495</c:v>
                </c:pt>
              </c:numCache>
            </c:numRef>
          </c:yVal>
          <c:bubbleSize>
            <c:numRef>
              <c:f>Sheet1!$C$2:$C$22</c:f>
              <c:numCache>
                <c:formatCode>General</c:formatCode>
                <c:ptCount val="21"/>
                <c:pt idx="0">
                  <c:v>423.5357142857142</c:v>
                </c:pt>
                <c:pt idx="1">
                  <c:v>408.96</c:v>
                </c:pt>
                <c:pt idx="2">
                  <c:v>793.125</c:v>
                </c:pt>
                <c:pt idx="3">
                  <c:v>784.0833333333334</c:v>
                </c:pt>
                <c:pt idx="4">
                  <c:v>1087.5081967213114</c:v>
                </c:pt>
                <c:pt idx="5">
                  <c:v>775.1621621621622</c:v>
                </c:pt>
                <c:pt idx="6">
                  <c:v>840.2727272727273</c:v>
                </c:pt>
                <c:pt idx="7">
                  <c:v>759.5714285714284</c:v>
                </c:pt>
                <c:pt idx="8">
                  <c:v>541.3157894736842</c:v>
                </c:pt>
                <c:pt idx="9">
                  <c:v>344.125</c:v>
                </c:pt>
                <c:pt idx="10">
                  <c:v>421.6666666666667</c:v>
                </c:pt>
                <c:pt idx="11">
                  <c:v>409.0</c:v>
                </c:pt>
                <c:pt idx="12">
                  <c:v>680.5</c:v>
                </c:pt>
                <c:pt idx="13">
                  <c:v>8910.333333333334</c:v>
                </c:pt>
                <c:pt idx="14">
                  <c:v>1670.543859649123</c:v>
                </c:pt>
                <c:pt idx="15">
                  <c:v>627.125</c:v>
                </c:pt>
                <c:pt idx="16">
                  <c:v>450.6785714285714</c:v>
                </c:pt>
                <c:pt idx="17">
                  <c:v>210.33333333333334</c:v>
                </c:pt>
                <c:pt idx="18">
                  <c:v>264.4782608695652</c:v>
                </c:pt>
                <c:pt idx="19">
                  <c:v>339.72727272727275</c:v>
                </c:pt>
                <c:pt idx="20">
                  <c:v>339.1818181818182</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4A83303-B57C-49B4-B2EB-E844D54EA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75F0FF6-ED40-4680-B9C4-18530E9DF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EDB1AE5-1D0D-487D-AF3F-2AC1761F5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AF50804-B890-4018-A746-81B58D576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FCC4C23-4783-41BF-908D-CB01F8C0B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81E62F0-FF47-405A-8D28-9F28B71ED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8201102-9621-4502-947C-EA3006D55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30F8766-AB92-489D-9226-147A83BE5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83A8879-4994-4835-8585-BA3869FD1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61D1A1B-B86D-4D40-969E-BEA9B3ADE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34EE5B0-EBB2-44EC-8369-BC01E1A0F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0258263-2CF3-4506-9520-0A60A33E1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5D9A0E1-AE75-49E0-83C2-631B9E3DF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045CA36-168A-4F22-9588-86276EE08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FB4F0BE-DABF-4B65-9AA6-9763AF052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5C39B71-2977-4AEE-8310-D1304FFAA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307C78C-0360-4C14-99CB-EF29A462C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B225437-0F17-4C1F-BC2D-8AD179146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3918955-08B9-4F41-BCBC-3B0C07D75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4C72030-8D97-4267-89AC-D4258DBF2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79A5219-8021-41FB-97C7-807570C78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556376B-C271-4002-80A8-D6AC057B2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7F0072C-CF99-4989-B821-3E6C50401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7739025-3F90-425E-AB24-D4B8E52BC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C08652E-617A-4CB9-8CD9-754E559E9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E208F73-3A40-41C8-89C4-9E68929FD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6DFA4BE-56D0-4F56-84FC-FE3F45C90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C252A11-C4E1-4622-88CC-823BE2E81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13E7A25-3D4E-43CC-89BD-99EB4EC9D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174BD2A-2F47-46AC-AAC5-EF7461D13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676B325-0F3A-487F-BC23-6A8913B5D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813C0A3-8FC7-4FA1-A863-3CC41C37B4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A342F54-CF30-455B-A1E7-8075917D4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66D543C-65E2-4DD0-BC9D-30E7B8249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2D43E14-54A2-43A6-892E-B31253B47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008F183-C2EF-4CD9-9165-B338D3268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965849C-78AD-43D4-B43A-0D939EB9EE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25AB0C2-1D6D-4958-88AD-D3C3CF1CB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0A17CEE-4594-4DAD-AED2-49C06FCB5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757D1BB-F0AA-41AC-8FCB-E751609FC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A41A5C0-AD86-442F-BD30-599495C70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10EC28A-70E8-4008-8074-F12D3B5090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51F522F-4BB7-49A8-9A9D-A174843B3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1D8EBB0-0E52-487B-B70E-B5B5D66C9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559C376-7D7A-4233-B32C-90CDB5C6F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CD39F1D-91EE-4852-BE77-91AE8CBB2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026F9B3-8BDB-491B-AFC9-D68B301F1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D906562-1A25-4CCD-920B-1F87E0301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490A975-9BF2-4073-A8C6-BE44B977D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61C04CC-9E23-4143-B7A9-654C439D6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85E599E-E3B5-4593-843E-3C559F3F3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AAE9A8F-1AD0-4C07-9286-3FC1E0AD8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E9FF192-CEC4-4120-9E52-DCE3C94B8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C1E58CE-35E6-4BB9-BF97-11E414CFD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53996AF-A180-4158-90B6-C1BC01AB7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EF6080A-0988-4394-84F2-B27154FFE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45887F1-55E1-401B-8680-2A94A9626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51</c:v>
                </c:pt>
                <c:pt idx="1">
                  <c:v>0.1186</c:v>
                </c:pt>
                <c:pt idx="2">
                  <c:v>0.1236</c:v>
                </c:pt>
                <c:pt idx="3">
                  <c:v>0.0177</c:v>
                </c:pt>
                <c:pt idx="4">
                  <c:v>0.0068</c:v>
                </c:pt>
                <c:pt idx="5">
                  <c:v>0.0292</c:v>
                </c:pt>
                <c:pt idx="6">
                  <c:v>0.1352</c:v>
                </c:pt>
                <c:pt idx="7">
                  <c:v>0.0342</c:v>
                </c:pt>
                <c:pt idx="8">
                  <c:v>0.0747</c:v>
                </c:pt>
                <c:pt idx="9">
                  <c:v>0.055</c:v>
                </c:pt>
                <c:pt idx="10">
                  <c:v>0.0447</c:v>
                </c:pt>
                <c:pt idx="11">
                  <c:v>0.0966</c:v>
                </c:pt>
                <c:pt idx="12">
                  <c:v>0.2121</c:v>
                </c:pt>
                <c:pt idx="13">
                  <c:v>0.015</c:v>
                </c:pt>
                <c:pt idx="14">
                  <c:v>0.1195</c:v>
                </c:pt>
              </c:numCache>
            </c:numRef>
          </c:xVal>
          <c:yVal>
            <c:numRef>
              <c:f>Sheet1!$B$2:$B$16</c:f>
              <c:numCache>
                <c:formatCode>General</c:formatCode>
                <c:ptCount val="15"/>
                <c:pt idx="0">
                  <c:v>0.5086</c:v>
                </c:pt>
                <c:pt idx="1">
                  <c:v>0.5245</c:v>
                </c:pt>
                <c:pt idx="2">
                  <c:v>0.4826</c:v>
                </c:pt>
                <c:pt idx="3">
                  <c:v>0.2843</c:v>
                </c:pt>
                <c:pt idx="4">
                  <c:v>0.2574</c:v>
                </c:pt>
                <c:pt idx="5">
                  <c:v>0.4519</c:v>
                </c:pt>
                <c:pt idx="6">
                  <c:v>0.4528</c:v>
                </c:pt>
                <c:pt idx="7">
                  <c:v>0.4492</c:v>
                </c:pt>
                <c:pt idx="8">
                  <c:v>0.4475</c:v>
                </c:pt>
                <c:pt idx="9">
                  <c:v>0.5078</c:v>
                </c:pt>
                <c:pt idx="10">
                  <c:v>0.2126</c:v>
                </c:pt>
                <c:pt idx="11">
                  <c:v>0.4508</c:v>
                </c:pt>
                <c:pt idx="12">
                  <c:v>0.464</c:v>
                </c:pt>
                <c:pt idx="13">
                  <c:v>0.4763</c:v>
                </c:pt>
                <c:pt idx="14">
                  <c:v>0.4526</c:v>
                </c:pt>
              </c:numCache>
            </c:numRef>
          </c:yVal>
          <c:bubbleSize>
            <c:numRef>
              <c:f>Sheet1!$C$2:$C$16</c:f>
              <c:numCache>
                <c:formatCode>General</c:formatCode>
                <c:ptCount val="15"/>
                <c:pt idx="0">
                  <c:v>93.03030303030303</c:v>
                </c:pt>
                <c:pt idx="1">
                  <c:v>66.04255319148936</c:v>
                </c:pt>
                <c:pt idx="2">
                  <c:v>181.44444444444446</c:v>
                </c:pt>
                <c:pt idx="3">
                  <c:v>239.525</c:v>
                </c:pt>
                <c:pt idx="4">
                  <c:v>238.43055555555554</c:v>
                </c:pt>
                <c:pt idx="5">
                  <c:v>221.125</c:v>
                </c:pt>
                <c:pt idx="6">
                  <c:v>216.78571428571425</c:v>
                </c:pt>
                <c:pt idx="7">
                  <c:v>133.1153846153846</c:v>
                </c:pt>
                <c:pt idx="8">
                  <c:v>92.63636363636364</c:v>
                </c:pt>
                <c:pt idx="9">
                  <c:v>105.62499999999999</c:v>
                </c:pt>
                <c:pt idx="10">
                  <c:v>1794.81</c:v>
                </c:pt>
                <c:pt idx="11">
                  <c:v>265.6666666666667</c:v>
                </c:pt>
                <c:pt idx="12">
                  <c:v>106.21052631578948</c:v>
                </c:pt>
                <c:pt idx="13">
                  <c:v>85.72</c:v>
                </c:pt>
                <c:pt idx="14">
                  <c:v>82.03030303030303</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BEE4796-737E-425B-83DD-FE675BCE9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CB44E4C-0F38-4C0C-A32E-B050CCB15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3F4510C-6F26-4262-9CE5-2C37E62B5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1A234FD-4465-452B-B449-7C3F69228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4A8A5B5-E8EA-4A90-9B11-B2B8B36F2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A44578B-DFFB-410A-93C7-FDAC36067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8230337-7A43-4539-A809-2DD073EC5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6FE1AF7-F8F4-4819-B215-4FBC8F948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FA20475-7566-496E-85BD-B13C77FE7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B74CF69-4139-4C52-878D-3F43E2050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056AD68-CBD5-4452-BA89-A8048EED7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EA72AA4-EEE1-4850-AF0C-C681E962A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03E6FE5-A66F-48D1-BB45-E35FF07ED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EF41F5F-863F-4E89-B1D2-0ED3516E3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B915889-7ECE-4564-8623-2E564C107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8A3FEA7-68A4-4783-86A0-527F0CF7A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75E6372-C169-41A8-BC47-E8A9888A6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D09C25B-70DF-49D2-B668-53FEB7A26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874134B-BCBC-4672-8762-778318F7D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E1909D09-16D7-4E9C-A69E-54A9A387E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881E2F1-76D4-4BC0-9CBB-568102774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9E900B1-47D8-4933-A5D1-0C9007E1E0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544F534-BC74-475A-95B7-3C47D7181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2F453C4-72BB-4758-B7A8-19F9176D4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D63E4AC-5226-433D-9094-480125548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1E6B5A4-70E6-44DE-99CD-F2BEAED75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6A30587-D02D-4B61-AB13-5303FFB47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3D8E5C6-EFBD-4745-A2F5-79AD836D0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C5B8716-1D24-40E8-96A5-B4E3702D7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9761A60-8180-4CC5-A814-1BD91E7E1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2D32FD1-8DE3-4C87-A122-5936AFA81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EA4287D-6972-4791-AA9A-8BE3925AC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436240C-F8A9-4BE4-869C-7FA718128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52434FD-7CB6-49B2-BE57-92908061B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35F19832-6DC9-47FD-A2FA-F2BC31AAD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399F8B5-FFDE-4D22-A874-45605570E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1C22FBF-9AF3-4051-8583-0F90AA3D4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96CBDA4-3F15-46B7-A79E-B6F07C4D2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A8680B8-A07F-40BF-A517-C628AB69C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654633D-E786-4F7B-8810-5274F1CCB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0F2CBCE-D92E-4C9C-8202-71C820333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2C2A41E-56D9-44B4-8CF7-917B45A8C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37B4D22-AD2B-4D04-A602-5830037C9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8884068-CEB3-4BEF-8D4B-3D4D0CBA0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2ADB999-98F8-4A9D-8973-89D207309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63FE0F7-78C7-4C0A-AC3A-651BA2BD6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45E57B0-FAC9-4156-8613-C7446C1D2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58EA313-8AF7-4056-8446-B96C1C531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D254E4A-4DDC-4500-8BF4-1D6B5FD49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E6A7DE8-B82E-44B5-89A6-FBD1AB615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BD2E555-F777-4A27-B6D5-8A7972729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5468275-6D9B-4EC2-A7BE-D742909BB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6DE6A2C-F447-4267-93C8-8651434A2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342479E-A064-4962-ADC8-80C098B755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1D04AB2-83AE-4283-A937-60301EC33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4A215CD-0839-4321-9FD8-3F5BD38A1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5DA0143-0FA2-49E7-8EF1-EB7E50E81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0937</c:v>
                </c:pt>
                <c:pt idx="1">
                  <c:v>0.0002</c:v>
                </c:pt>
                <c:pt idx="2">
                  <c:v>-0.028</c:v>
                </c:pt>
                <c:pt idx="3">
                  <c:v>0.0537</c:v>
                </c:pt>
                <c:pt idx="4">
                  <c:v>0.0445</c:v>
                </c:pt>
                <c:pt idx="5">
                  <c:v>0.0402</c:v>
                </c:pt>
                <c:pt idx="6">
                  <c:v>0.0619</c:v>
                </c:pt>
                <c:pt idx="7">
                  <c:v>0.0184</c:v>
                </c:pt>
                <c:pt idx="8">
                  <c:v>0.0989</c:v>
                </c:pt>
                <c:pt idx="9">
                  <c:v>0.1445</c:v>
                </c:pt>
              </c:numCache>
            </c:numRef>
          </c:xVal>
          <c:yVal>
            <c:numRef>
              <c:f>Sheet1!$B$2:$B$11</c:f>
              <c:numCache>
                <c:formatCode>General</c:formatCode>
                <c:ptCount val="10"/>
                <c:pt idx="0">
                  <c:v>0.5247</c:v>
                </c:pt>
                <c:pt idx="1">
                  <c:v>0.2844</c:v>
                </c:pt>
                <c:pt idx="2">
                  <c:v>0.2565</c:v>
                </c:pt>
                <c:pt idx="3">
                  <c:v>0.4515</c:v>
                </c:pt>
                <c:pt idx="4">
                  <c:v>0.4492</c:v>
                </c:pt>
                <c:pt idx="5">
                  <c:v>0.4583</c:v>
                </c:pt>
                <c:pt idx="6">
                  <c:v>0.5084</c:v>
                </c:pt>
                <c:pt idx="7">
                  <c:v>0.2118</c:v>
                </c:pt>
                <c:pt idx="8">
                  <c:v>0.4524</c:v>
                </c:pt>
                <c:pt idx="9">
                  <c:v>0.4817</c:v>
                </c:pt>
              </c:numCache>
            </c:numRef>
          </c:yVal>
          <c:bubbleSize>
            <c:numRef>
              <c:f>Sheet1!$C$2:$C$11</c:f>
              <c:numCache>
                <c:formatCode>General</c:formatCode>
                <c:ptCount val="10"/>
                <c:pt idx="0">
                  <c:v>56.64705882352941</c:v>
                </c:pt>
                <c:pt idx="1">
                  <c:v>69.28125</c:v>
                </c:pt>
                <c:pt idx="2">
                  <c:v>197.51351351351352</c:v>
                </c:pt>
                <c:pt idx="3">
                  <c:v>54.00000000000001</c:v>
                </c:pt>
                <c:pt idx="4">
                  <c:v>88.07407407407408</c:v>
                </c:pt>
                <c:pt idx="5">
                  <c:v>55.523809523809526</c:v>
                </c:pt>
                <c:pt idx="6">
                  <c:v>35.32</c:v>
                </c:pt>
                <c:pt idx="7">
                  <c:v>1057.96</c:v>
                </c:pt>
                <c:pt idx="8">
                  <c:v>192.46511627906978</c:v>
                </c:pt>
                <c:pt idx="9">
                  <c:v>56.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C80E5F7-A000-47D7-BDDD-219E33831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841CABE-A5BF-467C-8122-A769683BE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F1F3C07-9745-48F3-BFAE-73A10E0E7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A3E304D-F393-4AAB-BE57-F86CB4B9B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6CB2DEE-3F0F-4560-81BF-B19DAD351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69F3B84-0E3B-4119-BA0F-23EF2443E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2CBE8A6-594F-4123-93AB-FAB1661F4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91AA375-4ABB-4DFA-85C2-5C8FF7167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41214AB-A242-4E02-A88B-ED42B8EB3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14B957B-F40C-4E6D-8F57-0E953AE98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F9FC30C-41E0-4B03-A0EF-CD6D6A7B5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509286D-790E-4A96-85EC-FF8B886EA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D1D0F74-01BE-46AE-9D06-D1E7849CC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5D184B9-2A7C-4964-86E2-1F0FF2183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5614623-C671-4531-BD69-E594DB05A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4F51FA0-CF99-4F63-9C85-4EB3A71C9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D5957A3-4A6B-4BA3-A68A-1292F3535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D16B957-04B5-4DA7-85E4-50C91FCEC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ECD1DE6-14EE-42DB-B1F3-615C9C316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89604AB-3E4A-4E72-9D37-55E04563D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6B0DBA1-5504-43DA-A3DC-8D51CE898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9F81DF4-B6B6-4CBF-A408-41F7E76AE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9A3EB67-6572-4902-9CFE-97674B55B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42762CA-7506-44C7-A226-5547185AC0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85C831C-A085-4485-A956-64F02023B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6AAC3AF-1744-4FC9-9848-BC6D53C7C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04C0577-084A-4CD3-B491-AB887A5779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A8929B7-11FD-4B61-A063-F92A1A0CF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33AB657-A9F2-427A-B824-DF12DE99D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456ABA4-6DF5-4729-8B45-FFC9CA8D5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EC6B6B8-123B-4B95-BEB1-ADF09C5E82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EA9457A-B7DD-4F10-AA39-1A93F735E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5468B52-3AC6-463D-BD54-E685A15FA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8ACF664-A7C7-48C0-80E6-EC4B2F531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5890A472-4E8C-4B22-8A20-C3669988CA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687ADA1-172F-490D-9E55-56B6B7D5F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C23F061-EE18-4683-9ADC-D12603464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5DD18B6-BAD6-4938-8A5F-ABF3C9963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5971E18-9BE6-4778-B5A5-A878854AF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B7490EF-1E0B-499D-A21B-F00C1E942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353BBDB-D050-47B3-ABAC-D4FDD1E83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05B68C9-E8B6-4E41-B10E-6938E4CAA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70AB274-89B4-415D-8FAC-FCA3113BF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A6C16DF-3663-446F-964F-7B93A54C8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AB50699-1028-4D82-898D-4E998BE60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FD4D228-B164-4BAF-A7C2-21E599136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545933F-F52F-4F63-9489-D7DCE0DCB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095D190-1116-4192-A9D1-536BBA322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F92D4DD-2F17-4E19-8682-EB2FFE206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393561A-394D-4FA7-8D84-D85794313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F415335-E3CC-4C3A-9F0A-234CDFF09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61753C2-BAAD-4475-A3F1-0973A1CDF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33008D9-A4C4-4E00-B10B-4EF5E2DB8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E740ACE-4358-4E8F-B0A8-53124CBC8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F3A2F68-C4E8-4BD1-8FAC-A6063A425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A5CFDE9-3955-4671-97BA-490C183B2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14D5B38-3820-4E35-AF26-7AE91141C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0.0821</c:v>
                </c:pt>
                <c:pt idx="1">
                  <c:v>0.0727</c:v>
                </c:pt>
                <c:pt idx="2">
                  <c:v>0.0832</c:v>
                </c:pt>
                <c:pt idx="3">
                  <c:v>0.0025</c:v>
                </c:pt>
                <c:pt idx="4">
                  <c:v>-0.0039</c:v>
                </c:pt>
                <c:pt idx="5">
                  <c:v>-0.0277</c:v>
                </c:pt>
                <c:pt idx="6">
                  <c:v>0.1125</c:v>
                </c:pt>
                <c:pt idx="7">
                  <c:v>0.0031</c:v>
                </c:pt>
                <c:pt idx="8">
                  <c:v>0.033</c:v>
                </c:pt>
                <c:pt idx="9">
                  <c:v>0.1081</c:v>
                </c:pt>
                <c:pt idx="10">
                  <c:v>0.029</c:v>
                </c:pt>
                <c:pt idx="11">
                  <c:v>0.0386</c:v>
                </c:pt>
                <c:pt idx="12">
                  <c:v>0.0811</c:v>
                </c:pt>
                <c:pt idx="13">
                  <c:v>0.0702</c:v>
                </c:pt>
                <c:pt idx="14">
                  <c:v>0.0328</c:v>
                </c:pt>
                <c:pt idx="15">
                  <c:v>0.0421</c:v>
                </c:pt>
                <c:pt idx="16">
                  <c:v>0.085</c:v>
                </c:pt>
              </c:numCache>
            </c:numRef>
          </c:xVal>
          <c:yVal>
            <c:numRef>
              <c:f>Sheet1!$B$2:$B$18</c:f>
              <c:numCache>
                <c:formatCode>General</c:formatCode>
                <c:ptCount val="17"/>
                <c:pt idx="0">
                  <c:v>0.5086</c:v>
                </c:pt>
                <c:pt idx="1">
                  <c:v>0.5221</c:v>
                </c:pt>
                <c:pt idx="2">
                  <c:v>0.4816</c:v>
                </c:pt>
                <c:pt idx="3">
                  <c:v>0.2843</c:v>
                </c:pt>
                <c:pt idx="4">
                  <c:v>0.2566</c:v>
                </c:pt>
                <c:pt idx="5">
                  <c:v>0.451</c:v>
                </c:pt>
                <c:pt idx="6">
                  <c:v>0.4528</c:v>
                </c:pt>
                <c:pt idx="7">
                  <c:v>0.4492</c:v>
                </c:pt>
                <c:pt idx="8">
                  <c:v>0.4485</c:v>
                </c:pt>
                <c:pt idx="9">
                  <c:v>0.4626</c:v>
                </c:pt>
                <c:pt idx="10">
                  <c:v>0.5126</c:v>
                </c:pt>
                <c:pt idx="11">
                  <c:v>0.2119</c:v>
                </c:pt>
                <c:pt idx="12">
                  <c:v>0.4508</c:v>
                </c:pt>
                <c:pt idx="13">
                  <c:v>0.4394</c:v>
                </c:pt>
                <c:pt idx="14">
                  <c:v>0.4786</c:v>
                </c:pt>
                <c:pt idx="15">
                  <c:v>0.4601</c:v>
                </c:pt>
                <c:pt idx="16">
                  <c:v>0.45</c:v>
                </c:pt>
              </c:numCache>
            </c:numRef>
          </c:yVal>
          <c:bubbleSize>
            <c:numRef>
              <c:f>Sheet1!$C$2:$C$18</c:f>
              <c:numCache>
                <c:formatCode>General</c:formatCode>
                <c:ptCount val="17"/>
                <c:pt idx="0">
                  <c:v>443.7142857142857</c:v>
                </c:pt>
                <c:pt idx="1">
                  <c:v>325.4761904761905</c:v>
                </c:pt>
                <c:pt idx="2">
                  <c:v>697.8695652173913</c:v>
                </c:pt>
                <c:pt idx="3">
                  <c:v>784.4117647058823</c:v>
                </c:pt>
                <c:pt idx="4">
                  <c:v>1000.931506849315</c:v>
                </c:pt>
                <c:pt idx="5">
                  <c:v>757.8333333333334</c:v>
                </c:pt>
                <c:pt idx="6">
                  <c:v>369.25</c:v>
                </c:pt>
                <c:pt idx="7">
                  <c:v>502.89285714285705</c:v>
                </c:pt>
                <c:pt idx="8">
                  <c:v>431.2</c:v>
                </c:pt>
                <c:pt idx="9">
                  <c:v>377.2857142857142</c:v>
                </c:pt>
                <c:pt idx="10">
                  <c:v>511.9767441860465</c:v>
                </c:pt>
                <c:pt idx="11">
                  <c:v>10463.09</c:v>
                </c:pt>
                <c:pt idx="12">
                  <c:v>1545.1</c:v>
                </c:pt>
                <c:pt idx="13">
                  <c:v>905.142857142857</c:v>
                </c:pt>
                <c:pt idx="14">
                  <c:v>364.2857142857143</c:v>
                </c:pt>
                <c:pt idx="15">
                  <c:v>148.58064516129033</c:v>
                </c:pt>
                <c:pt idx="16">
                  <c:v>207.4761904761904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B51E7B5-8159-42C0-8FFF-0BDAAC8ED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3A910FD-1EBC-424A-861D-71295D0D6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7D0C542-E2D4-4FFD-8663-65CA1BDFA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9C065EC-8F46-4E9F-9E17-B80146314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895D4F8-2E08-4033-B962-342EB0D73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1C01877-9875-4143-A2E4-81733343B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EF72892-DF9F-46C0-92C8-D6899232EE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7C828D1-BF9D-48AD-A0C6-2DB9DE72F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026</c:v>
                </c:pt>
                <c:pt idx="1">
                  <c:v>47.4641</c:v>
                </c:pt>
                <c:pt idx="2">
                  <c:v>24.1621</c:v>
                </c:pt>
              </c:numCache>
            </c:numRef>
          </c:xVal>
          <c:yVal>
            <c:numRef>
              <c:f>Sheet1!$B$2:$B$4</c:f>
              <c:numCache>
                <c:formatCode>General</c:formatCode>
                <c:ptCount val="3"/>
                <c:pt idx="0">
                  <c:v>0.5073</c:v>
                </c:pt>
                <c:pt idx="1">
                  <c:v>0.399</c:v>
                </c:pt>
                <c:pt idx="2">
                  <c:v>0.5299</c:v>
                </c:pt>
              </c:numCache>
            </c:numRef>
          </c:yVal>
          <c:bubbleSize>
            <c:numRef>
              <c:f>Sheet1!$C$2:$C$4</c:f>
              <c:numCache>
                <c:formatCode>General</c:formatCode>
                <c:ptCount val="3"/>
                <c:pt idx="0">
                  <c:v>3435985.790399976</c:v>
                </c:pt>
                <c:pt idx="1">
                  <c:v>51645324.36139963</c:v>
                </c:pt>
                <c:pt idx="2">
                  <c:v>534538.0574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956920000000004"/>
          <c:min val="9.042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69489625178611"/>
        <c:crossBetween val="midCat"/>
      </c:valAx>
      <c:valAx>
        <c:axId val="1011451359"/>
        <c:scaling>
          <c:orientation val="minMax"/>
          <c:max val="0.9958800000000001"/>
          <c:min val="0.07920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5.0060559284817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D5203A1-6E86-4A59-B847-4DE87DBDBE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D71EF94-4E7C-4D06-B523-B4CA3924F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FC6D1F1-A8E8-4AF1-844F-3B4DC2362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A027B13-84FA-41D3-B80D-526B566DF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7A48FB2-DBA5-463E-8ECE-24BB68006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576D298-94AF-4673-A47A-166111F64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CA74063-CC76-4BE8-AD3E-9E988E823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D8954EC-F029-4A7F-8E83-EE6513995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A263ACD-1968-461A-8898-F4162B2375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9E34463-582A-419D-BA99-00EAC0EA8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C19980F-D836-4834-B867-373809CF3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0DC6387-E86F-4AE9-B884-665CC45E7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4EC14E2-96E7-4E80-9B6B-7095FCEF6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14E58BD-1811-45EE-8C03-DE0B682F2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F88DAF1-AE76-49F8-9375-3442EB884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9C858CB-ADCB-4A00-8751-571FB7FB4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80A2F19-7A2E-48A5-9B2E-699A653D8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3A95370-AACD-4DE2-ACE6-AAF2C0A1D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BC53C2ED-E8C5-40E1-AE2F-55100663D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A5E42EF-08CD-49EA-A91D-092DB7491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1DC8A43-7F99-498D-9556-B9E32F19D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F271FDD-EB34-4E08-B582-374791041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6E566DD-BFDF-4FF9-A26C-FB2A009FA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681E50F7-F2AE-4366-8C35-70273DD6E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A28E3AB-F741-440D-8D9E-7EBF47F0F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C3AE90C-D215-40C1-BD92-D7B5C3A5C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DEEFB4E-97FF-4B78-B4FC-F8084DBFC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B3C2324-7034-437E-9172-862FE7D4B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E6375DF-2832-4E80-9D02-A7FA4D200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307D735-E702-48FA-8A0C-9EC80DFBD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CFFA145-9D27-489B-B258-B9AB67BD6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2BD3067-41CD-4104-BCB5-62D9D54E2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00424B4-9B94-4089-AFD5-A6677199D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265128A-E9ED-4C87-91CD-38DB9CC26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362FCC97-350D-4085-A020-95DFC0D1D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E223E73-6A00-4FE0-BAD6-CC0EB7B6D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84C4388-DE74-43B3-8F6F-ED835A979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1937EE8-1AF1-4A11-AD4E-BE09ADF88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68665AE-7870-46CA-8960-B78F5D181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4CF3C45-F999-4FC0-B2AF-D7B2A8B60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BD6BA4C-B5DE-4CE8-9A47-9F196FB5B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274A2FC-1F3B-4154-B2EA-E0587BC42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3C037B3-BD50-4226-8B4E-C090470D2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45EB760-96DF-488B-8284-C16922D76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4604EE2-FAB4-4582-B71D-3A1DBA0DC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BEA08F0-E3A2-4B42-8E00-AE637310A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F3F2A41D-B0D1-488F-A8A0-41B877AD2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357BEA9-BAD6-4F32-86DF-F839D22B0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499D3DC-6DC7-455B-9F3B-1586E9156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ADF0082-7898-4393-9632-A69755CBD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C3DA2E5-EA25-4E51-9E41-C35C38302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7A4932D-25B1-4949-87A9-2DCB187BA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DD2BDFC-3745-4A64-BA7B-AFD8BA376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FE09C94-34D3-4ED3-B0E3-8939BA445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32C0A9B-E5BD-4870-80D9-3D5A7BAEC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EEF8B87-425E-4513-AD77-11CC226A5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E0E8B82-D4A9-48C4-BA25-A5F5AC19F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0</c:f>
              <c:numCache>
                <c:formatCode>General</c:formatCode>
                <c:ptCount val="19"/>
                <c:pt idx="0">
                  <c:v>0.0883</c:v>
                </c:pt>
                <c:pt idx="1">
                  <c:v>0.0738</c:v>
                </c:pt>
                <c:pt idx="2">
                  <c:v>0.088</c:v>
                </c:pt>
                <c:pt idx="3">
                  <c:v>0.0056</c:v>
                </c:pt>
                <c:pt idx="4">
                  <c:v>0.0016</c:v>
                </c:pt>
                <c:pt idx="5">
                  <c:v>-0.0269</c:v>
                </c:pt>
                <c:pt idx="6">
                  <c:v>0.1397</c:v>
                </c:pt>
                <c:pt idx="7">
                  <c:v>0.0142</c:v>
                </c:pt>
                <c:pt idx="8">
                  <c:v>0.0459</c:v>
                </c:pt>
                <c:pt idx="9">
                  <c:v>0.1424</c:v>
                </c:pt>
                <c:pt idx="10">
                  <c:v>0.1569</c:v>
                </c:pt>
                <c:pt idx="11">
                  <c:v>0.0297</c:v>
                </c:pt>
                <c:pt idx="12">
                  <c:v>0.04</c:v>
                </c:pt>
                <c:pt idx="13">
                  <c:v>0.0826</c:v>
                </c:pt>
                <c:pt idx="14">
                  <c:v>0.0988</c:v>
                </c:pt>
                <c:pt idx="15">
                  <c:v>0.061</c:v>
                </c:pt>
                <c:pt idx="16">
                  <c:v>0.0587</c:v>
                </c:pt>
                <c:pt idx="17">
                  <c:v>0.0872</c:v>
                </c:pt>
                <c:pt idx="18">
                  <c:v>0.0921</c:v>
                </c:pt>
              </c:numCache>
            </c:numRef>
          </c:xVal>
          <c:yVal>
            <c:numRef>
              <c:f>Sheet1!$B$2:$B$20</c:f>
              <c:numCache>
                <c:formatCode>General</c:formatCode>
                <c:ptCount val="19"/>
                <c:pt idx="0">
                  <c:v>0.5086</c:v>
                </c:pt>
                <c:pt idx="1">
                  <c:v>0.5209</c:v>
                </c:pt>
                <c:pt idx="2">
                  <c:v>0.4848</c:v>
                </c:pt>
                <c:pt idx="3">
                  <c:v>0.2846</c:v>
                </c:pt>
                <c:pt idx="4">
                  <c:v>0.2561</c:v>
                </c:pt>
                <c:pt idx="5">
                  <c:v>0.4509</c:v>
                </c:pt>
                <c:pt idx="6">
                  <c:v>0.4528</c:v>
                </c:pt>
                <c:pt idx="7">
                  <c:v>0.4492</c:v>
                </c:pt>
                <c:pt idx="8">
                  <c:v>0.4474</c:v>
                </c:pt>
                <c:pt idx="9">
                  <c:v>0.4895</c:v>
                </c:pt>
                <c:pt idx="10">
                  <c:v>0.4652</c:v>
                </c:pt>
                <c:pt idx="11">
                  <c:v>0.5125</c:v>
                </c:pt>
                <c:pt idx="12">
                  <c:v>0.212</c:v>
                </c:pt>
                <c:pt idx="13">
                  <c:v>0.4509</c:v>
                </c:pt>
                <c:pt idx="14">
                  <c:v>0.4555</c:v>
                </c:pt>
                <c:pt idx="15">
                  <c:v>0.4806</c:v>
                </c:pt>
                <c:pt idx="16">
                  <c:v>0.4551</c:v>
                </c:pt>
                <c:pt idx="17">
                  <c:v>0.4382</c:v>
                </c:pt>
                <c:pt idx="18">
                  <c:v>0.4516</c:v>
                </c:pt>
              </c:numCache>
            </c:numRef>
          </c:yVal>
          <c:bubbleSize>
            <c:numRef>
              <c:f>Sheet1!$C$2:$C$20</c:f>
              <c:numCache>
                <c:formatCode>General</c:formatCode>
                <c:ptCount val="19"/>
                <c:pt idx="0">
                  <c:v>624.6</c:v>
                </c:pt>
                <c:pt idx="1">
                  <c:v>500.30434782608694</c:v>
                </c:pt>
                <c:pt idx="2">
                  <c:v>946.8461538461538</c:v>
                </c:pt>
                <c:pt idx="3">
                  <c:v>1297.4705882352941</c:v>
                </c:pt>
                <c:pt idx="4">
                  <c:v>1071.767857142857</c:v>
                </c:pt>
                <c:pt idx="5">
                  <c:v>779.1688311688312</c:v>
                </c:pt>
                <c:pt idx="6">
                  <c:v>1504.1666666666667</c:v>
                </c:pt>
                <c:pt idx="7">
                  <c:v>741.2777777777778</c:v>
                </c:pt>
                <c:pt idx="8">
                  <c:v>572.5882352941177</c:v>
                </c:pt>
                <c:pt idx="9">
                  <c:v>391.6666666666667</c:v>
                </c:pt>
                <c:pt idx="10">
                  <c:v>392.1111111111111</c:v>
                </c:pt>
                <c:pt idx="11">
                  <c:v>636.6666666666666</c:v>
                </c:pt>
                <c:pt idx="12">
                  <c:v>9504.58</c:v>
                </c:pt>
                <c:pt idx="13">
                  <c:v>1649.4313725490197</c:v>
                </c:pt>
                <c:pt idx="14">
                  <c:v>940.8333333333334</c:v>
                </c:pt>
                <c:pt idx="15">
                  <c:v>517.75</c:v>
                </c:pt>
                <c:pt idx="16">
                  <c:v>267.60714285714283</c:v>
                </c:pt>
                <c:pt idx="17">
                  <c:v>175.6875</c:v>
                </c:pt>
                <c:pt idx="18">
                  <c:v>311.63157894736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1BACEC9-63BB-431C-95BE-8C72B8F23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54A51B9-BB65-427C-81C7-8A9C4E922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42F78C1-9EDC-4F64-8D3B-769F02BAE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4C300A8-3260-4F5E-B9F5-281AF85D0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6E04E4D-0591-43F5-A62F-16812EA3B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4F3D4CA-5FB8-4A28-960F-717D8A268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0504BAB-1A8F-47C7-954E-C8FA0F08A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344C136-8740-4BF0-94FA-D9349D4CD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5094157-26E6-4CF3-9A94-27905070F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BAF9293-D6E4-462A-BB97-D177D11A1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3F7D734-30E5-4364-828F-70D029ABA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1ACD05D-7AC0-4DCD-97EA-B9D8E3E27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057FA46-C3C0-44E8-8904-0A3C2B56D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4E6EB22-7796-4E0A-B9C2-ED6EC5F3E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8F3C988-392C-4C22-B82D-696B67CF2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69A6EA4-353A-4B8F-80BB-B9432056E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1B143F4-AADB-4EEA-AFCB-1017AE65A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BF6C302-41BD-40CD-AEAB-631645E10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8A43D33-DA2B-4C16-8055-2C886E799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F440211-A9CB-48D0-BF33-93D93AE65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BE28542-E524-46AA-9A67-33843E8E5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3147201-F1AC-409A-84A5-FDAE0E729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BC4A3F0-ACE5-437B-9395-68B4E2AEF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3272CF8-F421-4D78-8C55-9BBDA7762D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26AA71F-D3E3-4DFD-9755-DE5711806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46E15D0-F723-4AA6-8B02-66756647F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9E8E0DE-7852-4FA9-B0A4-665E3A1F0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D9AC8CE-9E4F-4524-BED2-0DF04BBE6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79AF648-5D04-4586-A547-31540F57F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AF55BE8-8D6F-4904-AC72-D2F802336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BBB4B85-8C05-445C-AA59-2BC368250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A7F1EF7-C67C-491E-9091-C2D5E4211D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89B4D23-0014-413C-BC60-D6B8DFD0F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D12F841-498C-4946-BC17-19CD49FC6A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02C512E-71AC-418D-809D-8AAA14FCF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33A1426-83F5-474A-BE13-E1AC11438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DC710BE-1C14-4F0F-94BC-A31CECA25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EDC22C8-9238-47C8-9ED6-5E9CB0873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9970C2D-FB7D-4E68-BF21-0BAB83722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F201DEE-9D31-43E0-B00B-AB3B46167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D0D39A0-EC1D-4EF9-8485-98D8EB235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97FBA54-B3D1-4A42-99EC-184A4124F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C5752E5-8B47-4882-830C-09C0B74B0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C9001BE-809A-45D1-8ADD-1FD63F9C1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664E9D2-53CA-461D-B231-5C72BDC44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D3D3FA9-A46E-4E45-8C5B-924B4FB54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FFBF7A2-5B78-46EB-B2A5-AC76CC78C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543282E-F542-48E3-BDBA-FBE17BF23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5F7A5A4-23EB-4577-9F18-C7F3A9993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2FFC4A1-CCBF-4B72-83E2-CE4824A1F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B58188F-37F3-4B41-97DD-F9AA07007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54A2B0A-2668-415B-A25B-CA54758CF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D20830A-FF69-4587-98C4-94528E7D3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70E8CCE-9A1E-4B73-AE83-B0B755382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3E80790-F120-4950-ACA1-3CBEA0564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8235F55-4096-46A6-BE25-A821C3EEA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F3A01EF-80C6-4736-9032-E516F2760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0.0908</c:v>
                </c:pt>
                <c:pt idx="1">
                  <c:v>0.0826</c:v>
                </c:pt>
                <c:pt idx="2">
                  <c:v>0.0933</c:v>
                </c:pt>
                <c:pt idx="3">
                  <c:v>0.0152</c:v>
                </c:pt>
                <c:pt idx="4">
                  <c:v>0.0021</c:v>
                </c:pt>
                <c:pt idx="5">
                  <c:v>-0.0227</c:v>
                </c:pt>
                <c:pt idx="6">
                  <c:v>0.1225</c:v>
                </c:pt>
                <c:pt idx="7">
                  <c:v>0.0089</c:v>
                </c:pt>
                <c:pt idx="8">
                  <c:v>0.0624</c:v>
                </c:pt>
                <c:pt idx="9">
                  <c:v>0.0798</c:v>
                </c:pt>
                <c:pt idx="10">
                  <c:v>0.1055</c:v>
                </c:pt>
                <c:pt idx="11">
                  <c:v>0.0324</c:v>
                </c:pt>
                <c:pt idx="12">
                  <c:v>0.0439</c:v>
                </c:pt>
                <c:pt idx="13">
                  <c:v>0.0867</c:v>
                </c:pt>
                <c:pt idx="14">
                  <c:v>0.1168</c:v>
                </c:pt>
                <c:pt idx="15">
                  <c:v>0.0516</c:v>
                </c:pt>
                <c:pt idx="16">
                  <c:v>0.1369</c:v>
                </c:pt>
                <c:pt idx="17">
                  <c:v>0.0328</c:v>
                </c:pt>
                <c:pt idx="18">
                  <c:v>0.0508</c:v>
                </c:pt>
                <c:pt idx="19">
                  <c:v>0.0705</c:v>
                </c:pt>
              </c:numCache>
            </c:numRef>
          </c:xVal>
          <c:yVal>
            <c:numRef>
              <c:f>Sheet1!$B$2:$B$21</c:f>
              <c:numCache>
                <c:formatCode>General</c:formatCode>
                <c:ptCount val="20"/>
                <c:pt idx="0">
                  <c:v>0.5086</c:v>
                </c:pt>
                <c:pt idx="1">
                  <c:v>0.522</c:v>
                </c:pt>
                <c:pt idx="2">
                  <c:v>0.485</c:v>
                </c:pt>
                <c:pt idx="3">
                  <c:v>0.284</c:v>
                </c:pt>
                <c:pt idx="4">
                  <c:v>0.2566</c:v>
                </c:pt>
                <c:pt idx="5">
                  <c:v>0.4514</c:v>
                </c:pt>
                <c:pt idx="6">
                  <c:v>0.4528</c:v>
                </c:pt>
                <c:pt idx="7">
                  <c:v>0.4492</c:v>
                </c:pt>
                <c:pt idx="8">
                  <c:v>0.4462</c:v>
                </c:pt>
                <c:pt idx="9">
                  <c:v>0.4839</c:v>
                </c:pt>
                <c:pt idx="10">
                  <c:v>0.468</c:v>
                </c:pt>
                <c:pt idx="11">
                  <c:v>0.5099</c:v>
                </c:pt>
                <c:pt idx="12">
                  <c:v>0.212</c:v>
                </c:pt>
                <c:pt idx="13">
                  <c:v>0.4513</c:v>
                </c:pt>
                <c:pt idx="14">
                  <c:v>0.4556</c:v>
                </c:pt>
                <c:pt idx="15">
                  <c:v>0.4831</c:v>
                </c:pt>
                <c:pt idx="16">
                  <c:v>0.4528</c:v>
                </c:pt>
                <c:pt idx="17">
                  <c:v>0.4548</c:v>
                </c:pt>
                <c:pt idx="18">
                  <c:v>0.4382</c:v>
                </c:pt>
                <c:pt idx="19">
                  <c:v>0.4489</c:v>
                </c:pt>
              </c:numCache>
            </c:numRef>
          </c:yVal>
          <c:bubbleSize>
            <c:numRef>
              <c:f>Sheet1!$C$2:$C$21</c:f>
              <c:numCache>
                <c:formatCode>General</c:formatCode>
                <c:ptCount val="20"/>
                <c:pt idx="0">
                  <c:v>653.5333333333333</c:v>
                </c:pt>
                <c:pt idx="1">
                  <c:v>442.8888888888889</c:v>
                </c:pt>
                <c:pt idx="2">
                  <c:v>1009.75</c:v>
                </c:pt>
                <c:pt idx="3">
                  <c:v>1152.0666666666666</c:v>
                </c:pt>
                <c:pt idx="4">
                  <c:v>999.2452830188679</c:v>
                </c:pt>
                <c:pt idx="5">
                  <c:v>714.1290322580645</c:v>
                </c:pt>
                <c:pt idx="6">
                  <c:v>1150.3333333333333</c:v>
                </c:pt>
                <c:pt idx="7">
                  <c:v>745.8888888888889</c:v>
                </c:pt>
                <c:pt idx="8">
                  <c:v>474.61538461538464</c:v>
                </c:pt>
                <c:pt idx="9">
                  <c:v>248.99999999999997</c:v>
                </c:pt>
                <c:pt idx="10">
                  <c:v>628.0</c:v>
                </c:pt>
                <c:pt idx="11">
                  <c:v>760.28</c:v>
                </c:pt>
                <c:pt idx="12">
                  <c:v>7373.949494949495</c:v>
                </c:pt>
                <c:pt idx="13">
                  <c:v>1265.2941176470588</c:v>
                </c:pt>
                <c:pt idx="14">
                  <c:v>1255.6666666666667</c:v>
                </c:pt>
                <c:pt idx="15">
                  <c:v>494.5357142857142</c:v>
                </c:pt>
                <c:pt idx="16">
                  <c:v>556.3333333333334</c:v>
                </c:pt>
                <c:pt idx="17">
                  <c:v>297.49999999999994</c:v>
                </c:pt>
                <c:pt idx="18">
                  <c:v>254.6</c:v>
                </c:pt>
                <c:pt idx="19">
                  <c:v>535.0</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178C8F8-3182-47A4-A610-A5F7A1CE3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D51CB7A-9EEE-4F86-95E3-1D0D64151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FFEB6DA-F6B3-421D-BC51-F3DB624F6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319350E-ABE5-4AE3-BCFE-9660C7BFB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B9BEB33-F742-42FC-B83A-5D7B35E40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6F76F75-E4EF-486D-AE10-3D57D645F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5568BC3-5D25-4570-8522-3D4F71CA8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7AADF32-4F0E-42F2-BC33-04F606258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408613A-4FDF-42EC-8102-755D1271B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E2EBB7C-9A38-4552-8BFC-7CE19D4EF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06EEA2C-5C55-4200-AA8A-DDA4A0247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EB85CCF-6307-4D73-8094-F18033403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8BC64AB-D9ED-4914-8BEA-B191B229F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BD1718A-8566-4406-8A4D-1C28D437D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FFFB65D-C9A1-4263-A386-9E22F2BEA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755F90B-7943-49DA-B632-CE299AD85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8339DEF-7E2C-4346-99FD-808218BB8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D9F704F-6D7D-473B-B584-F1B2ACB2D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4C67AA9-3D3A-4FC3-A517-183B0D206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754486E-5664-4655-A83F-354581C44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5987A5F-4ED6-4302-8948-E1F738C6F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987C038-13E1-467B-92A3-E04C731DA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3DBD043-6F94-4676-B215-8A46DC0F0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6E4CB86-558B-4697-9CBA-CA45CB034D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C6AAC1F-D826-493F-A323-9F7CE9870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83395B7-A9C2-4D40-A4FB-B99B74342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AF3628E-6F51-4FD1-BF6D-863DBB538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AAC7A51-DFFB-4B39-A229-87DF72510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C284143-3632-4F97-81F0-BED7F652E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5762A9D-D9A5-4139-A9BD-C9142DB37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723FBE2-120B-42C8-97C2-371C17F15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DC67FE2-50D5-4D20-B5AB-E23AED2ED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4C64439-D190-4F38-9B52-59D4698A1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0BE04D9-BE5C-4F2A-9026-4EBAF56D9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D3524B2-E829-4516-A65F-11BFDCC25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40C3A07-86CD-4820-8C95-1152FFDDEC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8D3D2AB-680A-4E5C-83EE-E190287D0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C4EDE5E-5803-4435-BE48-6903F6A4B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9B96507-C087-434A-93A8-653909B98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8657596-A628-4EF8-893E-7497992BE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393F163-209D-40FC-A3BF-C60D0B293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41AE1A0-8041-492C-8CCF-A9175F79D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01DCD56-1A35-46D9-8BA6-84EABF318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99AD2C6-B499-42D4-A3FD-BE0860344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35C168E-0B38-4D6A-8987-626F59741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7030160-65AC-4B22-B2D8-381BACD21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FC808C9-1FB5-4110-B901-BF2AD6CB3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2A9A527-9DDD-4088-9B0B-DB16F4D12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7B8BD2B-F545-435F-AB1D-4DF0CE0810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020F9A3-95A1-4FD3-B7BF-B05A1BE78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23B7CC8-E282-4586-968F-501C6009F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D35F16C-3FC2-4859-B744-3989C9C95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66180F5-A8DD-42B7-95EE-ED7D677E2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283FE3F-9E3D-4C3C-855D-48707CAE3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DBFE6D2-C90C-493A-91FC-DEDA158E2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09E2B9C-C959-4E6A-8AE9-2A23D600A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ED6A95D-B9F2-4D51-AD13-CD631167B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0.0856</c:v>
                </c:pt>
                <c:pt idx="1">
                  <c:v>0.0831</c:v>
                </c:pt>
                <c:pt idx="2">
                  <c:v>0.0814</c:v>
                </c:pt>
                <c:pt idx="3">
                  <c:v>0.0119</c:v>
                </c:pt>
                <c:pt idx="4">
                  <c:v>0.0003</c:v>
                </c:pt>
                <c:pt idx="5">
                  <c:v>-0.022</c:v>
                </c:pt>
                <c:pt idx="6">
                  <c:v>0.122</c:v>
                </c:pt>
                <c:pt idx="7">
                  <c:v>0.0105</c:v>
                </c:pt>
                <c:pt idx="8">
                  <c:v>0.0559</c:v>
                </c:pt>
                <c:pt idx="9">
                  <c:v>0.133</c:v>
                </c:pt>
                <c:pt idx="10">
                  <c:v>0.1511</c:v>
                </c:pt>
                <c:pt idx="11">
                  <c:v>0.0346</c:v>
                </c:pt>
                <c:pt idx="12">
                  <c:v>0.0428</c:v>
                </c:pt>
                <c:pt idx="13">
                  <c:v>0.0845</c:v>
                </c:pt>
                <c:pt idx="14">
                  <c:v>0.0997</c:v>
                </c:pt>
                <c:pt idx="15">
                  <c:v>0.0544</c:v>
                </c:pt>
                <c:pt idx="16">
                  <c:v>0.1585</c:v>
                </c:pt>
                <c:pt idx="17">
                  <c:v>-0.0143</c:v>
                </c:pt>
                <c:pt idx="18">
                  <c:v>0.0433</c:v>
                </c:pt>
                <c:pt idx="19">
                  <c:v>0.131</c:v>
                </c:pt>
              </c:numCache>
            </c:numRef>
          </c:xVal>
          <c:yVal>
            <c:numRef>
              <c:f>Sheet1!$B$2:$B$21</c:f>
              <c:numCache>
                <c:formatCode>General</c:formatCode>
                <c:ptCount val="20"/>
                <c:pt idx="0">
                  <c:v>0.5086</c:v>
                </c:pt>
                <c:pt idx="1">
                  <c:v>0.5239</c:v>
                </c:pt>
                <c:pt idx="2">
                  <c:v>0.4835</c:v>
                </c:pt>
                <c:pt idx="3">
                  <c:v>0.2846</c:v>
                </c:pt>
                <c:pt idx="4">
                  <c:v>0.2565</c:v>
                </c:pt>
                <c:pt idx="5">
                  <c:v>0.4509</c:v>
                </c:pt>
                <c:pt idx="6">
                  <c:v>0.4528</c:v>
                </c:pt>
                <c:pt idx="7">
                  <c:v>0.4492</c:v>
                </c:pt>
                <c:pt idx="8">
                  <c:v>0.4486</c:v>
                </c:pt>
                <c:pt idx="9">
                  <c:v>0.4889</c:v>
                </c:pt>
                <c:pt idx="10">
                  <c:v>0.4491</c:v>
                </c:pt>
                <c:pt idx="11">
                  <c:v>0.5111</c:v>
                </c:pt>
                <c:pt idx="12">
                  <c:v>0.2118</c:v>
                </c:pt>
                <c:pt idx="13">
                  <c:v>0.4514</c:v>
                </c:pt>
                <c:pt idx="14">
                  <c:v>0.451</c:v>
                </c:pt>
                <c:pt idx="15">
                  <c:v>0.4829</c:v>
                </c:pt>
                <c:pt idx="16">
                  <c:v>0.4528</c:v>
                </c:pt>
                <c:pt idx="17">
                  <c:v>0.4575</c:v>
                </c:pt>
                <c:pt idx="18">
                  <c:v>0.4382</c:v>
                </c:pt>
                <c:pt idx="19">
                  <c:v>0.4547</c:v>
                </c:pt>
              </c:numCache>
            </c:numRef>
          </c:yVal>
          <c:bubbleSize>
            <c:numRef>
              <c:f>Sheet1!$C$2:$C$21</c:f>
              <c:numCache>
                <c:formatCode>General</c:formatCode>
                <c:ptCount val="20"/>
                <c:pt idx="0">
                  <c:v>642.0</c:v>
                </c:pt>
                <c:pt idx="1">
                  <c:v>464.65</c:v>
                </c:pt>
                <c:pt idx="2">
                  <c:v>1263.2</c:v>
                </c:pt>
                <c:pt idx="3">
                  <c:v>1184.0</c:v>
                </c:pt>
                <c:pt idx="4">
                  <c:v>1188.088888888889</c:v>
                </c:pt>
                <c:pt idx="5">
                  <c:v>658.1272727272726</c:v>
                </c:pt>
                <c:pt idx="6">
                  <c:v>1187.8333333333333</c:v>
                </c:pt>
                <c:pt idx="7">
                  <c:v>1202.6</c:v>
                </c:pt>
                <c:pt idx="8">
                  <c:v>783.4285714285713</c:v>
                </c:pt>
                <c:pt idx="9">
                  <c:v>839.75</c:v>
                </c:pt>
                <c:pt idx="10">
                  <c:v>818.25</c:v>
                </c:pt>
                <c:pt idx="11">
                  <c:v>800.1818181818181</c:v>
                </c:pt>
                <c:pt idx="12">
                  <c:v>7707.412371134021</c:v>
                </c:pt>
                <c:pt idx="13">
                  <c:v>2260.529411764706</c:v>
                </c:pt>
                <c:pt idx="14">
                  <c:v>790.3333333333334</c:v>
                </c:pt>
                <c:pt idx="15">
                  <c:v>480.29411764705884</c:v>
                </c:pt>
                <c:pt idx="16">
                  <c:v>663.75</c:v>
                </c:pt>
                <c:pt idx="17">
                  <c:v>357.30232558139534</c:v>
                </c:pt>
                <c:pt idx="18">
                  <c:v>383.2307692307692</c:v>
                </c:pt>
                <c:pt idx="19">
                  <c:v>83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A64B306-AC02-415D-89B5-E96679F32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05E28C3-BF11-46CA-9C59-D7C0F61DF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ADAF389-5AAF-4CED-8EA2-16DDB7D15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6E4AF49-2C81-49FF-AEBD-0DFB4EC19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E775C91-8521-4DFA-91DD-F226F4FCA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A45C2A5-93B0-4540-9CE8-3C84C5BD7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82F18A0-1CF4-4173-BA63-60C079F1F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E983A57-4DA3-4C7E-8A50-7AE7BE46E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1FBC1E0-2328-4090-9E9B-FAE7B780A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FB48907-228E-4A79-8C3A-DC11D5D45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D821066-A503-43E0-B41C-8321DBBFA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B9AE26F-DD6F-4D31-BE67-256E3D9CF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86E875B-0091-4DCE-998D-D388B0432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DB4CD91-F173-4A32-8A7E-DEB542762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0B8ECBD-5504-4CFB-AFB1-F395A7EE3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EFF8C20-19CC-452B-8BAA-63CE192DB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F27082D-1195-44D0-B6BF-568B580B9E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7406A3D-BEC7-4CA8-AD99-3B561D4739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23A9784-9498-453E-B931-87D7337B7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9949A1A-85D1-4B01-9B23-F9617699B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9B8526F-7CDB-45A8-AD3E-17A9238FD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3B1EDC0-5F1D-41D9-8D50-7A48A2CB19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636E0E6-A486-498C-85BC-6731D3807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D6283BF-4F8D-4E49-987A-F2AF2CBDA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2A4B0AC-E292-4FD2-BFE3-DCB8E75D8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A8AA6FB-6ABC-40F7-A2C4-C2A69DF8A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A31182A-F5CD-46E1-9BE4-BE0003A74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3936826-4B19-429E-B173-9DA88F10A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8A54CEF-8A15-4573-AD51-2E8752F85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F582776-1028-4C6B-B931-1FD84F0CC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FF7F947-01B7-4A00-8A2A-E1E58C09A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0AFF621-9E1C-4424-BE14-D87600B62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3F7BF69-9B88-41C3-BD63-0B6EC0DF44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EBBC8E6-9F06-4382-BFDF-B5F34C143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CCD0C1A-38A5-4AA7-8AE4-2BFB298A2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2EDBADA-65C8-4D8F-B5D2-085201C90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DE535CD-4547-4894-8DCC-1720510F3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40676E6-0A7B-4BA8-9A87-131DF66D6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148FAD9-2858-49DC-A177-2FB35468C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F74ACEF-AC77-4289-9702-D0B0EDDDD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2FFABB5-60FA-4463-9AC6-074EC0DFA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9A3F4F9-18E1-488D-969C-EBA92CD1D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ED962DD-6B1B-40E5-AEBA-BBCCF958B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B911B9D-0A62-4D3C-B47A-5285E8519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E31E329-5000-4992-9292-234B988EE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ADB0BD3-DE8F-4D82-9937-92C8DFC59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D8D9D7B-96EA-4F4C-BFE5-5D3C11613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FD7EAF1-0334-4AD8-8F51-75B87A467F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DF0C16C-AC23-4575-9DE0-60BD061A2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FDB2F30-6B73-4E4C-AEC9-1B9141E8F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3A8B7DA-0BA1-46FA-833D-EDEB68772A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9BF80EE-7F33-420B-A1D7-F36F166B8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DE33CD6-747B-4CB8-8A72-F69100A88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8944863-4958-4779-93EB-0B1B4254B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96723AE-1240-4C26-835F-F47242343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D7DA3D1-4CE9-4687-8808-746374593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E4D942C-8EC7-4C90-A84D-1E419E3DC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0.0934</c:v>
                </c:pt>
                <c:pt idx="1">
                  <c:v>0.0867</c:v>
                </c:pt>
                <c:pt idx="2">
                  <c:v>0.1007</c:v>
                </c:pt>
                <c:pt idx="3">
                  <c:v>0.0236</c:v>
                </c:pt>
                <c:pt idx="4">
                  <c:v>0.0031</c:v>
                </c:pt>
                <c:pt idx="5">
                  <c:v>-0.0308</c:v>
                </c:pt>
                <c:pt idx="6">
                  <c:v>0.1338</c:v>
                </c:pt>
                <c:pt idx="7">
                  <c:v>0.0142</c:v>
                </c:pt>
                <c:pt idx="8">
                  <c:v>0.0493</c:v>
                </c:pt>
                <c:pt idx="9">
                  <c:v>0.1539</c:v>
                </c:pt>
                <c:pt idx="10">
                  <c:v>0.0322</c:v>
                </c:pt>
                <c:pt idx="11">
                  <c:v>0.0395</c:v>
                </c:pt>
                <c:pt idx="12">
                  <c:v>0.0833</c:v>
                </c:pt>
                <c:pt idx="13">
                  <c:v>0.0978</c:v>
                </c:pt>
                <c:pt idx="14">
                  <c:v>0.0704</c:v>
                </c:pt>
                <c:pt idx="15">
                  <c:v>0.0479</c:v>
                </c:pt>
                <c:pt idx="16">
                  <c:v>0.0683</c:v>
                </c:pt>
              </c:numCache>
            </c:numRef>
          </c:xVal>
          <c:yVal>
            <c:numRef>
              <c:f>Sheet1!$B$2:$B$18</c:f>
              <c:numCache>
                <c:formatCode>General</c:formatCode>
                <c:ptCount val="17"/>
                <c:pt idx="0">
                  <c:v>0.5086</c:v>
                </c:pt>
                <c:pt idx="1">
                  <c:v>0.522</c:v>
                </c:pt>
                <c:pt idx="2">
                  <c:v>0.4792</c:v>
                </c:pt>
                <c:pt idx="3">
                  <c:v>0.2841</c:v>
                </c:pt>
                <c:pt idx="4">
                  <c:v>0.2562</c:v>
                </c:pt>
                <c:pt idx="5">
                  <c:v>0.4509</c:v>
                </c:pt>
                <c:pt idx="6">
                  <c:v>0.4528</c:v>
                </c:pt>
                <c:pt idx="7">
                  <c:v>0.4492</c:v>
                </c:pt>
                <c:pt idx="8">
                  <c:v>0.4456</c:v>
                </c:pt>
                <c:pt idx="9">
                  <c:v>0.452</c:v>
                </c:pt>
                <c:pt idx="10">
                  <c:v>0.5112</c:v>
                </c:pt>
                <c:pt idx="11">
                  <c:v>0.2118</c:v>
                </c:pt>
                <c:pt idx="12">
                  <c:v>0.451</c:v>
                </c:pt>
                <c:pt idx="13">
                  <c:v>0.4285</c:v>
                </c:pt>
                <c:pt idx="14">
                  <c:v>0.4818</c:v>
                </c:pt>
                <c:pt idx="15">
                  <c:v>0.4595</c:v>
                </c:pt>
                <c:pt idx="16">
                  <c:v>0.4494</c:v>
                </c:pt>
              </c:numCache>
            </c:numRef>
          </c:yVal>
          <c:bubbleSize>
            <c:numRef>
              <c:f>Sheet1!$C$2:$C$18</c:f>
              <c:numCache>
                <c:formatCode>General</c:formatCode>
                <c:ptCount val="17"/>
                <c:pt idx="0">
                  <c:v>226.33333333333334</c:v>
                </c:pt>
                <c:pt idx="1">
                  <c:v>210.625</c:v>
                </c:pt>
                <c:pt idx="2">
                  <c:v>456.8421052631579</c:v>
                </c:pt>
                <c:pt idx="3">
                  <c:v>461.2857142857143</c:v>
                </c:pt>
                <c:pt idx="4">
                  <c:v>516.92</c:v>
                </c:pt>
                <c:pt idx="5">
                  <c:v>361.032967032967</c:v>
                </c:pt>
                <c:pt idx="6">
                  <c:v>409.5833333333333</c:v>
                </c:pt>
                <c:pt idx="7">
                  <c:v>378.9047619047619</c:v>
                </c:pt>
                <c:pt idx="8">
                  <c:v>256.3809523809524</c:v>
                </c:pt>
                <c:pt idx="9">
                  <c:v>176.1875</c:v>
                </c:pt>
                <c:pt idx="10">
                  <c:v>364.9555555555556</c:v>
                </c:pt>
                <c:pt idx="11">
                  <c:v>6289.38</c:v>
                </c:pt>
                <c:pt idx="12">
                  <c:v>791.8985507246376</c:v>
                </c:pt>
                <c:pt idx="13">
                  <c:v>578.6</c:v>
                </c:pt>
                <c:pt idx="14">
                  <c:v>272.1875</c:v>
                </c:pt>
                <c:pt idx="15">
                  <c:v>103.70454545454545</c:v>
                </c:pt>
                <c:pt idx="16">
                  <c:v>210.5217391304347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EF4CB3C-6EFE-4FDD-B5CB-199CFA6F1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D6FDD1A-C8AF-4119-B638-CBAC22BE0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29CF81E-6DD0-4E99-A771-CCFF332A5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A5F52B3-7F9C-4400-A309-BFB6B5D79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B3796FC-E5D4-4C7C-AE81-5807EF1E1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E3960D6-80E7-44AF-860C-D42BC1E79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413A0F4-CD15-49F2-8A4B-364DC6797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1A3050D-A32A-44F7-9165-E33077B8F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D0552A1-FCA0-481F-8EB3-44A5185FB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4DCE4D8-863C-4B1B-BF64-FC75B4E1E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BB0555F-8408-4CE0-81D5-C70218EC3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DF3D4A2-B659-4B13-9383-4AE4E76F2C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03CF77E-AA0E-4FB1-8CB7-FDD401624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92E6E75-12F9-470D-98A5-5F8C7B78B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9955AD3-151A-479F-9324-19603B8C1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3AD4BD0-94CE-46EE-BCD7-AB095C68B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9B3A762B-A575-4C9A-BD64-FC2C5FF6E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D7805ED-6F3E-4432-B49B-09AEB61A4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9DD1C98-6107-4ABE-9B9F-5434656C5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3EE481A-AAE7-4CB9-A1A9-FFE350628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B1DCCA6-7F0A-4AAC-91A2-6237F6542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0077796-AA95-4681-801E-EF1E0CE16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B778074-EECE-4065-8DB4-FCAE2B3F8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4A7DBFD-4092-4AC3-8D9F-B64E14C94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AF76335-A3B2-4F6E-86CC-81B440BBB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A8FB152-D02B-40F5-99B4-28671572E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661E738-1260-4E2B-B493-AA164DDC3F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9549DB4-E31E-4CC0-A5EA-B0244EEF9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9056551-0AA2-41CA-B798-7E962B22B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9649AC8-BC81-43AD-8A8C-483549C72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D34ADB7-317D-4128-8283-04885B6C5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6859279-A5CC-4645-B9B9-28F2233BA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7186EEF-547C-4EC8-9F4E-C0493C2A4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0BA3F34-1A5B-4C00-88A0-C779FFD8F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D6B889F-4B5E-4DDB-8083-A4709FBF4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4217CAA-BBAF-48DF-93D4-5066DFAC5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20A1C83-0AF6-484B-AD06-8FC8F5F43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DE8B2E1-2CD4-43B8-B9C1-05D93D721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42CAA5C-80C9-4C16-A659-40A4DDA0E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40C34AE-9E3E-4AA3-9FB7-7A60B27F3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4E7787D-5509-48AB-AA38-7423CD3D2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20B0D6F-DF4C-4BC8-B1DB-F0CE9D4B5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CF54420-8576-4B37-B136-34C0A455A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AD4CEE3-C85C-4BF5-A06F-1FA8F4EDC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60EAACA-3C9F-4EB8-AA24-2C1D49171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8C55552-B7D4-4756-A6A2-DC3FD86BA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A71B8D1-1612-4F2C-9FC0-1FFC0A7E3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D526AD9-5879-4223-8B37-F72BE268D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7F9F3F0-6168-49FF-8184-D56B492F2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2B9D420-ED81-4093-9000-F6CAD6BE6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E7EF50F-2611-4780-A7AA-5745AAB81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D74ED2D4-4845-460C-927D-689BDF78A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4091273-4E7D-421B-972B-A304209D7B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150C8A1-8599-4579-AAB1-0F2F4243C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5D6E1E7-127D-4458-BB9D-154997F9C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D66374F-07CF-46AE-AF7F-A417C463C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3FD26FF-5D59-4CC2-8D45-D183D902B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0.0872</c:v>
                </c:pt>
                <c:pt idx="1">
                  <c:v>0.078</c:v>
                </c:pt>
                <c:pt idx="2">
                  <c:v>0.0942</c:v>
                </c:pt>
                <c:pt idx="3">
                  <c:v>-0.0003</c:v>
                </c:pt>
                <c:pt idx="4">
                  <c:v>-0.007</c:v>
                </c:pt>
                <c:pt idx="5">
                  <c:v>-0.0544</c:v>
                </c:pt>
                <c:pt idx="6">
                  <c:v>0.1119</c:v>
                </c:pt>
                <c:pt idx="7">
                  <c:v>0.0105</c:v>
                </c:pt>
                <c:pt idx="8">
                  <c:v>0.0381</c:v>
                </c:pt>
                <c:pt idx="9">
                  <c:v>0.1542</c:v>
                </c:pt>
                <c:pt idx="10">
                  <c:v>0.1389</c:v>
                </c:pt>
                <c:pt idx="11">
                  <c:v>0.157</c:v>
                </c:pt>
                <c:pt idx="12">
                  <c:v>0.0318</c:v>
                </c:pt>
                <c:pt idx="13">
                  <c:v>0.0375</c:v>
                </c:pt>
                <c:pt idx="14">
                  <c:v>0.0829</c:v>
                </c:pt>
                <c:pt idx="15">
                  <c:v>0.0799</c:v>
                </c:pt>
                <c:pt idx="16">
                  <c:v>0.0416</c:v>
                </c:pt>
                <c:pt idx="17">
                  <c:v>0.1699</c:v>
                </c:pt>
                <c:pt idx="18">
                  <c:v>-0.0171</c:v>
                </c:pt>
                <c:pt idx="19">
                  <c:v>0.0502</c:v>
                </c:pt>
                <c:pt idx="20">
                  <c:v>0.0994</c:v>
                </c:pt>
              </c:numCache>
            </c:numRef>
          </c:xVal>
          <c:yVal>
            <c:numRef>
              <c:f>Sheet1!$B$2:$B$22</c:f>
              <c:numCache>
                <c:formatCode>General</c:formatCode>
                <c:ptCount val="21"/>
                <c:pt idx="0">
                  <c:v>0.5086</c:v>
                </c:pt>
                <c:pt idx="1">
                  <c:v>0.5227</c:v>
                </c:pt>
                <c:pt idx="2">
                  <c:v>0.4822</c:v>
                </c:pt>
                <c:pt idx="3">
                  <c:v>0.2842</c:v>
                </c:pt>
                <c:pt idx="4">
                  <c:v>0.2565</c:v>
                </c:pt>
                <c:pt idx="5">
                  <c:v>0.4507</c:v>
                </c:pt>
                <c:pt idx="6">
                  <c:v>0.4528</c:v>
                </c:pt>
                <c:pt idx="7">
                  <c:v>0.4492</c:v>
                </c:pt>
                <c:pt idx="8">
                  <c:v>0.4503</c:v>
                </c:pt>
                <c:pt idx="9">
                  <c:v>0.4868</c:v>
                </c:pt>
                <c:pt idx="10">
                  <c:v>0.4598</c:v>
                </c:pt>
                <c:pt idx="11">
                  <c:v>0.4491</c:v>
                </c:pt>
                <c:pt idx="12">
                  <c:v>0.5104</c:v>
                </c:pt>
                <c:pt idx="13">
                  <c:v>0.212</c:v>
                </c:pt>
                <c:pt idx="14">
                  <c:v>0.4511</c:v>
                </c:pt>
                <c:pt idx="15">
                  <c:v>0.4576</c:v>
                </c:pt>
                <c:pt idx="16">
                  <c:v>0.4776</c:v>
                </c:pt>
                <c:pt idx="17">
                  <c:v>0.4528</c:v>
                </c:pt>
                <c:pt idx="18">
                  <c:v>0.4582</c:v>
                </c:pt>
                <c:pt idx="19">
                  <c:v>0.4382</c:v>
                </c:pt>
                <c:pt idx="20">
                  <c:v>0.4495</c:v>
                </c:pt>
              </c:numCache>
            </c:numRef>
          </c:yVal>
          <c:bubbleSize>
            <c:numRef>
              <c:f>Sheet1!$C$2:$C$22</c:f>
              <c:numCache>
                <c:formatCode>General</c:formatCode>
                <c:ptCount val="21"/>
                <c:pt idx="0">
                  <c:v>423.5357142857142</c:v>
                </c:pt>
                <c:pt idx="1">
                  <c:v>408.96</c:v>
                </c:pt>
                <c:pt idx="2">
                  <c:v>793.125</c:v>
                </c:pt>
                <c:pt idx="3">
                  <c:v>784.0833333333334</c:v>
                </c:pt>
                <c:pt idx="4">
                  <c:v>1087.5081967213114</c:v>
                </c:pt>
                <c:pt idx="5">
                  <c:v>775.1621621621622</c:v>
                </c:pt>
                <c:pt idx="6">
                  <c:v>840.2727272727273</c:v>
                </c:pt>
                <c:pt idx="7">
                  <c:v>759.5714285714284</c:v>
                </c:pt>
                <c:pt idx="8">
                  <c:v>541.3157894736842</c:v>
                </c:pt>
                <c:pt idx="9">
                  <c:v>344.125</c:v>
                </c:pt>
                <c:pt idx="10">
                  <c:v>421.6666666666667</c:v>
                </c:pt>
                <c:pt idx="11">
                  <c:v>409.0</c:v>
                </c:pt>
                <c:pt idx="12">
                  <c:v>680.5</c:v>
                </c:pt>
                <c:pt idx="13">
                  <c:v>8910.333333333334</c:v>
                </c:pt>
                <c:pt idx="14">
                  <c:v>1670.543859649123</c:v>
                </c:pt>
                <c:pt idx="15">
                  <c:v>627.125</c:v>
                </c:pt>
                <c:pt idx="16">
                  <c:v>450.6785714285714</c:v>
                </c:pt>
                <c:pt idx="17">
                  <c:v>210.33333333333334</c:v>
                </c:pt>
                <c:pt idx="18">
                  <c:v>264.4782608695652</c:v>
                </c:pt>
                <c:pt idx="19">
                  <c:v>339.72727272727275</c:v>
                </c:pt>
                <c:pt idx="20">
                  <c:v>339.1818181818182</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5E405B7-6CCE-407E-9EA4-B50DDF9B97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EA5D7FA-503E-409E-A26E-AB8AD71F2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E1AD4AE-E6C8-49C6-AE36-7E4EB0FAD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667AD3C-1AD1-4A71-9208-94963192C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EC0DC9E-CD6D-4518-8327-E8BBB287C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20D5DF3-F23C-4C07-B384-8224976AD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1E7F39F-0E2D-49A5-9D20-F45627652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1016B2B-8ED4-4A79-8CCD-389E0A433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4669555-E5DC-402C-9458-35A3795C9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9E34380-EBFA-46D3-AD34-0C2F4B1F7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B6EE72A-18EE-43AC-ADA1-05EE58FEDA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A8400B0-F734-4B92-938A-33A411A4E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4624F8C-5C35-4A1A-8E39-AE589BBDF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9ACA4E3-04CE-4199-84C1-7C8205966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07E860B-9081-4AD1-9B09-A76B0B193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1E231AC-EA09-4188-A554-520194401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5D403BD-3A9C-453E-A818-5FDD362BC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EE3ED26-6A85-4131-BBE0-6C7BF25E4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0D68986-BA8C-40B1-95F3-1F9BEF82A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3519ECD-AC1B-4A71-9145-5AD8AF0F4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2CA9C23-0462-4046-B47F-716425C68F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ECCB760-B93B-4BF4-9281-5DA434AF9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10E7F09-F33B-4DC4-AEA3-AAEC1E3A5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B612988-BE51-43B8-964F-F80E7B884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3035E91-0C45-4D43-9F81-782F07E73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C7267FA-384A-42C4-87F8-B1B5BE4F9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95A82AC-A2DD-4B89-AD7C-046958098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3FA33C8-A3DC-4EC6-9CD9-EA725F51C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E875E42-C4EA-4F64-99B9-12855AA68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209C2F3-4ACC-47C5-BD00-A3BB2EFD6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87D2A6E-165B-48DC-B678-8E81E40DE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3885331-9E82-4C9A-9F9A-1DC8D2C43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DA92B3A-E0FB-42FF-97F2-9B12B602A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E01D7EC-6205-4B03-8A48-589C864E4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D10296C-1F99-4C96-ABCC-1BFD85F49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398E5FC-19D3-4346-BD18-DAAB9508B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B424F0A-B66C-4B27-BFF1-5F486BAC5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6959B5B-19F2-423D-B719-8DF8FF1F4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6D91B01-B5F1-4DCC-BCFB-485549CCA5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CA089E7-21FE-4FAC-A3CE-4C95D7AE1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98526FD-E93E-4C08-A6E5-2EE6B1E00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A36000D-1F5A-4AA7-A84B-B8850FB29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37255AB-D96F-4321-A8FA-3D78099AF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DEF5D25-74A7-45B8-AAC8-D5ADB20F0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E86B0C9-1660-469D-833F-DD32137AB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810FF3D-DB6D-4692-877D-20971C1D4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9BA54C7-2ADC-4B00-BBA7-FBA1780E9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48F6846-40EE-4F98-955B-56DF17DD8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BDE7B7D-CA9A-4324-8285-87764D449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06AB9AD-2B2C-48B3-842D-9437D161E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CC44A02-23C3-41A0-A619-5BE4F0E55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DF8CC3AA-8A3F-4A0B-955C-BA0CC15BD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684E818-470E-4482-86D4-7FDEFDAF9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BC81100-6CDD-4B96-B183-2B5155C4B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18D2344-B7DC-4288-89D7-DD1022E60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B0D6050-D570-4293-BDC1-02C42720A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16F4BA5-3874-4729-8584-9344DD381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1052</c:v>
                </c:pt>
                <c:pt idx="1">
                  <c:v>0.138</c:v>
                </c:pt>
                <c:pt idx="2">
                  <c:v>0.126</c:v>
                </c:pt>
                <c:pt idx="3">
                  <c:v>0.0427</c:v>
                </c:pt>
                <c:pt idx="4">
                  <c:v>0.0092</c:v>
                </c:pt>
                <c:pt idx="5">
                  <c:v>0.0044</c:v>
                </c:pt>
                <c:pt idx="6">
                  <c:v>0.0583</c:v>
                </c:pt>
                <c:pt idx="7">
                  <c:v>0.0811</c:v>
                </c:pt>
                <c:pt idx="8">
                  <c:v>0.04</c:v>
                </c:pt>
                <c:pt idx="9">
                  <c:v>0.0938</c:v>
                </c:pt>
                <c:pt idx="10">
                  <c:v>0.054</c:v>
                </c:pt>
              </c:numCache>
            </c:numRef>
          </c:xVal>
          <c:yVal>
            <c:numRef>
              <c:f>Sheet1!$B$2:$B$12</c:f>
              <c:numCache>
                <c:formatCode>General</c:formatCode>
                <c:ptCount val="11"/>
                <c:pt idx="0">
                  <c:v>0.5086</c:v>
                </c:pt>
                <c:pt idx="1">
                  <c:v>0.5234</c:v>
                </c:pt>
                <c:pt idx="2">
                  <c:v>0.4828</c:v>
                </c:pt>
                <c:pt idx="3">
                  <c:v>0.2848</c:v>
                </c:pt>
                <c:pt idx="4">
                  <c:v>0.2576</c:v>
                </c:pt>
                <c:pt idx="5">
                  <c:v>0.4509</c:v>
                </c:pt>
                <c:pt idx="6">
                  <c:v>0.4535</c:v>
                </c:pt>
                <c:pt idx="7">
                  <c:v>0.5038</c:v>
                </c:pt>
                <c:pt idx="8">
                  <c:v>0.2125</c:v>
                </c:pt>
                <c:pt idx="9">
                  <c:v>0.4516</c:v>
                </c:pt>
                <c:pt idx="10">
                  <c:v>0.479</c:v>
                </c:pt>
              </c:numCache>
            </c:numRef>
          </c:yVal>
          <c:bubbleSize>
            <c:numRef>
              <c:f>Sheet1!$C$2:$C$12</c:f>
              <c:numCache>
                <c:formatCode>General</c:formatCode>
                <c:ptCount val="11"/>
                <c:pt idx="0">
                  <c:v>50.15094339622642</c:v>
                </c:pt>
                <c:pt idx="1">
                  <c:v>48.13953488372093</c:v>
                </c:pt>
                <c:pt idx="2">
                  <c:v>103.61764705882354</c:v>
                </c:pt>
                <c:pt idx="3">
                  <c:v>117.4</c:v>
                </c:pt>
                <c:pt idx="4">
                  <c:v>163.08536585365854</c:v>
                </c:pt>
                <c:pt idx="5">
                  <c:v>134.71052631578948</c:v>
                </c:pt>
                <c:pt idx="6">
                  <c:v>78.1304347826087</c:v>
                </c:pt>
                <c:pt idx="7">
                  <c:v>38.91803278688525</c:v>
                </c:pt>
                <c:pt idx="8">
                  <c:v>1744.57</c:v>
                </c:pt>
                <c:pt idx="9">
                  <c:v>276.32307692307694</c:v>
                </c:pt>
                <c:pt idx="10">
                  <c:v>61.30769230769231</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D208716-DCFB-4CF3-9428-95CFFE2E9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3CFFB5C-24D0-4A09-8CC8-39AC549BA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B01705C-D9E5-45DE-8D1E-6294FAE30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41D32D5-81BB-48BA-A5B4-36DFEE520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D3F1CF6-A0DB-48EB-8A0B-A261D398F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ED6B1F6-15B7-410A-B32F-35A13590D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93CE9F2-E40A-4B46-98CE-A507B2D4D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1DD6110-212F-4030-BC60-046AC122B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25E99F2-A075-4280-9EF5-0E3D27BCC2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17A8370-5C80-4701-909C-55581E987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D703708-412A-4F72-B278-17EB98354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376CA17-0D8B-4E0C-BFAA-43E75BB30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DB20EC5-326B-4797-8860-E74EF2BE2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43166FD-1C6C-4222-8D9A-B202A6BEF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E738865-5414-4B72-A8F5-9E425A14E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4EA3002-4FB0-44A1-ABC8-A50301A97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3654084-B69A-47DE-8225-29C3D4B59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83F02A0-F185-41FB-B8C8-5FCDC049E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59EC7DA-7352-422E-A30E-21ABE6AAC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C7E2EC2-ADF1-42B0-A0D4-0D055B0BF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1A37965-5F75-4B95-A7B7-4EAC835F2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4587600-5943-4546-8B9D-09446D187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17DF7BE-855B-4C15-A2CA-67A6F5374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4DEB79B-A486-4E39-9968-43B6F3B9E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1950249-37D6-42B4-A331-ACE8988C6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89FAF03-3275-409E-9BD3-D6B90F7D0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B976ACE-F35F-4496-B1C5-25F624E3C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D3BCDA8-8F97-4954-9F2B-E95C3A318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14253AA-A789-4BA2-8679-6138212A6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4E2FA34-1851-4C62-BDA6-375C36A34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D268A18-696A-434F-BAD6-B07AA8C5F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E8DE8FB-8120-4145-8B55-B5EBFBA61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8747477-90C9-417E-B8BE-09261D940A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F6E4545-1D25-4AC4-88DF-7FCC6E55B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AE09E5E-278F-40A8-82C6-13E2FA9B2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8349E75-FD87-4D89-9596-0CF390A0F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70ED3DF-BAEB-4F10-87D5-19F61C511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CD9CD77-CE9E-4D16-BF4E-3814D175D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8FE2153-E7C5-48FD-BD09-8ACB3F48E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ECA1384-3331-4B34-82F8-A245062AC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F64F65F-1E8E-4E1C-B554-3FEC9A4E1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7DD72B92-DF8A-4B28-B320-76A89E98B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88942C6-E2BC-45BD-B4BA-33B155A08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9800930-0FF7-490A-9D8C-E9BE64368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B1EF7EA-7AE4-4D7B-B25D-337B36217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27E35CE-C812-4DDB-A24E-6F54E36EB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3562896-D690-45D2-ACB6-37ACF97B2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DA84DB2-5B6D-483D-BDE2-65156100F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F8622FD-D897-43A0-804C-21C1B3865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ABCBBF2-F416-4674-85CE-41863B77B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3740522-5DB0-4765-9E84-279D20854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8E1A7BB-5AD2-4548-96E7-FF5DE443D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D493A38-B9AE-4C7A-AA37-55175CE79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B24DCEA-C685-4F86-A9AE-2BF5C6060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55862F8-3A02-405A-AFBA-2B1286D53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DE34F41-214E-447E-998B-AEDDFD428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B8DCD37-B571-4D53-9D59-C61F12E95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1079</c:v>
                </c:pt>
                <c:pt idx="1">
                  <c:v>0.1056</c:v>
                </c:pt>
                <c:pt idx="2">
                  <c:v>0.1504</c:v>
                </c:pt>
                <c:pt idx="3">
                  <c:v>0.0411</c:v>
                </c:pt>
                <c:pt idx="4">
                  <c:v>0.0055</c:v>
                </c:pt>
                <c:pt idx="5">
                  <c:v>0.0257</c:v>
                </c:pt>
                <c:pt idx="6">
                  <c:v>0.0373</c:v>
                </c:pt>
                <c:pt idx="7">
                  <c:v>0.0424</c:v>
                </c:pt>
                <c:pt idx="8">
                  <c:v>0.0359</c:v>
                </c:pt>
                <c:pt idx="9">
                  <c:v>0.0431</c:v>
                </c:pt>
                <c:pt idx="10">
                  <c:v>0.0901</c:v>
                </c:pt>
                <c:pt idx="11">
                  <c:v>0.0902</c:v>
                </c:pt>
                <c:pt idx="12">
                  <c:v>0.0843</c:v>
                </c:pt>
                <c:pt idx="13">
                  <c:v>0.0714</c:v>
                </c:pt>
                <c:pt idx="14">
                  <c:v>0.0901</c:v>
                </c:pt>
              </c:numCache>
            </c:numRef>
          </c:xVal>
          <c:yVal>
            <c:numRef>
              <c:f>Sheet1!$B$2:$B$16</c:f>
              <c:numCache>
                <c:formatCode>General</c:formatCode>
                <c:ptCount val="15"/>
                <c:pt idx="0">
                  <c:v>0.5086</c:v>
                </c:pt>
                <c:pt idx="1">
                  <c:v>0.5203</c:v>
                </c:pt>
                <c:pt idx="2">
                  <c:v>0.4823</c:v>
                </c:pt>
                <c:pt idx="3">
                  <c:v>0.2834</c:v>
                </c:pt>
                <c:pt idx="4">
                  <c:v>0.2562</c:v>
                </c:pt>
                <c:pt idx="5">
                  <c:v>0.4508</c:v>
                </c:pt>
                <c:pt idx="6">
                  <c:v>0.4492</c:v>
                </c:pt>
                <c:pt idx="7">
                  <c:v>0.4493</c:v>
                </c:pt>
                <c:pt idx="8">
                  <c:v>0.5153</c:v>
                </c:pt>
                <c:pt idx="9">
                  <c:v>0.2115</c:v>
                </c:pt>
                <c:pt idx="10">
                  <c:v>0.4502</c:v>
                </c:pt>
                <c:pt idx="11">
                  <c:v>0.4722</c:v>
                </c:pt>
                <c:pt idx="12">
                  <c:v>0.4819</c:v>
                </c:pt>
                <c:pt idx="13">
                  <c:v>0.4591</c:v>
                </c:pt>
                <c:pt idx="14">
                  <c:v>0.4516</c:v>
                </c:pt>
              </c:numCache>
            </c:numRef>
          </c:yVal>
          <c:bubbleSize>
            <c:numRef>
              <c:f>Sheet1!$C$2:$C$16</c:f>
              <c:numCache>
                <c:formatCode>General</c:formatCode>
                <c:ptCount val="15"/>
                <c:pt idx="0">
                  <c:v>132.2051282051282</c:v>
                </c:pt>
                <c:pt idx="1">
                  <c:v>67.9090909090909</c:v>
                </c:pt>
                <c:pt idx="2">
                  <c:v>150.47368421052633</c:v>
                </c:pt>
                <c:pt idx="3">
                  <c:v>193.99999999999997</c:v>
                </c:pt>
                <c:pt idx="4">
                  <c:v>283.578125</c:v>
                </c:pt>
                <c:pt idx="5">
                  <c:v>169.55</c:v>
                </c:pt>
                <c:pt idx="6">
                  <c:v>280.6666666666667</c:v>
                </c:pt>
                <c:pt idx="7">
                  <c:v>133.56521739130434</c:v>
                </c:pt>
                <c:pt idx="8">
                  <c:v>136.1860465116279</c:v>
                </c:pt>
                <c:pt idx="9">
                  <c:v>2484.32</c:v>
                </c:pt>
                <c:pt idx="10">
                  <c:v>394.0508474576271</c:v>
                </c:pt>
                <c:pt idx="11">
                  <c:v>51.49999999999999</c:v>
                </c:pt>
                <c:pt idx="12">
                  <c:v>100.02631578947368</c:v>
                </c:pt>
                <c:pt idx="13">
                  <c:v>95.55</c:v>
                </c:pt>
                <c:pt idx="14">
                  <c:v>61.8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C604092-D7F7-41D1-B893-AA54F1B65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BEFEEAC-2B68-4F46-816B-C4AA4E840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3DEAF5E-002F-497C-8908-845FF76B8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409F030-3FF8-496F-BCB7-2C5C7BA89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C8D621F-FE00-40EB-817C-AD97A071A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6A2F7EC-87AC-4059-97BF-82A6DCFAE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DBEAA49-A27D-4354-84F4-56FBAC095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C67A9A0-B68E-4662-9F0A-C8C43DC94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2893</c:v>
                </c:pt>
                <c:pt idx="1">
                  <c:v>46.1084</c:v>
                </c:pt>
                <c:pt idx="2">
                  <c:v>24.3825</c:v>
                </c:pt>
              </c:numCache>
            </c:numRef>
          </c:xVal>
          <c:yVal>
            <c:numRef>
              <c:f>Sheet1!$B$2:$B$4</c:f>
              <c:numCache>
                <c:formatCode>General</c:formatCode>
                <c:ptCount val="3"/>
                <c:pt idx="0">
                  <c:v>0.5119</c:v>
                </c:pt>
                <c:pt idx="1">
                  <c:v>0.4002</c:v>
                </c:pt>
                <c:pt idx="2">
                  <c:v>0.5297</c:v>
                </c:pt>
              </c:numCache>
            </c:numRef>
          </c:yVal>
          <c:bubbleSize>
            <c:numRef>
              <c:f>Sheet1!$C$2:$C$4</c:f>
              <c:numCache>
                <c:formatCode>General</c:formatCode>
                <c:ptCount val="3"/>
                <c:pt idx="0">
                  <c:v>1631970.032</c:v>
                </c:pt>
                <c:pt idx="1">
                  <c:v>22328881.947200004</c:v>
                </c:pt>
                <c:pt idx="2">
                  <c:v>258039.5332999999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5.33008"/>
          <c:min val="9.03144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910656667855416"/>
        <c:crossBetween val="midCat"/>
      </c:valAx>
      <c:valAx>
        <c:axId val="1011451359"/>
        <c:scaling>
          <c:orientation val="minMax"/>
          <c:max val="0.9956399999999999"/>
          <c:min val="0.08016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3.5306656389739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1D97370-4573-40A1-925C-EF5FB037A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B3D26EA-E992-4484-B25E-660A784EB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079C61E-9972-4CAB-8B0A-74D865990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80F13D9-7F92-4968-9B85-762353C25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31E05D1-A4FA-4966-BDA2-9E688742A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7F80977-7423-444E-A018-8BD195ACA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2B2AC4E-5E70-456A-862E-D833C5BDE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4AF564A-E613-4A37-9038-573C0B878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7DB852D-3F02-4E14-B499-96B0E9DD0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5D2A500-6131-41BD-9305-E26259BAB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6187E49-27F1-4D4A-A03D-D85B44A84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006CDDF-A624-4B50-BAE5-6897C1529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7FD6AD3-BC12-40C8-852E-40863540E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90F780E-8BC2-4317-B65D-9B46F64EB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C6A32DD-625F-48B6-91B1-2B8806EE9F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BEEA3A2-22BF-4977-A670-A25F9C6E1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CB9676E-879F-4D16-9F9A-046162617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8A9C21B-612A-4878-9666-F559CC137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B0E4122-FFDB-4751-842D-9FA205760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F4DE6E3-95C9-4CD8-83B2-8E2BC337E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8F1FE08-6B92-40DF-96CD-EE9D7CDD5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4A692CC-2020-4FE9-A347-C25B073B2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D0756B0-F902-46F6-89BC-12A7B822F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699071C-DED9-40C7-AFB2-D4798BBBE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7D25703-6AB8-4DF6-931C-F8FCB16DC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CC2D5FC-7FC8-4713-94ED-8E5711369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EE8B2BE-3ADD-4C82-B4DF-8D916599C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0BAA4A6-C79A-493E-A4B9-B5A1D05F8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48C69D4-0A62-40F0-BA94-CE020933E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8A410FF-2E4F-4800-BA08-69F2BE79E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90126AB-6251-4590-A168-7E7BFD617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714A1B5-6873-48D3-A321-3FBAA688C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3C5A393-BC03-4FC2-8F83-0D940F07D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A7D2C39-AC49-413F-8C5F-D1D20DA78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5A0E18B-26EF-4FE1-961B-545EBD4C4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90CDA55-5081-4EF9-910F-99F30F907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5720547-42D0-4316-83A3-4B931FB82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44987C5-771F-45F2-A2F9-46898B54E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8D38E8B-5D36-4FE3-8403-923B37E09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EE8527A-CF71-48B4-BF93-ED9A986E4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D222242-A7D8-4D8A-A474-C288DFB22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9FBC1DC-B478-44EB-B2AA-D99B1EF5B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1CF6912D-0CB7-47C4-AB2A-A43CB8562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1F4FFD5-1568-4178-9B60-D12F6FED4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7DEAD49-8C62-4960-85A7-512F09B1C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42AAD55-6400-4128-BFAA-61D5FCCD1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233A041-06C5-4E9F-B7DC-9ADAA3FBC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3E0FF2B-B31B-43CB-AE34-29F6B649A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42E2797-8B81-42E5-9F32-03B128799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74B7B93-25C4-4805-8D09-89C7623DD4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22FBFA8-9F35-4FAE-9066-DB2CCC9FB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C9DB9B6-428E-4399-8243-F768130BA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DDF8999-8500-4524-A19D-81F470A43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722256D-A3E0-4454-BA58-5E37BE8F2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927CFD5-6038-4FE0-83FF-1BCC25590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5EBA145-2D06-43DE-908F-04873A708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E9E2660-F617-4CE7-89C3-501C2B0F7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0.0944</c:v>
                </c:pt>
                <c:pt idx="1">
                  <c:v>0.0996</c:v>
                </c:pt>
                <c:pt idx="2">
                  <c:v>0.1147</c:v>
                </c:pt>
                <c:pt idx="3">
                  <c:v>0.0139</c:v>
                </c:pt>
                <c:pt idx="4">
                  <c:v>0.0029</c:v>
                </c:pt>
                <c:pt idx="5">
                  <c:v>0.0196</c:v>
                </c:pt>
                <c:pt idx="6">
                  <c:v>0.1247</c:v>
                </c:pt>
                <c:pt idx="7">
                  <c:v>0.0319</c:v>
                </c:pt>
                <c:pt idx="8">
                  <c:v>0.0636</c:v>
                </c:pt>
                <c:pt idx="9">
                  <c:v>0.0431</c:v>
                </c:pt>
                <c:pt idx="10">
                  <c:v>0.0382</c:v>
                </c:pt>
                <c:pt idx="11">
                  <c:v>0.0865</c:v>
                </c:pt>
                <c:pt idx="12">
                  <c:v>0.1056</c:v>
                </c:pt>
                <c:pt idx="13">
                  <c:v>0.0951</c:v>
                </c:pt>
                <c:pt idx="14">
                  <c:v>0.0407</c:v>
                </c:pt>
                <c:pt idx="15">
                  <c:v>0.1577</c:v>
                </c:pt>
              </c:numCache>
            </c:numRef>
          </c:xVal>
          <c:yVal>
            <c:numRef>
              <c:f>Sheet1!$B$2:$B$17</c:f>
              <c:numCache>
                <c:formatCode>General</c:formatCode>
                <c:ptCount val="16"/>
                <c:pt idx="0">
                  <c:v>0.5086</c:v>
                </c:pt>
                <c:pt idx="1">
                  <c:v>0.5245</c:v>
                </c:pt>
                <c:pt idx="2">
                  <c:v>0.485</c:v>
                </c:pt>
                <c:pt idx="3">
                  <c:v>0.2851</c:v>
                </c:pt>
                <c:pt idx="4">
                  <c:v>0.2577</c:v>
                </c:pt>
                <c:pt idx="5">
                  <c:v>0.4519</c:v>
                </c:pt>
                <c:pt idx="6">
                  <c:v>0.4528</c:v>
                </c:pt>
                <c:pt idx="7">
                  <c:v>0.4492</c:v>
                </c:pt>
                <c:pt idx="8">
                  <c:v>0.4454</c:v>
                </c:pt>
                <c:pt idx="9">
                  <c:v>0.5084</c:v>
                </c:pt>
                <c:pt idx="10">
                  <c:v>0.2127</c:v>
                </c:pt>
                <c:pt idx="11">
                  <c:v>0.4515</c:v>
                </c:pt>
                <c:pt idx="12">
                  <c:v>0.4518</c:v>
                </c:pt>
                <c:pt idx="13">
                  <c:v>0.4829</c:v>
                </c:pt>
                <c:pt idx="14">
                  <c:v>0.4551</c:v>
                </c:pt>
                <c:pt idx="15">
                  <c:v>0.4496</c:v>
                </c:pt>
              </c:numCache>
            </c:numRef>
          </c:yVal>
          <c:bubbleSize>
            <c:numRef>
              <c:f>Sheet1!$C$2:$C$17</c:f>
              <c:numCache>
                <c:formatCode>General</c:formatCode>
                <c:ptCount val="16"/>
                <c:pt idx="0">
                  <c:v>214.32432432432432</c:v>
                </c:pt>
                <c:pt idx="1">
                  <c:v>105.60975609756098</c:v>
                </c:pt>
                <c:pt idx="2">
                  <c:v>330.95</c:v>
                </c:pt>
                <c:pt idx="3">
                  <c:v>383.1025641025641</c:v>
                </c:pt>
                <c:pt idx="4">
                  <c:v>355.9767441860465</c:v>
                </c:pt>
                <c:pt idx="5">
                  <c:v>284.11538461538464</c:v>
                </c:pt>
                <c:pt idx="6">
                  <c:v>189.34615384615384</c:v>
                </c:pt>
                <c:pt idx="7">
                  <c:v>262.10526315789474</c:v>
                </c:pt>
                <c:pt idx="8">
                  <c:v>98.5</c:v>
                </c:pt>
                <c:pt idx="9">
                  <c:v>210.54545454545453</c:v>
                </c:pt>
                <c:pt idx="10">
                  <c:v>4592.25</c:v>
                </c:pt>
                <c:pt idx="11">
                  <c:v>578.945205479452</c:v>
                </c:pt>
                <c:pt idx="12">
                  <c:v>217.2941176470588</c:v>
                </c:pt>
                <c:pt idx="13">
                  <c:v>173.74418604651163</c:v>
                </c:pt>
                <c:pt idx="14">
                  <c:v>174.64</c:v>
                </c:pt>
                <c:pt idx="15">
                  <c:v>138.56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3B98866-5299-437C-A755-C5FDE6E66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111D10E-FDC0-4D10-9E1B-A55684323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5DE5E8A-2214-4C32-8B8A-5ABB11A55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DCE0F92-8BBF-4D19-B0C0-ECA83401F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DAEA465-4C8D-4BCD-81F9-11C05CBAD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964060B-BBE5-4082-919F-371F8B7A4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71ED230-1354-41FC-A2D5-4DD8D1B7E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2774E67-E657-48EA-A691-055801F1C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987F5B6-3002-4615-B9EE-3590F7A24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E7EA265-4020-4D87-862E-8CEFCCF64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F489F44-A2B9-459C-8ADC-89D6C91FD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D1F5796-3F52-48AA-BEA7-6E88FE3B4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6A3ECC5-1E56-4962-97C6-D2E48FFFF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4853AEF-F347-496E-B5EE-95705BB4F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330B690-3340-467D-B2F5-E79F6A6C0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88A2912-E9D5-43E1-8C3C-5868F9FAC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9C0BB9E-BCBA-4D7C-94AD-76ECC3B7F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771198C-E8B3-4681-A02D-7A4AA33C2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4375007-876D-447A-851C-541736363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C15A037-C8C7-4315-A4B8-A73CC3C1B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A32D07D-97A6-4B2D-BB2A-763D33BFD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B7C9EE5-BB8F-40CA-BA58-F40488ABA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535118E-1E78-4557-998B-87850DD9B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0D32DB4-DF6D-49CF-BA25-3E45DB8A7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86C4C6C-8E5C-497B-B83E-4BD2A3995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B35A529-823A-4A34-97FC-12D6370E7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A8C3745-60C2-45D9-8283-F2EDAC773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BCEA7C6-00E5-457B-AAF6-B829DBF09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8D8F11D-DE83-4166-8AE1-C2F516A13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ACC1DE0-EB04-4825-AA3B-F477E3288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11CDA13-153B-488E-ABB3-08112CDAA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07B4B77-DDD9-44DD-80EE-A957FD362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A85CAC0-FFDD-449A-8207-C30769F07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3ACB6A6-8607-40D0-9F87-36D4F623A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696B233-1293-42C3-8E42-9E757D1B5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CEAB0D4-D90E-463B-A536-1FEB2E0AA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61E3BCC-D580-4019-8B11-1600B0DAC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404DA39-05EC-412B-9B80-259E763206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0EC524B-126E-482D-9AB1-89B5D5102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96944C3-751E-4F81-8D0E-0147F9FC2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8311E53-7E6C-4877-824D-F8B94AA1F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55F609E-CBD9-4C59-AF5C-2FCE77537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0A170A0-3A44-4AC8-BC9E-5D43063D2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DA6CD5D-F113-48C6-A0A3-96A0A1FD1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CF5836B-77A0-4CA3-B5F0-F1292B148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912ABF1-99F9-4CF1-942A-1A898B14F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33B68ABA-E6DA-4C08-9244-6FA549445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2AB0836-34EA-4D50-91C7-4FE6C8C46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7D59C25-1685-41B2-AD05-13388B8EF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3DD1F3E-09A9-4451-9DBA-263D24151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8D24F011-81A5-4E7A-86B5-72209CB23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18A68E3-6E30-41D9-8273-BF7DCE9B4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B936FCE-29E9-410F-BC10-93F0A9E40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E43558F-9B94-423E-ABC6-9D8077D8D4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4C16F81-43B9-4DA0-A5DA-EE64F3BFE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E26EC93-ADE2-48CD-98D9-1E25EBB85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6F39928-D7A3-46F7-8E4D-1DCAE233F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2</c:f>
              <c:numCache>
                <c:formatCode>General</c:formatCode>
                <c:ptCount val="21"/>
                <c:pt idx="0">
                  <c:v>0.0813</c:v>
                </c:pt>
                <c:pt idx="1">
                  <c:v>0.0693</c:v>
                </c:pt>
                <c:pt idx="2">
                  <c:v>0.073</c:v>
                </c:pt>
                <c:pt idx="3">
                  <c:v>0.0041</c:v>
                </c:pt>
                <c:pt idx="4">
                  <c:v>0.0008</c:v>
                </c:pt>
                <c:pt idx="5">
                  <c:v>-0.0366</c:v>
                </c:pt>
                <c:pt idx="6">
                  <c:v>0.0983</c:v>
                </c:pt>
                <c:pt idx="7">
                  <c:v>-0.0037</c:v>
                </c:pt>
                <c:pt idx="8">
                  <c:v>0.0362</c:v>
                </c:pt>
                <c:pt idx="9">
                  <c:v>0.1014</c:v>
                </c:pt>
                <c:pt idx="10">
                  <c:v>0.0899</c:v>
                </c:pt>
                <c:pt idx="11">
                  <c:v>0.1348</c:v>
                </c:pt>
                <c:pt idx="12">
                  <c:v>0.0262</c:v>
                </c:pt>
                <c:pt idx="13">
                  <c:v>0.0424</c:v>
                </c:pt>
                <c:pt idx="14">
                  <c:v>0.0814</c:v>
                </c:pt>
                <c:pt idx="15">
                  <c:v>0.0524</c:v>
                </c:pt>
                <c:pt idx="16">
                  <c:v>0.0471</c:v>
                </c:pt>
                <c:pt idx="17">
                  <c:v>0.1241</c:v>
                </c:pt>
                <c:pt idx="18">
                  <c:v>0.0131</c:v>
                </c:pt>
                <c:pt idx="19">
                  <c:v>0.0568</c:v>
                </c:pt>
                <c:pt idx="20">
                  <c:v>0.0542</c:v>
                </c:pt>
              </c:numCache>
            </c:numRef>
          </c:xVal>
          <c:yVal>
            <c:numRef>
              <c:f>Sheet1!$B$2:$B$22</c:f>
              <c:numCache>
                <c:formatCode>General</c:formatCode>
                <c:ptCount val="21"/>
                <c:pt idx="0">
                  <c:v>0.5086</c:v>
                </c:pt>
                <c:pt idx="1">
                  <c:v>0.5211</c:v>
                </c:pt>
                <c:pt idx="2">
                  <c:v>0.482</c:v>
                </c:pt>
                <c:pt idx="3">
                  <c:v>0.2839</c:v>
                </c:pt>
                <c:pt idx="4">
                  <c:v>0.2559</c:v>
                </c:pt>
                <c:pt idx="5">
                  <c:v>0.4509</c:v>
                </c:pt>
                <c:pt idx="6">
                  <c:v>0.4528</c:v>
                </c:pt>
                <c:pt idx="7">
                  <c:v>0.4492</c:v>
                </c:pt>
                <c:pt idx="8">
                  <c:v>0.4457</c:v>
                </c:pt>
                <c:pt idx="9">
                  <c:v>0.4894</c:v>
                </c:pt>
                <c:pt idx="10">
                  <c:v>0.4601</c:v>
                </c:pt>
                <c:pt idx="11">
                  <c:v>0.4491</c:v>
                </c:pt>
                <c:pt idx="12">
                  <c:v>0.5132</c:v>
                </c:pt>
                <c:pt idx="13">
                  <c:v>0.2116</c:v>
                </c:pt>
                <c:pt idx="14">
                  <c:v>0.4508</c:v>
                </c:pt>
                <c:pt idx="15">
                  <c:v>0.4446</c:v>
                </c:pt>
                <c:pt idx="16">
                  <c:v>0.4812</c:v>
                </c:pt>
                <c:pt idx="17">
                  <c:v>0.4528</c:v>
                </c:pt>
                <c:pt idx="18">
                  <c:v>0.4574</c:v>
                </c:pt>
                <c:pt idx="19">
                  <c:v>0.4382</c:v>
                </c:pt>
                <c:pt idx="20">
                  <c:v>0.4503</c:v>
                </c:pt>
              </c:numCache>
            </c:numRef>
          </c:yVal>
          <c:bubbleSize>
            <c:numRef>
              <c:f>Sheet1!$C$2:$C$22</c:f>
              <c:numCache>
                <c:formatCode>General</c:formatCode>
                <c:ptCount val="21"/>
                <c:pt idx="0">
                  <c:v>1603.5833333333333</c:v>
                </c:pt>
                <c:pt idx="1">
                  <c:v>1250.962962962963</c:v>
                </c:pt>
                <c:pt idx="2">
                  <c:v>2556.3571428571427</c:v>
                </c:pt>
                <c:pt idx="3">
                  <c:v>3170.375</c:v>
                </c:pt>
                <c:pt idx="4">
                  <c:v>2988.0338983050847</c:v>
                </c:pt>
                <c:pt idx="5">
                  <c:v>2029.1923076923076</c:v>
                </c:pt>
                <c:pt idx="6">
                  <c:v>1121.388888888889</c:v>
                </c:pt>
                <c:pt idx="7">
                  <c:v>2824.0666666666666</c:v>
                </c:pt>
                <c:pt idx="8">
                  <c:v>1489.388888888889</c:v>
                </c:pt>
                <c:pt idx="9">
                  <c:v>1025.0</c:v>
                </c:pt>
                <c:pt idx="10">
                  <c:v>1141.2222222222222</c:v>
                </c:pt>
                <c:pt idx="11">
                  <c:v>2045.0</c:v>
                </c:pt>
                <c:pt idx="12">
                  <c:v>2088.78125</c:v>
                </c:pt>
                <c:pt idx="13">
                  <c:v>27681.21212121212</c:v>
                </c:pt>
                <c:pt idx="14">
                  <c:v>4890.927272727272</c:v>
                </c:pt>
                <c:pt idx="15">
                  <c:v>2986.0</c:v>
                </c:pt>
                <c:pt idx="16">
                  <c:v>1302.878787878788</c:v>
                </c:pt>
                <c:pt idx="17">
                  <c:v>1233.5</c:v>
                </c:pt>
                <c:pt idx="18">
                  <c:v>770.59375</c:v>
                </c:pt>
                <c:pt idx="19">
                  <c:v>879.1818181818181</c:v>
                </c:pt>
                <c:pt idx="20">
                  <c:v>891.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22E3988-8B14-4A04-83CE-75B02DC5A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68F850A-824F-477C-9C8C-29C4B187D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8B71916-D411-4812-B6EA-4E28567DA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A57EFB8-FD11-4058-A420-E291F0893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7FBD60B-9873-4A4B-9925-4BB24EE6E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8D273BF-D896-497B-9EE5-AA27C8F70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3210C49-8092-4296-9B78-AB5EA4B21B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8E9DAC4-DBEF-4595-8FC5-AAAEDEFA1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F424E34-662A-473B-B826-9CBD537CA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606CAD7-02DC-4F1D-8BCA-0D59E8DD4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9A98E24-56C9-45E0-9A5E-0DC59D449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39E26EA-3D29-4A65-9BA1-754A0EFA2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F4435F2-6B2B-4554-A3B3-62D008341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B4CE285-486D-4801-9946-AD3951DA4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3BA0A14-A5D6-4C14-A8D0-EA2FEF5F7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0C537E0-2D6B-41AC-9F28-FD42A5773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1D72E60-B948-45BC-9BC3-7CB3FBCB3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EAE838D-0A5A-4774-B1DB-9BA4C0A2B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E24D814-5F92-46EA-B98C-E2516F9E8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A72C9D6-728A-4DAC-AEFE-C78C62882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ED2338B-8E8F-4E27-91DA-FD27D6FE9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A8193E0-9CF0-472B-A201-A560CCD36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939315D-3EE6-4C4A-B098-DFEAF698B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B17CE79-1502-4A77-86C1-360EC9D7D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E5F31A0-9236-423D-9A8C-D8076202C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D9ED1E7-FDBA-46EA-9D96-D42C53046E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85C0A3F1-A7A2-40BE-8BE6-893365FD3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235053F-05EE-4D93-8237-23EE5980C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36AE2CC-FC07-4506-97B4-B46EE0961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1D614A7-C483-422B-9975-2EBD85FCB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EA117A5-1356-43BA-8055-1921FF6FF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DBD5C71-589A-40F8-8EDA-F745A17B9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A84EB7D-B196-4B82-A616-2C6DD22F3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02AF785-BB07-4E68-B564-C1C717721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1B30F6F-4F98-4803-ADA9-2E0535232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EF78226-94ED-484F-A741-D40C4D8EB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8923221-9F7A-42AE-9D2B-7E6389E83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A0C8B29-2A5C-4C90-988A-C19EEAF9E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F39795A-BDD0-496D-841C-F44022250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500990E-60FC-4BB1-89E1-ACBFFEFBE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2724C10-3A21-4D45-A9CB-FC516FFE7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7194881-CD30-40A6-AE47-EA07D59A1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08420CE-7D90-464D-AB1C-AED0882E3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9EC20FE-66E7-4363-A7FF-A309AF0C6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C761A06-01DC-4A40-A025-23046EE2D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CCC4EB9-1479-4A85-8A33-9C9E0034B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D9E7F15-7105-4FFF-8593-95C89503C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57621E0-8149-4770-A0C1-90D0FAF2A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E30E46D-A93F-42B2-916B-3A1D5E43B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69972F3-C6D4-4BE7-BD5C-89E187FD3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BB0BC2F-F0CD-41AD-948B-6B943BA40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E8507AF-B603-4503-8531-09843F94C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F188F77-1062-4E0B-BEA3-4EA33C51B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D3E0301-5F60-4BB3-B966-CAEE038D4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DC85D91-7DD0-4990-B2C5-3EBD67675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3B5CF9E-C92F-46BE-898D-47E298BBA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7AEF94B-D3FB-4E80-8A31-A64CC4776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0</c:f>
              <c:numCache>
                <c:formatCode>General</c:formatCode>
                <c:ptCount val="9"/>
                <c:pt idx="0">
                  <c:v>0.1099</c:v>
                </c:pt>
                <c:pt idx="1">
                  <c:v>0.0533</c:v>
                </c:pt>
                <c:pt idx="2">
                  <c:v>0.006</c:v>
                </c:pt>
                <c:pt idx="3">
                  <c:v>-0.0166</c:v>
                </c:pt>
                <c:pt idx="4">
                  <c:v>0.0751</c:v>
                </c:pt>
                <c:pt idx="5">
                  <c:v>0.0339</c:v>
                </c:pt>
                <c:pt idx="6">
                  <c:v>0.0969</c:v>
                </c:pt>
                <c:pt idx="7">
                  <c:v>0.0598</c:v>
                </c:pt>
                <c:pt idx="8">
                  <c:v>0.0639</c:v>
                </c:pt>
              </c:numCache>
            </c:numRef>
          </c:xVal>
          <c:yVal>
            <c:numRef>
              <c:f>Sheet1!$B$2:$B$10</c:f>
              <c:numCache>
                <c:formatCode>General</c:formatCode>
                <c:ptCount val="9"/>
                <c:pt idx="0">
                  <c:v>0.4843</c:v>
                </c:pt>
                <c:pt idx="1">
                  <c:v>0.286</c:v>
                </c:pt>
                <c:pt idx="2">
                  <c:v>0.2569</c:v>
                </c:pt>
                <c:pt idx="3">
                  <c:v>0.4507</c:v>
                </c:pt>
                <c:pt idx="4">
                  <c:v>0.5063</c:v>
                </c:pt>
                <c:pt idx="5">
                  <c:v>0.2129</c:v>
                </c:pt>
                <c:pt idx="6">
                  <c:v>0.4513</c:v>
                </c:pt>
                <c:pt idx="7">
                  <c:v>0.4791</c:v>
                </c:pt>
                <c:pt idx="8">
                  <c:v>0.4586</c:v>
                </c:pt>
              </c:numCache>
            </c:numRef>
          </c:yVal>
          <c:bubbleSize>
            <c:numRef>
              <c:f>Sheet1!$C$2:$C$10</c:f>
              <c:numCache>
                <c:formatCode>General</c:formatCode>
                <c:ptCount val="9"/>
                <c:pt idx="0">
                  <c:v>91.3125</c:v>
                </c:pt>
                <c:pt idx="1">
                  <c:v>92.72222222222223</c:v>
                </c:pt>
                <c:pt idx="2">
                  <c:v>165.33823529411765</c:v>
                </c:pt>
                <c:pt idx="3">
                  <c:v>128.18072289156626</c:v>
                </c:pt>
                <c:pt idx="4">
                  <c:v>73.23529411764706</c:v>
                </c:pt>
                <c:pt idx="5">
                  <c:v>1647.1</c:v>
                </c:pt>
                <c:pt idx="6">
                  <c:v>157.69642857142856</c:v>
                </c:pt>
                <c:pt idx="7">
                  <c:v>40.0</c:v>
                </c:pt>
                <c:pt idx="8">
                  <c:v>45.3947368421052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B9B4938-64D8-4E9D-8AC4-0D916EDBD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25A1390-2B5E-4E64-9C05-9802A3DB8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B0F04DC-CF0B-4C44-9334-AFC6D7CEAB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5070774-00BD-4975-B661-B01A0B9F8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CC31DB5-E1EC-49A2-8DE3-C9924A6D3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5380C3C-3584-4B69-80AA-70E3F6035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3207C42-398B-49F8-A637-53F75D542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B63B63D-2AC1-4102-A31D-2631F68F1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5DD0CE8-2977-4B0C-B213-0A66A61FF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8E8D48D-A418-4F86-B3A2-45199210B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85C06D6-DE36-494F-980C-9BE5A13A9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6DA519A-2897-44D6-A32A-08C6BD109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1FB8E35-C9CC-4B4B-B98B-44AD8BE30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E6BA2EA-F925-484D-851B-1CD08F0D0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D43A0D7-2116-4001-BD5E-BCD595D97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7F24B31-A489-4C13-86D5-E96201402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F847B52-BFCD-4C0A-B0DF-BA6AC6BC0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8B361A8-9F52-4A43-B617-A937ACFDB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E670B5F-C5B6-4499-B5FB-C69DA7ABE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EFCE2CF-09A8-4403-8713-7579E1F8D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6E1112E-82D6-4A52-B5B9-573624776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69070B2-BEE2-4CF4-99B6-0F105599D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89F84897-EFD8-4A84-A189-876107245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50FA328-74FE-4551-8A9B-112EE6AC2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027F0FC-BC70-45C0-8B6F-1A7BD3AFC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F5FA097-3282-41C0-BD09-0AA4B0285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2CCE4B2-C063-4D63-8782-6008931D8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EAA8BAE-ABDF-4E8D-A0C0-29CB149C6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A60382E-DE3B-4760-8CDC-E3AA1E3EA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E965C7A-4121-4BAC-A0F7-3814F6757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F407EE6-28A3-4A4C-8FBE-0AF5A53A1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45BC40E-131B-431B-B2F4-DA35BBEDC4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EE3D2A5-6815-4D0D-837D-6723183DC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43B7CAC-8AD1-418F-B9D1-0D6948D3E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BCBFF3C-8DB6-4083-966B-86D286C6F7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3195FEC-85BF-4CBA-BF07-ED0FAEA58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DCA2892-6C63-4822-B4E7-BAE44BCB6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5DBFF8B-EB5F-4CB3-9C85-0DBA249D9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6880682-FA5F-4597-878F-F9F95C69A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606C116-BBBA-49F0-81BB-F2639DA642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CA0DA4B-9523-4371-932A-1F6FA3924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9341252-4636-451F-8E18-353F1F432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630B6CD-84A6-46A6-AE7C-860252C23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73132C4-0D1A-47A8-BDA4-333546EC7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61CF3A5-F71D-4605-A477-51019B871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F7F9E2D-5F06-4A32-ACFF-4A41DFF6B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FB624EE6-21EB-466C-AA55-54F7DE82F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0DE29A63-FC7D-4DF7-B2D6-8CFF2EBCF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FCA6B03-1E46-47E9-94B8-B7244984D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A2BE1A7-1AAC-49ED-96E4-6F4564BBD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D55B42C-D992-491D-BDB1-8F1D970F0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F9A6058-C25A-4822-9DEA-64915B3A4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B9C5180-4140-4180-9351-216E54A53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A317731-4567-4424-B3FD-4A46C5171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BD70A4E-5457-4578-965A-1388A0AC4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89BEEF9-62F3-442F-B82C-D9E764DD0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2ACCD10-5A6D-4206-974D-F3A99529C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0937</c:v>
                </c:pt>
                <c:pt idx="1">
                  <c:v>0.0002</c:v>
                </c:pt>
                <c:pt idx="2">
                  <c:v>-0.028</c:v>
                </c:pt>
                <c:pt idx="3">
                  <c:v>0.0537</c:v>
                </c:pt>
                <c:pt idx="4">
                  <c:v>0.0445</c:v>
                </c:pt>
                <c:pt idx="5">
                  <c:v>0.0402</c:v>
                </c:pt>
                <c:pt idx="6">
                  <c:v>0.0619</c:v>
                </c:pt>
                <c:pt idx="7">
                  <c:v>0.0184</c:v>
                </c:pt>
                <c:pt idx="8">
                  <c:v>0.0989</c:v>
                </c:pt>
                <c:pt idx="9">
                  <c:v>0.1445</c:v>
                </c:pt>
              </c:numCache>
            </c:numRef>
          </c:xVal>
          <c:yVal>
            <c:numRef>
              <c:f>Sheet1!$B$2:$B$11</c:f>
              <c:numCache>
                <c:formatCode>General</c:formatCode>
                <c:ptCount val="10"/>
                <c:pt idx="0">
                  <c:v>0.5247</c:v>
                </c:pt>
                <c:pt idx="1">
                  <c:v>0.2844</c:v>
                </c:pt>
                <c:pt idx="2">
                  <c:v>0.2565</c:v>
                </c:pt>
                <c:pt idx="3">
                  <c:v>0.4515</c:v>
                </c:pt>
                <c:pt idx="4">
                  <c:v>0.4492</c:v>
                </c:pt>
                <c:pt idx="5">
                  <c:v>0.4583</c:v>
                </c:pt>
                <c:pt idx="6">
                  <c:v>0.5084</c:v>
                </c:pt>
                <c:pt idx="7">
                  <c:v>0.2118</c:v>
                </c:pt>
                <c:pt idx="8">
                  <c:v>0.4524</c:v>
                </c:pt>
                <c:pt idx="9">
                  <c:v>0.4817</c:v>
                </c:pt>
              </c:numCache>
            </c:numRef>
          </c:yVal>
          <c:bubbleSize>
            <c:numRef>
              <c:f>Sheet1!$C$2:$C$11</c:f>
              <c:numCache>
                <c:formatCode>General</c:formatCode>
                <c:ptCount val="10"/>
                <c:pt idx="0">
                  <c:v>56.64705882352941</c:v>
                </c:pt>
                <c:pt idx="1">
                  <c:v>69.28125</c:v>
                </c:pt>
                <c:pt idx="2">
                  <c:v>197.51351351351352</c:v>
                </c:pt>
                <c:pt idx="3">
                  <c:v>54.00000000000001</c:v>
                </c:pt>
                <c:pt idx="4">
                  <c:v>88.07407407407408</c:v>
                </c:pt>
                <c:pt idx="5">
                  <c:v>55.523809523809526</c:v>
                </c:pt>
                <c:pt idx="6">
                  <c:v>35.32</c:v>
                </c:pt>
                <c:pt idx="7">
                  <c:v>1057.96</c:v>
                </c:pt>
                <c:pt idx="8">
                  <c:v>192.46511627906978</c:v>
                </c:pt>
                <c:pt idx="9">
                  <c:v>56.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1AE7EC3-C26E-4ACF-B998-A576AC14C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E44EDC9-7149-4E90-8DCA-170D4F5DE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02D5C13-F53A-4DF1-B779-2FAB92C96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E5E00AC-90BF-45A8-B727-B296BEE30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C16E62A-524F-4AE5-9086-66495DA99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4120793-1949-4851-9873-0AA251FD7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35F1F96-D892-4080-93A4-A49644499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A931593-5D5E-45B9-8F1D-AB4A8E890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B00D513-6E1C-46B4-A713-ADC3484FC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2812A3E-9F51-469D-9406-DA75595D53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279E390-7143-4E53-B0C9-6CE57853B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1C2A8A0-05AC-4028-B211-18BD655D8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6331734-7DF7-4A8D-B12E-DE4C24D8E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2A26F5AD-67E4-433C-9A16-C29BA4C8FF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9EDFAE8-6AE5-4648-9792-5D22BBC50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432958C-2D3B-44D8-8226-DFA617589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74EE442-CD46-4075-9A37-7036DB159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9CAFC9D-B7F0-4F4F-9CD8-5E7F78E2A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8B025A5-EBE2-49F9-AD26-9A14D3067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9735F50-8448-4070-9769-A31C1826B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353A341-6345-43FE-A7BE-392173D08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33E5BFA-6763-4884-8784-9291B01EA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A2FDF06-DBDF-496A-BDD2-75D6313A9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C23273E-357F-4A7F-AE71-DF5B08EE0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A12372E-CB05-47B6-B30F-1C6A05001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6B33729-FC5D-4C3E-83D9-6F0141A7F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B163D59-E878-4F95-9B9D-4B2D59E8E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8E7BB3E-8309-4A5C-9CED-33BAE1A7B8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09FA694-068D-4AC4-81C2-E47D2D664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4D73585-0B05-4108-B1F6-29A9E7FC4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8121AF4-E3D8-4C83-B209-B26BE5E93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C183438-C90F-4A9D-92A2-1133FD20E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949155D-8935-4C40-9704-6737F66E9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AF5DC5A-C0B8-4573-B6B5-3A407861AB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DED4045-8B8A-49D4-9385-D431B4CEE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8B9AE0E-B236-4D99-8B6C-22F3FA6BB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AED51C3-3E38-4503-8927-4D7AB0A6C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D8D06A1-B367-464A-9CC6-1AA51D55C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4476E4D-ABA0-4ED0-920D-2766EC5A2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DE8C11C1-1A13-430F-AFEE-B9A45EAC5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79F9333-C4D4-48E8-87FD-F3F157D97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FC94120-8D8B-495A-A1BE-A87B1AA1E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FFC3418-9B6E-4DAA-892B-F6C1DFA1A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3301807-E93A-4760-8449-72C383F2A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6762684-0DAA-43AB-B38E-B7193DAD72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F586581-FC3F-4B12-B148-8D5E14CF7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9E3E78A-CD74-4D84-A08C-77E0F1EB1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DC6AB568-9320-4E1F-8BF9-B74286332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C180CAB-D0DB-455B-8FC6-37834F201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26A2114-A1D2-4C4E-85CE-A3F6C7D41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F593E52-7B66-418B-9DAD-FE84F11F2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88E0E68-916E-46F7-ABE3-109DD2011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BE43162-334E-4E9A-AE1D-E115C634B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3638363-F909-476B-AB53-0011044DA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145B506-F757-47CB-80EE-43E84CEA7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BAC12B4E-ABF1-4226-8CCF-78775DBE3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9127DC8-1FC3-473F-B4BE-E630FF7979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0.0934</c:v>
                </c:pt>
                <c:pt idx="1">
                  <c:v>0.0867</c:v>
                </c:pt>
                <c:pt idx="2">
                  <c:v>0.1007</c:v>
                </c:pt>
                <c:pt idx="3">
                  <c:v>0.0236</c:v>
                </c:pt>
                <c:pt idx="4">
                  <c:v>0.0031</c:v>
                </c:pt>
                <c:pt idx="5">
                  <c:v>-0.0308</c:v>
                </c:pt>
                <c:pt idx="6">
                  <c:v>0.1338</c:v>
                </c:pt>
                <c:pt idx="7">
                  <c:v>0.0142</c:v>
                </c:pt>
                <c:pt idx="8">
                  <c:v>0.0493</c:v>
                </c:pt>
                <c:pt idx="9">
                  <c:v>0.1539</c:v>
                </c:pt>
                <c:pt idx="10">
                  <c:v>0.0322</c:v>
                </c:pt>
                <c:pt idx="11">
                  <c:v>0.0395</c:v>
                </c:pt>
                <c:pt idx="12">
                  <c:v>0.0833</c:v>
                </c:pt>
                <c:pt idx="13">
                  <c:v>0.0978</c:v>
                </c:pt>
                <c:pt idx="14">
                  <c:v>0.0704</c:v>
                </c:pt>
                <c:pt idx="15">
                  <c:v>0.0479</c:v>
                </c:pt>
                <c:pt idx="16">
                  <c:v>0.0683</c:v>
                </c:pt>
              </c:numCache>
            </c:numRef>
          </c:xVal>
          <c:yVal>
            <c:numRef>
              <c:f>Sheet1!$B$2:$B$18</c:f>
              <c:numCache>
                <c:formatCode>General</c:formatCode>
                <c:ptCount val="17"/>
                <c:pt idx="0">
                  <c:v>0.5086</c:v>
                </c:pt>
                <c:pt idx="1">
                  <c:v>0.522</c:v>
                </c:pt>
                <c:pt idx="2">
                  <c:v>0.4792</c:v>
                </c:pt>
                <c:pt idx="3">
                  <c:v>0.2841</c:v>
                </c:pt>
                <c:pt idx="4">
                  <c:v>0.2562</c:v>
                </c:pt>
                <c:pt idx="5">
                  <c:v>0.4509</c:v>
                </c:pt>
                <c:pt idx="6">
                  <c:v>0.4528</c:v>
                </c:pt>
                <c:pt idx="7">
                  <c:v>0.4492</c:v>
                </c:pt>
                <c:pt idx="8">
                  <c:v>0.4456</c:v>
                </c:pt>
                <c:pt idx="9">
                  <c:v>0.452</c:v>
                </c:pt>
                <c:pt idx="10">
                  <c:v>0.5112</c:v>
                </c:pt>
                <c:pt idx="11">
                  <c:v>0.2118</c:v>
                </c:pt>
                <c:pt idx="12">
                  <c:v>0.451</c:v>
                </c:pt>
                <c:pt idx="13">
                  <c:v>0.4285</c:v>
                </c:pt>
                <c:pt idx="14">
                  <c:v>0.4818</c:v>
                </c:pt>
                <c:pt idx="15">
                  <c:v>0.4595</c:v>
                </c:pt>
                <c:pt idx="16">
                  <c:v>0.4494</c:v>
                </c:pt>
              </c:numCache>
            </c:numRef>
          </c:yVal>
          <c:bubbleSize>
            <c:numRef>
              <c:f>Sheet1!$C$2:$C$18</c:f>
              <c:numCache>
                <c:formatCode>General</c:formatCode>
                <c:ptCount val="17"/>
                <c:pt idx="0">
                  <c:v>226.33333333333334</c:v>
                </c:pt>
                <c:pt idx="1">
                  <c:v>210.625</c:v>
                </c:pt>
                <c:pt idx="2">
                  <c:v>456.8421052631579</c:v>
                </c:pt>
                <c:pt idx="3">
                  <c:v>461.2857142857143</c:v>
                </c:pt>
                <c:pt idx="4">
                  <c:v>516.92</c:v>
                </c:pt>
                <c:pt idx="5">
                  <c:v>361.032967032967</c:v>
                </c:pt>
                <c:pt idx="6">
                  <c:v>409.5833333333333</c:v>
                </c:pt>
                <c:pt idx="7">
                  <c:v>378.9047619047619</c:v>
                </c:pt>
                <c:pt idx="8">
                  <c:v>256.3809523809524</c:v>
                </c:pt>
                <c:pt idx="9">
                  <c:v>176.1875</c:v>
                </c:pt>
                <c:pt idx="10">
                  <c:v>364.9555555555556</c:v>
                </c:pt>
                <c:pt idx="11">
                  <c:v>6289.38</c:v>
                </c:pt>
                <c:pt idx="12">
                  <c:v>791.8985507246376</c:v>
                </c:pt>
                <c:pt idx="13">
                  <c:v>578.6</c:v>
                </c:pt>
                <c:pt idx="14">
                  <c:v>272.1875</c:v>
                </c:pt>
                <c:pt idx="15">
                  <c:v>103.70454545454545</c:v>
                </c:pt>
                <c:pt idx="16">
                  <c:v>210.5217391304347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53A2F8C-D436-4FB6-95C7-8517FE622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73E6624-49F6-4997-BDDB-17B849872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0AE78C8-EA4C-4A8E-9767-7C7A478C7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B93970C-4119-4BE8-BDA1-9755C4A5F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61A4E37-EF61-4B1B-858E-F75C1641C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FA61C2C-AD67-4437-9994-41DEC6577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9B7312B-FE6B-4864-85BF-6E58DEC27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48F8B33-52C7-4BFA-9F84-9AAF13D84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1A25191-61C1-40E0-A2EA-6496BE7CF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FE8E619-245A-464A-91D6-CA9D282D7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F60EE52-2AF7-4DAD-A8D6-9776F5F87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E4E420C-4AE9-49D3-83C1-B9899C8B2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CB95B39-8BE2-4624-BAD4-23CAF9F2D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036556E-6785-4080-9578-2F29A4CAF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2FDFFEB-B316-4D1D-9AB2-8309B80BB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69C6C89-A6EE-40CC-AAA9-63CDC9628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4222A18-085B-4FE1-ABD0-807C1691E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CFDBC94-0C40-417A-BC26-CDE350541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303DA5C-9BCE-4803-9F3E-094A56F14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9BF50B2-162C-44BB-A9BD-5E72FDBBE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EE8C3FB-E3C3-401B-85AB-1690BF297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19D3D8C8-4DE8-44BE-B732-B233888DDB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4B468F0-5B23-4773-A796-21B44402E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3BA928E-8F97-44FC-81CC-598306872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E3BEEA7-1DF5-4AA0-B35A-E6959B256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C563656-9027-4381-BE0A-5D5823360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621C69C-5984-4D58-842E-139639BB2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6342B61-04A6-4460-A929-93CD0C47E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E174CDB-189D-44C2-8C48-C890239F2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7AA70DF-A343-4FA6-93F2-0CD84CFBB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959F83B-007C-4D2F-B50E-1642D5AAD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4688A24-0687-4352-A76C-5351613CB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685FD89-4F8E-46EA-BDB8-8D72DC4DC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AC8576B-E6D6-41C7-941E-B500A0411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48E10B4-447E-43B3-A942-1E120BB0B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E800E37-6E84-48D2-87BD-BDCE70ECF3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0A12115-5764-4D92-BB69-6493894D6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FFE5B2D-2B94-4AC9-965C-A28606D13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2AD8E8C-74C7-4779-B909-F09001EED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D71EF4E-BEC0-4EA5-92F4-F12FD06BE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321A905-F50D-4C3A-B28A-C0108A10D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BC34E3F-0EDA-4DA3-B46D-EFDA7D0EBB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155F1F7-C443-477A-BADA-FCBEA523B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C39B197-D36E-4C47-A106-0D4CAAC7F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4BBAEC5-BA9F-49EC-93A3-5727466E0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77E74B15-EA63-43B7-ABE6-C01A4CBEE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644095B-448E-4634-AFCE-209D38230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35A383F-EF52-4F17-829A-D3026579C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49D55FD-2F05-4CDB-9FDC-EA56D7F5B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0C99D73-0A51-4187-9BB3-0BF0FD7C2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A31E32A-B98B-4852-BBD7-3F8291102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C501B3A-C290-45E9-95F5-154057B44F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83CAFF8-F266-4411-9ED2-C603E61C5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D75BEE92-C5A8-4E3D-BAF2-BBC3AD2B6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E6D4670-4219-4E3B-AD6B-D942CBF37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04181EE-7FB1-43E8-971F-EA8BF22D3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6B9DF92-DD19-4C58-A41C-1655BC975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0.0856</c:v>
                </c:pt>
                <c:pt idx="1">
                  <c:v>0.0831</c:v>
                </c:pt>
                <c:pt idx="2">
                  <c:v>0.0814</c:v>
                </c:pt>
                <c:pt idx="3">
                  <c:v>0.0119</c:v>
                </c:pt>
                <c:pt idx="4">
                  <c:v>0.0003</c:v>
                </c:pt>
                <c:pt idx="5">
                  <c:v>-0.022</c:v>
                </c:pt>
                <c:pt idx="6">
                  <c:v>0.122</c:v>
                </c:pt>
                <c:pt idx="7">
                  <c:v>0.0105</c:v>
                </c:pt>
                <c:pt idx="8">
                  <c:v>0.0559</c:v>
                </c:pt>
                <c:pt idx="9">
                  <c:v>0.133</c:v>
                </c:pt>
                <c:pt idx="10">
                  <c:v>0.1511</c:v>
                </c:pt>
                <c:pt idx="11">
                  <c:v>0.0346</c:v>
                </c:pt>
                <c:pt idx="12">
                  <c:v>0.0428</c:v>
                </c:pt>
                <c:pt idx="13">
                  <c:v>0.0845</c:v>
                </c:pt>
                <c:pt idx="14">
                  <c:v>0.0997</c:v>
                </c:pt>
                <c:pt idx="15">
                  <c:v>0.0544</c:v>
                </c:pt>
                <c:pt idx="16">
                  <c:v>0.1585</c:v>
                </c:pt>
                <c:pt idx="17">
                  <c:v>-0.0143</c:v>
                </c:pt>
                <c:pt idx="18">
                  <c:v>0.0433</c:v>
                </c:pt>
                <c:pt idx="19">
                  <c:v>0.131</c:v>
                </c:pt>
              </c:numCache>
            </c:numRef>
          </c:xVal>
          <c:yVal>
            <c:numRef>
              <c:f>Sheet1!$B$2:$B$21</c:f>
              <c:numCache>
                <c:formatCode>General</c:formatCode>
                <c:ptCount val="20"/>
                <c:pt idx="0">
                  <c:v>0.5086</c:v>
                </c:pt>
                <c:pt idx="1">
                  <c:v>0.5239</c:v>
                </c:pt>
                <c:pt idx="2">
                  <c:v>0.4835</c:v>
                </c:pt>
                <c:pt idx="3">
                  <c:v>0.2846</c:v>
                </c:pt>
                <c:pt idx="4">
                  <c:v>0.2565</c:v>
                </c:pt>
                <c:pt idx="5">
                  <c:v>0.4509</c:v>
                </c:pt>
                <c:pt idx="6">
                  <c:v>0.4528</c:v>
                </c:pt>
                <c:pt idx="7">
                  <c:v>0.4492</c:v>
                </c:pt>
                <c:pt idx="8">
                  <c:v>0.4486</c:v>
                </c:pt>
                <c:pt idx="9">
                  <c:v>0.4889</c:v>
                </c:pt>
                <c:pt idx="10">
                  <c:v>0.4491</c:v>
                </c:pt>
                <c:pt idx="11">
                  <c:v>0.5111</c:v>
                </c:pt>
                <c:pt idx="12">
                  <c:v>0.2118</c:v>
                </c:pt>
                <c:pt idx="13">
                  <c:v>0.4514</c:v>
                </c:pt>
                <c:pt idx="14">
                  <c:v>0.451</c:v>
                </c:pt>
                <c:pt idx="15">
                  <c:v>0.4829</c:v>
                </c:pt>
                <c:pt idx="16">
                  <c:v>0.4528</c:v>
                </c:pt>
                <c:pt idx="17">
                  <c:v>0.4575</c:v>
                </c:pt>
                <c:pt idx="18">
                  <c:v>0.4382</c:v>
                </c:pt>
                <c:pt idx="19">
                  <c:v>0.4547</c:v>
                </c:pt>
              </c:numCache>
            </c:numRef>
          </c:yVal>
          <c:bubbleSize>
            <c:numRef>
              <c:f>Sheet1!$C$2:$C$21</c:f>
              <c:numCache>
                <c:formatCode>General</c:formatCode>
                <c:ptCount val="20"/>
                <c:pt idx="0">
                  <c:v>642.0</c:v>
                </c:pt>
                <c:pt idx="1">
                  <c:v>464.65</c:v>
                </c:pt>
                <c:pt idx="2">
                  <c:v>1263.2</c:v>
                </c:pt>
                <c:pt idx="3">
                  <c:v>1184.0</c:v>
                </c:pt>
                <c:pt idx="4">
                  <c:v>1188.088888888889</c:v>
                </c:pt>
                <c:pt idx="5">
                  <c:v>658.1272727272726</c:v>
                </c:pt>
                <c:pt idx="6">
                  <c:v>1187.8333333333333</c:v>
                </c:pt>
                <c:pt idx="7">
                  <c:v>1202.6</c:v>
                </c:pt>
                <c:pt idx="8">
                  <c:v>783.4285714285713</c:v>
                </c:pt>
                <c:pt idx="9">
                  <c:v>839.75</c:v>
                </c:pt>
                <c:pt idx="10">
                  <c:v>818.25</c:v>
                </c:pt>
                <c:pt idx="11">
                  <c:v>800.1818181818181</c:v>
                </c:pt>
                <c:pt idx="12">
                  <c:v>7707.412371134021</c:v>
                </c:pt>
                <c:pt idx="13">
                  <c:v>2260.529411764706</c:v>
                </c:pt>
                <c:pt idx="14">
                  <c:v>790.3333333333334</c:v>
                </c:pt>
                <c:pt idx="15">
                  <c:v>480.29411764705884</c:v>
                </c:pt>
                <c:pt idx="16">
                  <c:v>663.75</c:v>
                </c:pt>
                <c:pt idx="17">
                  <c:v>357.30232558139534</c:v>
                </c:pt>
                <c:pt idx="18">
                  <c:v>383.2307692307692</c:v>
                </c:pt>
                <c:pt idx="19">
                  <c:v>83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D6A2ED2-8B4B-491E-8507-2BF06773B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2D7FB09-32D9-41D0-9077-7C6A274B4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6A3F39F-4D68-4E65-A082-F241AF857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D80C024-6029-447C-9B84-B2D35E363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7CCC42E-586A-4E8C-8258-8C53DA63C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80C12BA-5CD0-4D67-9035-FA60A00A5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CD62DE4-E17B-43E0-87C9-36E7184EC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13A3A64-6DBF-4C5C-82CC-0463D3109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910CBF3-1F29-47DD-9143-9881C6168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AF04029-858F-4B2F-9EAB-521C9091F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AC7C0E4-86C5-4B6F-B949-C5B9B6654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FA7BC1E-6D33-4152-94F4-4C5618A04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5503B65-68EC-4765-8886-728178790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FC7A0C9-4D81-4114-A4A1-89595A29F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3DD2639-520F-4179-AFCB-BFB5057B1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5962467-90E1-4402-9BC7-EC92DD260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B9E5084-D75A-4007-B2B1-1C63F107D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19B62C0-F4B4-4916-BFBF-AEB946782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BB4DB80-DB4B-4F2C-BD5B-D533D4F43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5936E56-F9B3-4258-A3BA-4B2B11541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8953490-F824-4AB3-9713-E771AAD90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7496418-EF87-4237-BCF7-3834F68F5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A28176C-83E4-443B-97C4-4F856AAB5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4B6A5C2-5299-45DB-88AA-DD76BA86F0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3BC65F2-85B3-43F7-B3BB-A7036D84B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72BB275-306B-49B7-91E4-2B807F239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DE48FC9-4005-4509-9EA6-C2BBA255F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5C07F1C-2AC7-45E8-A7CE-67BA072EA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5ACD0E4-8ECE-4C5A-84EE-7D0CEE191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5BB7973-72D5-40F4-8CC6-65BE9D601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359A1A5-3D6C-4070-96A4-509BEFF2E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7113AEA-C97C-426D-8193-2358E0B1F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D29D55D-E265-48FF-B197-DC7566D87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8CB5A76-17CD-4366-A3E5-1C2437ADB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F5DD22F-2714-4DD1-935C-02116E424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F1DD66D-5702-4036-8B55-09DE8CFC0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CE7F2A4-D66D-4D0F-92E1-7972148A9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56651C4-7ECB-4525-BFC4-AF23557B0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FCB810C-A61E-4F50-93ED-957DC39C1A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6F465DC-9769-4424-A48D-35F3CF78D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3D3BA55-0D51-42E5-9778-D62925F07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D5C5646-152C-455F-AF41-39508A8A48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BB3466A-964C-4815-9C0C-47303F39E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354F70E-AE7C-4A18-A135-5E2E31667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24C5D06-B7E2-4B7F-A571-C4BACA98D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660734F-3E1A-4B95-BA9F-CC09CD54D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F15F22A-F8DC-4F15-A7E3-2F39C16E8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409E043-1289-4619-9DB6-91EF8EADF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1FCEA60-9F8B-40DE-83A8-6E224C621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F85F4D4-DA66-4B2E-BB91-67F293847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011B3A6-71DD-458C-AED6-A3A73B708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B322C0D-9509-4E76-B904-E84B68DDC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B865DDE-9C9D-4F38-9F4A-0D266143A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9A726B2-0E19-4C32-A440-0343CFEF2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D84BF0B-00DC-4744-BAF0-4234568ED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C5374A1-6197-403B-BA91-D3ABCAE17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4B8E67C-D02F-406F-A402-6134B8E6D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0</c:f>
              <c:numCache>
                <c:formatCode>General</c:formatCode>
                <c:ptCount val="19"/>
                <c:pt idx="0">
                  <c:v>0.0883</c:v>
                </c:pt>
                <c:pt idx="1">
                  <c:v>0.0738</c:v>
                </c:pt>
                <c:pt idx="2">
                  <c:v>0.088</c:v>
                </c:pt>
                <c:pt idx="3">
                  <c:v>0.0056</c:v>
                </c:pt>
                <c:pt idx="4">
                  <c:v>0.0016</c:v>
                </c:pt>
                <c:pt idx="5">
                  <c:v>-0.0269</c:v>
                </c:pt>
                <c:pt idx="6">
                  <c:v>0.1397</c:v>
                </c:pt>
                <c:pt idx="7">
                  <c:v>0.0142</c:v>
                </c:pt>
                <c:pt idx="8">
                  <c:v>0.0459</c:v>
                </c:pt>
                <c:pt idx="9">
                  <c:v>0.1424</c:v>
                </c:pt>
                <c:pt idx="10">
                  <c:v>0.1569</c:v>
                </c:pt>
                <c:pt idx="11">
                  <c:v>0.0297</c:v>
                </c:pt>
                <c:pt idx="12">
                  <c:v>0.04</c:v>
                </c:pt>
                <c:pt idx="13">
                  <c:v>0.0826</c:v>
                </c:pt>
                <c:pt idx="14">
                  <c:v>0.0988</c:v>
                </c:pt>
                <c:pt idx="15">
                  <c:v>0.061</c:v>
                </c:pt>
                <c:pt idx="16">
                  <c:v>0.0587</c:v>
                </c:pt>
                <c:pt idx="17">
                  <c:v>0.0872</c:v>
                </c:pt>
                <c:pt idx="18">
                  <c:v>0.0921</c:v>
                </c:pt>
              </c:numCache>
            </c:numRef>
          </c:xVal>
          <c:yVal>
            <c:numRef>
              <c:f>Sheet1!$B$2:$B$20</c:f>
              <c:numCache>
                <c:formatCode>General</c:formatCode>
                <c:ptCount val="19"/>
                <c:pt idx="0">
                  <c:v>0.5086</c:v>
                </c:pt>
                <c:pt idx="1">
                  <c:v>0.5209</c:v>
                </c:pt>
                <c:pt idx="2">
                  <c:v>0.4848</c:v>
                </c:pt>
                <c:pt idx="3">
                  <c:v>0.2846</c:v>
                </c:pt>
                <c:pt idx="4">
                  <c:v>0.2561</c:v>
                </c:pt>
                <c:pt idx="5">
                  <c:v>0.4509</c:v>
                </c:pt>
                <c:pt idx="6">
                  <c:v>0.4528</c:v>
                </c:pt>
                <c:pt idx="7">
                  <c:v>0.4492</c:v>
                </c:pt>
                <c:pt idx="8">
                  <c:v>0.4474</c:v>
                </c:pt>
                <c:pt idx="9">
                  <c:v>0.4895</c:v>
                </c:pt>
                <c:pt idx="10">
                  <c:v>0.4652</c:v>
                </c:pt>
                <c:pt idx="11">
                  <c:v>0.5125</c:v>
                </c:pt>
                <c:pt idx="12">
                  <c:v>0.212</c:v>
                </c:pt>
                <c:pt idx="13">
                  <c:v>0.4509</c:v>
                </c:pt>
                <c:pt idx="14">
                  <c:v>0.4555</c:v>
                </c:pt>
                <c:pt idx="15">
                  <c:v>0.4806</c:v>
                </c:pt>
                <c:pt idx="16">
                  <c:v>0.4551</c:v>
                </c:pt>
                <c:pt idx="17">
                  <c:v>0.4382</c:v>
                </c:pt>
                <c:pt idx="18">
                  <c:v>0.4516</c:v>
                </c:pt>
              </c:numCache>
            </c:numRef>
          </c:yVal>
          <c:bubbleSize>
            <c:numRef>
              <c:f>Sheet1!$C$2:$C$20</c:f>
              <c:numCache>
                <c:formatCode>General</c:formatCode>
                <c:ptCount val="19"/>
                <c:pt idx="0">
                  <c:v>624.6</c:v>
                </c:pt>
                <c:pt idx="1">
                  <c:v>500.30434782608694</c:v>
                </c:pt>
                <c:pt idx="2">
                  <c:v>946.8461538461538</c:v>
                </c:pt>
                <c:pt idx="3">
                  <c:v>1297.4705882352941</c:v>
                </c:pt>
                <c:pt idx="4">
                  <c:v>1071.767857142857</c:v>
                </c:pt>
                <c:pt idx="5">
                  <c:v>779.1688311688312</c:v>
                </c:pt>
                <c:pt idx="6">
                  <c:v>1504.1666666666667</c:v>
                </c:pt>
                <c:pt idx="7">
                  <c:v>741.2777777777778</c:v>
                </c:pt>
                <c:pt idx="8">
                  <c:v>572.5882352941177</c:v>
                </c:pt>
                <c:pt idx="9">
                  <c:v>391.6666666666667</c:v>
                </c:pt>
                <c:pt idx="10">
                  <c:v>392.1111111111111</c:v>
                </c:pt>
                <c:pt idx="11">
                  <c:v>636.6666666666666</c:v>
                </c:pt>
                <c:pt idx="12">
                  <c:v>9504.58</c:v>
                </c:pt>
                <c:pt idx="13">
                  <c:v>1649.4313725490197</c:v>
                </c:pt>
                <c:pt idx="14">
                  <c:v>940.8333333333334</c:v>
                </c:pt>
                <c:pt idx="15">
                  <c:v>517.75</c:v>
                </c:pt>
                <c:pt idx="16">
                  <c:v>267.60714285714283</c:v>
                </c:pt>
                <c:pt idx="17">
                  <c:v>175.6875</c:v>
                </c:pt>
                <c:pt idx="18">
                  <c:v>311.63157894736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88C3E19-7999-404E-8C23-2DEE5FA51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A8386B7-F8B4-42EE-A315-4A2477FEE0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0F5A570-354A-434C-84D1-6E10E844C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23571E1-1CE0-481A-97D7-B4F5A9DAE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A4D2C9A-C424-4AF1-B279-C285DF129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3B25967-4FCC-401B-92E0-A58C97355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E9DD897-035F-48D1-96B9-F68390FA9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E97856D-5D3E-41DA-ADE0-D60DF2A35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276</c:v>
                </c:pt>
                <c:pt idx="1">
                  <c:v>53.1876</c:v>
                </c:pt>
                <c:pt idx="2">
                  <c:v>28.77</c:v>
                </c:pt>
              </c:numCache>
            </c:numRef>
          </c:xVal>
          <c:yVal>
            <c:numRef>
              <c:f>Sheet1!$B$2:$B$4</c:f>
              <c:numCache>
                <c:formatCode>General</c:formatCode>
                <c:ptCount val="3"/>
                <c:pt idx="0">
                  <c:v>0.5214</c:v>
                </c:pt>
                <c:pt idx="1">
                  <c:v>0.3983</c:v>
                </c:pt>
                <c:pt idx="2">
                  <c:v>0.5431</c:v>
                </c:pt>
              </c:numCache>
            </c:numRef>
          </c:yVal>
          <c:bubbleSize>
            <c:numRef>
              <c:f>Sheet1!$C$2:$C$4</c:f>
              <c:numCache>
                <c:formatCode>General</c:formatCode>
                <c:ptCount val="3"/>
                <c:pt idx="0">
                  <c:v>159900.85389999996</c:v>
                </c:pt>
                <c:pt idx="1">
                  <c:v>4401488.882000001</c:v>
                </c:pt>
                <c:pt idx="2">
                  <c:v>44277.0634000000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63.82512"/>
          <c:min val="9.062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39658709873185"/>
        <c:crossBetween val="midCat"/>
      </c:valAx>
      <c:valAx>
        <c:axId val="1011451359"/>
        <c:scaling>
          <c:orientation val="minMax"/>
          <c:max val="1.01172"/>
          <c:min val="0.0786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51.4995514054487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43AFBA9-058D-4B1C-AD53-256806B83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B933375-F5DC-4B4C-AAC4-44C0B13F9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E4B0376-C7D6-48C6-85CB-CBE0F4864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88508FA-D64D-49FD-AE40-B49CB7751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97AF415-743E-47DE-A8D0-BB604016B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88F3DA3-2732-436E-89EE-59CEEFDD1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737656F-2B45-48A1-873D-7901C27E8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F45833C-9F84-498F-BED3-4B6CEB17F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5A39614-A9FB-4847-A9C0-C70058C82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896D8E2-7F0A-4BBB-ADD8-7E0312552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7E01E9B-84F3-4838-A1FE-37814CF5E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0EE8BE5-6D04-4479-99F4-5071FBEBB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B4A15EB-F1BD-438F-8DBD-46616539D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1C9F799-EDDA-4A6F-92FB-B4C0B289B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EAEB675-09AB-4A34-B917-29843D67F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A15860F-1603-466D-BD24-4CB82D46F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987D185-790A-404B-A80A-39A363F5B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67A44C8-8A65-4B98-BD57-627AE8BA9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77E6ECE-A761-4D7F-B74F-C0E5DC77D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B8A54B0-7C28-47A4-9EE8-12C2D79C0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D0E245A-3A68-4476-AD5E-724F1E492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45497E1-A0E0-47D5-844B-92597BBE6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6422B56-E8F7-494E-8064-A90EDB67F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77ABCBC-EDAB-43D6-96B5-B989330A0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F4B12EC-DAC7-46AD-BA8E-317D17B18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04E09A0-D030-4254-A421-CB3EF8F7D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83154F42-8F59-4E51-B9CC-338B5F6B6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D9C2218-32B1-48C4-B75C-04FD3A7A4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C5C9BB6-905A-4562-B654-65CA7F471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DD0C785-868A-4CEB-8BC5-9880779A90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9800BB7-2008-42F8-9E1B-88D74A790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7DD8E2E-06D5-468D-828D-098E624B0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473D333-C2A2-4A67-B2BE-CE9086D5C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037CA54-7BCA-4AD4-89EE-25666345B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ACFB800-3E4F-49FA-9A1F-6F59DFA71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E2FFEE6-4401-449E-BCA0-A9AECADA1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76BD088-64F0-4491-A548-422A13576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54617A5-989F-4CBB-A38F-DFA8AEEF1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4FD81C4-2918-4029-8A54-97B7912FF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E26D9D0-28C9-4E0D-B166-5721CFF7B4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F10F1DE-656A-4DC9-88F0-9DAD45967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EC60DC4-786B-4477-BE04-8A894E122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BC1CA35-EA32-4F10-BA81-E487ECECD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D60861F-64C9-4E04-91EC-80EE2ED4C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3C0FE23-2DE6-4C02-A81F-D7BF5BA4D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29B1910-4B78-44B2-8478-DD41FE445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076CF70-B80A-4D3A-BB09-906645E77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BFCD452-CF82-4F5F-8F74-941ABE6BD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C2564EF-EA42-47CC-8A94-97561CAF8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E236436-C416-40AD-9FEF-0DF8D1B19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495E09B-6B39-4FB8-AAD8-2EE7FFDAE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DC5A9A2D-1A36-4ED9-808A-4D35412BF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0A08BA5-3154-4C9A-9F47-7670F6640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3E5F0EB-4D11-43BC-B2DA-EDE79CD47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83D040C-7BA1-438B-ABFB-C4D923247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2DB7456-E68B-4611-BFE6-9F1E301BD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9E0FED1-F082-4B3D-AA84-384B84FBE1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0939</c:v>
                </c:pt>
                <c:pt idx="1">
                  <c:v>0.1049</c:v>
                </c:pt>
                <c:pt idx="2">
                  <c:v>0.1568</c:v>
                </c:pt>
                <c:pt idx="3">
                  <c:v>0.0864</c:v>
                </c:pt>
                <c:pt idx="4">
                  <c:v>0.104</c:v>
                </c:pt>
              </c:numCache>
            </c:numRef>
          </c:xVal>
          <c:yVal>
            <c:numRef>
              <c:f>Sheet1!$B$2:$B$6</c:f>
              <c:numCache>
                <c:formatCode>General</c:formatCode>
                <c:ptCount val="5"/>
                <c:pt idx="0">
                  <c:v>0.5086</c:v>
                </c:pt>
                <c:pt idx="1">
                  <c:v>0.4827</c:v>
                </c:pt>
                <c:pt idx="2">
                  <c:v>0.4491</c:v>
                </c:pt>
                <c:pt idx="3">
                  <c:v>0.451</c:v>
                </c:pt>
                <c:pt idx="4">
                  <c:v>0.4483</c:v>
                </c:pt>
              </c:numCache>
            </c:numRef>
          </c:yVal>
          <c:bubbleSize>
            <c:numRef>
              <c:f>Sheet1!$C$2:$C$6</c:f>
              <c:numCache>
                <c:formatCode>General</c:formatCode>
                <c:ptCount val="5"/>
                <c:pt idx="0">
                  <c:v>1861.5238095238096</c:v>
                </c:pt>
                <c:pt idx="1">
                  <c:v>3376.959064327485</c:v>
                </c:pt>
                <c:pt idx="2">
                  <c:v>2277.777777777778</c:v>
                </c:pt>
                <c:pt idx="3">
                  <c:v>6637.264957264957</c:v>
                </c:pt>
                <c:pt idx="4">
                  <c:v>2362.121212121212</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62E102A-CFB0-4EFF-BBEB-E505551BB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811CCEC-7E7C-4D80-9C39-2E2C7B4A0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EBB868E-B375-44B7-86C4-04885F44B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345CC89-7B92-4AD5-B956-7BCA1AE8B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C42F447-429F-46B7-B683-2C605E1ED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B177AB1-40C6-4DF0-B34B-3B9B7E4E3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6C81A0A-B372-499F-8669-62561B07A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B9236CF-5F92-42A0-9838-60F7B1618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791C453-50F5-435F-BA74-F6CD71C0A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0F0491C-D262-4318-AAFF-96317D169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E74698B-753F-45A1-9FB2-2DFDF1FE9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907B531-1733-46E1-8A25-C879BFB64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CFA9B2F-CBCD-4B28-9968-34A70F95B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77F4AF9-AF9C-461B-B023-B074596C9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1E0816C-18CF-4F22-A54F-116FCFE58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662F389-D660-4AEC-AA0E-7AC38403F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1898E08-F87B-4478-8F59-BE6DE5AFB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CD79C2C-E9FB-43A2-A157-C657450C8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57B630E-E5EE-4AA5-834C-436D719F1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62D1751-2BEA-43BA-B461-4563EEB42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116480C-7A9C-4E33-A840-58511319F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EA6B412-5926-4E0E-A167-9D997ED9D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A0AE69C-0274-42D2-AB17-957954690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A0317D5-AA1B-4A5F-8A9D-D74A03C48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9FB19FC-1C70-4667-981D-B105FAE05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58379CC-D8A8-4E5C-9FF3-5702D6AB5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D2031CF-B7E9-4062-967E-2C1AB0969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F27D22C-67CA-455F-B6DB-C75842CAE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C54AF65-E6B6-4645-A2B8-E9E408040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FED1C3C-121D-4604-9F8D-0FD26F617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87CAD2A-4B33-46CE-B54D-2D62AFF30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8C4AAA9-E851-4B33-8D42-ACDB4AF26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1CDFFC7-6780-4B7A-A3E4-24841B547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30DA0B2F-9BC0-4641-902B-383DCAF90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DFB6F78-E45F-490C-BC25-85993F0B1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90AAB8F-69ED-4884-9D41-3812B3AFD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7A8EC6D-A938-4E8F-B39E-C42A21A0C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7B015B2-F9A2-462B-BB13-4AF468829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3D5D58B5-F505-4C7A-B6BC-55984DB3B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6B2E49E-E1CD-4C32-810B-AB10B236D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D042D89-F36B-4407-A8EE-23A20E9CD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3EC18A2-9B29-4A36-A7C8-EC0E9478C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51B6F74-296C-4318-A14C-857096BB4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4B40E3D-41AD-4AC2-BEA8-B447B9BF4B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9F2A9FB-8412-4AF2-90FE-55BE0CB84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6C4564E3-5073-49E4-B6AC-962D1DF6C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62152C3-29E3-49D8-8BAF-9E9F52EC8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A4EA995-06DB-4777-AAB4-267C93F39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BA0F00F-4C6A-4B6A-9342-1DA0BBF15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AF17964A-8DD0-4603-932E-A74AC18EF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51A39CF-98B3-46F8-B852-C26173D54F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3DAE980-843B-4F0A-A08D-0180F87ED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8AE3B8F-D4F1-43EE-A941-3518B3BFE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5B38E5F-0E93-40E3-A5EF-535027D05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8BD6BFF-8C9B-40BD-BDE9-E6AD2E791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15A949D-26B5-4109-912A-C1B1AC4C2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11BE75C-754D-44CC-9FB8-875C5F668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1079</c:v>
                </c:pt>
                <c:pt idx="1">
                  <c:v>0.1504</c:v>
                </c:pt>
                <c:pt idx="2">
                  <c:v>0.0901</c:v>
                </c:pt>
                <c:pt idx="3">
                  <c:v>0.0902</c:v>
                </c:pt>
              </c:numCache>
            </c:numRef>
          </c:xVal>
          <c:yVal>
            <c:numRef>
              <c:f>Sheet1!$B$2:$B$5</c:f>
              <c:numCache>
                <c:formatCode>General</c:formatCode>
                <c:ptCount val="4"/>
                <c:pt idx="0">
                  <c:v>0.5086</c:v>
                </c:pt>
                <c:pt idx="1">
                  <c:v>0.4823</c:v>
                </c:pt>
                <c:pt idx="2">
                  <c:v>0.4502</c:v>
                </c:pt>
                <c:pt idx="3">
                  <c:v>0.4722</c:v>
                </c:pt>
              </c:numCache>
            </c:numRef>
          </c:yVal>
          <c:bubbleSize>
            <c:numRef>
              <c:f>Sheet1!$C$2:$C$5</c:f>
              <c:numCache>
                <c:formatCode>General</c:formatCode>
                <c:ptCount val="4"/>
                <c:pt idx="0">
                  <c:v>132.2051282051282</c:v>
                </c:pt>
                <c:pt idx="1">
                  <c:v>150.47368421052633</c:v>
                </c:pt>
                <c:pt idx="2">
                  <c:v>394.0508474576271</c:v>
                </c:pt>
                <c:pt idx="3">
                  <c:v>51.49999999999999</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81D1A65-411F-41E9-B2AE-921BB1295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031125A-162E-4206-A757-A02DC6589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F8C1CE0-5B71-4FF7-B6D2-4A88E0E8E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2FADF8D-2E7B-417B-BC00-1469DB53A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7F4A2A6-1B4A-4392-8793-C599597E2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EA259749-2F0F-4F37-84F2-E02640671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C04D041-C1D1-40CB-A74D-E668ADB4D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394AAAD-1EDF-43BC-85E3-8A54DA889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5AEA5EC-BE62-4754-AEFA-23BCAF0F8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79D97A0-5904-4685-9AEC-E5407FEF9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012EB52-DDB9-4F92-91A7-B1EFD3E43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70C16CC-4A8D-4834-974A-4AE22BB47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B074E98-0AE7-4326-B142-0E1D9518F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1F9F267-3D09-420C-B916-5471F33A1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A05F20F-A302-4CF1-AC14-11737B566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DB32F49-0E44-4C9A-AD58-33CC57545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DF87B0D-8DCD-409F-A90A-00BF665A1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DB22A29-FD30-4CF7-8F6D-C70111AF0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BD4D5E8-B551-43CF-83DF-78D8F4D1C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B44FDEE-89C1-4ED2-9B65-E0E635A32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B87A7FF-1E24-4F48-B410-FF7D7645F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AABDEDE-8307-4952-85CD-BC3029126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C05628B-3365-44ED-A8BF-EE804DA14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036F318-BEA5-487D-89A6-EC952EF24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2CB42C4-FA2F-42D4-ACF0-2DC8828F2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290C43B-5A91-4F45-8275-342C6DE57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750E5662-68E7-4C81-9B50-CDC3F8201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A001457-00B0-41C5-A03B-A49581694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6078C25-9165-4567-BDEC-09DDB8CBC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E165565-D0E4-48E0-AE2A-0B958B306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79CA0F2-4C76-4B0E-B023-377DC028E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85A5500-4650-491D-83E6-BB7B0D3C6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4286683-C9DB-41D6-934F-8A001B40C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B1F3F9A-2CA2-42EA-815F-2C887BD5F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B9ED840-CA8B-41FA-A8EE-EF6CAA4E6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70830A9-A351-4226-98D0-163959564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33FF4A5-BAE3-4B3B-BB5F-56A044DA6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B90BA21-A6FD-42F9-B8BD-9381218DA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7A9DF57-EEF7-419A-8D2D-402D782B4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BA7BB88-F8F4-4DDA-9F67-FBEFCD76F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B82CB08-DCFB-49E1-A40E-E128D2D90A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3586A55-DDB0-4D3E-963D-8435CA63E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7E4ADAE-431D-4CAF-AAD7-D3B7D20CA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CB19CBA-7325-4867-8F62-9981B396A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7F39A03-0694-4D3A-93C1-A544E01D6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C4AAEFE-5CED-4AB9-944A-1BE5FDCF3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F9A1249-C816-4636-A7DA-01898F45D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E9A1951-6BA4-445B-9450-7148310DA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3C61EF5-78CC-4D28-8E81-B9F8134EC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DB7F526-3CEE-412E-A4CA-66CF379E4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3B3B95E-F784-4B24-A307-8152B6AC3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EDBD924-648B-4F5E-AC8E-1899C365AF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027871F-2557-4CB7-B363-15A63D9DB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52AB91E-FDA8-46D7-9514-B6E5FED3E3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8AD6464-DE0B-4D7C-82EC-3CABDA91D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F0FD542-206D-4F79-AF18-1D9BEBFFC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8E18875-CC3C-4513-8AC9-883173383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052</c:v>
                </c:pt>
                <c:pt idx="1">
                  <c:v>0.126</c:v>
                </c:pt>
                <c:pt idx="2">
                  <c:v>0.0938</c:v>
                </c:pt>
              </c:numCache>
            </c:numRef>
          </c:xVal>
          <c:yVal>
            <c:numRef>
              <c:f>Sheet1!$B$2:$B$4</c:f>
              <c:numCache>
                <c:formatCode>General</c:formatCode>
                <c:ptCount val="3"/>
                <c:pt idx="0">
                  <c:v>0.5086</c:v>
                </c:pt>
                <c:pt idx="1">
                  <c:v>0.4828</c:v>
                </c:pt>
                <c:pt idx="2">
                  <c:v>0.4516</c:v>
                </c:pt>
              </c:numCache>
            </c:numRef>
          </c:yVal>
          <c:bubbleSize>
            <c:numRef>
              <c:f>Sheet1!$C$2:$C$4</c:f>
              <c:numCache>
                <c:formatCode>General</c:formatCode>
                <c:ptCount val="3"/>
                <c:pt idx="0">
                  <c:v>50.15094339622642</c:v>
                </c:pt>
                <c:pt idx="1">
                  <c:v>103.61764705882354</c:v>
                </c:pt>
                <c:pt idx="2">
                  <c:v>276.3230769230769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69C5830-213C-4B45-B1EC-5CD2E3073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E36DE51-5573-4A89-A2D2-8CA91B4AE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3CE5E66-097A-4AF3-97D2-13DB37464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7CA7437-2A29-4724-B07C-6D0A8DC20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8F9D1DB-B97E-44B5-BA5F-F91E538AE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C099356-7407-4446-BF1C-E8C557B813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916CF19-905A-42DC-AD63-6EB33940B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E1D27ED-EC19-4530-9423-DAC00B56B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954E789-B9EC-4DC2-A59D-B984F747A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15EC3F6-8DA3-47A8-BA26-08754F7A4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0E5AC89-5455-40A2-BE0C-C7C044301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903EFB5-1924-4FC2-BCBA-6A9D2CFEB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E893740-368A-4D3F-A70F-8B35510FC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D5FB23E-C7AD-4EFD-802E-EF6F01648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3E2856D-79C6-4B7C-8B1C-971BA7ADC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A304C84-E5B6-4CEC-9C6A-7C751985A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837DD49-7E21-4C46-94EE-2F7CD478B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B7E809C-1C01-42B9-9FB0-3E2E1C1A3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9CFD364-1AB3-41E7-A2CC-E800F6E3B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18455BA-62B9-43DA-A887-B9ECDC279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C676CD0-0B09-4D4C-8BB9-198C09693F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17AA4E9A-B474-4A87-BB22-EE4DD7298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66F539E-BBBA-43C7-B2C0-65535D5AE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7E93C48-A412-45AD-AADB-6ABB667D57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87024B8-8F78-4FF4-B4D9-54661DDB6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4C4EB50-F7C9-4016-8FAA-DD5A7E922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045A66E-706C-47E8-BFDC-71C338453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A7A9DFD-32B1-46B5-973F-9AFA0EFBC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C3DF15A7-2A9E-4F18-87BB-082A66C5F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D0F375C-5007-4BF6-BCD1-51BF1B1E5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C35CFCD-6F9B-4CC9-81A1-D30061EA7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5C381D0-CAC6-4658-B3D3-8C555185A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D1D41EC-CFFE-404D-9F50-82CB0D89A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338F5F0-0E66-4552-84FF-4FABD1E90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8B52E0D-11F8-4652-A03E-2AEE8F55B5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858F3CD-589B-49AF-A8D1-31CABF2BC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3187A72-5BB4-4BB1-A389-FD6104400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CE17792-669B-4816-8778-06554BFFC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9787D78-DB06-497B-8CEF-A59C9D7B6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EC57860-3E60-4942-8CA0-2D1D2B29AF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47C7495-51C1-4484-A559-8FD6ECDF7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EFA9A67-A4A8-408E-B9A9-77D76B7B4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242F288-1757-4F69-9157-26351D79C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21BF836-73E7-472C-BC55-BB22B1D8C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B4C9B13-8BE2-4320-9B11-A8C6817F6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F9FD18F-69B3-4CF9-A3B2-F6467345C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76122CC-4DE2-4137-94A8-25716F420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3C2AF57-0713-49A7-AB49-EE950F677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D40ADD4-8B54-4218-AFB7-3F0260457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6F85AEE-8244-478D-A2E9-507E9F903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49BF251-8ADD-455F-A695-BA5F8BAFA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FB7289C-815D-40CF-B58C-DB619451E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805E176-38F1-4515-ADE0-12F223F8D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0BC0527-5839-4AB3-B8B0-0E07B640EA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EC31CB4-B37C-45E9-9869-446CC9C81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9FC5AA3-C443-4909-94CF-0B00114E5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54CAFEB-0A27-45BC-A77F-C94404B7D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0813</c:v>
                </c:pt>
                <c:pt idx="1">
                  <c:v>0.073</c:v>
                </c:pt>
                <c:pt idx="2">
                  <c:v>0.1348</c:v>
                </c:pt>
                <c:pt idx="3">
                  <c:v>0.0814</c:v>
                </c:pt>
                <c:pt idx="4">
                  <c:v>0.0524</c:v>
                </c:pt>
              </c:numCache>
            </c:numRef>
          </c:xVal>
          <c:yVal>
            <c:numRef>
              <c:f>Sheet1!$B$2:$B$6</c:f>
              <c:numCache>
                <c:formatCode>General</c:formatCode>
                <c:ptCount val="5"/>
                <c:pt idx="0">
                  <c:v>0.5086</c:v>
                </c:pt>
                <c:pt idx="1">
                  <c:v>0.482</c:v>
                </c:pt>
                <c:pt idx="2">
                  <c:v>0.4491</c:v>
                </c:pt>
                <c:pt idx="3">
                  <c:v>0.4508</c:v>
                </c:pt>
                <c:pt idx="4">
                  <c:v>0.4446</c:v>
                </c:pt>
              </c:numCache>
            </c:numRef>
          </c:yVal>
          <c:bubbleSize>
            <c:numRef>
              <c:f>Sheet1!$C$2:$C$6</c:f>
              <c:numCache>
                <c:formatCode>General</c:formatCode>
                <c:ptCount val="5"/>
                <c:pt idx="0">
                  <c:v>1603.5833333333333</c:v>
                </c:pt>
                <c:pt idx="1">
                  <c:v>2556.3571428571427</c:v>
                </c:pt>
                <c:pt idx="2">
                  <c:v>2045.0</c:v>
                </c:pt>
                <c:pt idx="3">
                  <c:v>4890.927272727272</c:v>
                </c:pt>
                <c:pt idx="4">
                  <c:v>2986.0</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4F3C67B-924C-4E11-9E06-533D5A34B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E367C2E-9AFE-45B7-8C33-C9992ED6D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0C95AE2-49CF-43BF-8693-BB6E7D0AD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F334CAC-4EA8-4782-B742-B903C4149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FC261AC-34B9-4E7E-A986-A31BC9046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00D669E-D9FA-43E3-89B8-54FFB0A1A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5933A24-8C15-4281-B11D-820B655CC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628ADD3-1DB6-4C85-B04B-286B37B51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870486D-A019-4CDA-A955-AC0B2122A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D8567C9-7448-45A8-B8D6-5FAC5C9F8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09CBC24-91E0-4F7C-A907-016416322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9E81945-E84F-4121-8F25-58B3B9BF0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C532B93-CEAB-4736-A426-BA93F596A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70F32AF-C94E-4038-87F2-33D389AE6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962035D-C205-4298-AE63-3882FC15B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C8B19FB-34C3-454E-9DA7-7D48BA510F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EDA1CED-522F-431D-8A0E-F4985A8EA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E711BB3-BC6C-424A-A5E1-29499E828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E9C4730-8A0F-4256-9BED-6B6035923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4FCA463-CCC1-4F4E-A07F-0C739D46A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24A6151-E279-4DE2-8D7F-5978ED5F2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ADF69D6-7BC9-4CA3-89E2-6FAD976F3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1CEC39E-3D32-4E52-9067-2F39384E2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815DCC2-03BC-4E7A-A564-D8FC4D294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998D858D-F67B-443D-B17D-B0AB35E61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B52D2F8-D765-432D-B5D3-E3EF9B1EE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9ADAF6B-2DF6-427A-9BF8-476FB016E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9373C72-2E9D-4A16-AB82-D0CF1B4EF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D03D026-4D31-4828-B91C-D53DC3B79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8803525-833C-4FA3-8824-CACA2A37D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66392F4-9B51-4057-BF4F-58DC537F0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16FF2E2-DFBB-4719-8F5D-1DCB4B9F7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9DB06CF-0CF7-4976-BA88-46733C839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1652941-3302-4E56-AA19-0373BE02BA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4AF323A-2AD8-47CA-9977-B18F40E3E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B36C2F4-3C64-4FE3-A502-23364218DD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318B2C4-22CC-4C86-843D-6AE9B03FD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7FD3049-DFBA-4D50-9713-0850DC3D1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6A01C26-157F-4B07-BB82-3EA220B38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E7A0C27-39CC-4952-AB0C-6CA1FE243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7AF635A-DD9F-4233-BD36-19B717710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8E7A344-B2FB-47DA-A4A2-9CD174796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BF705DD-CD1A-4412-B9AC-84E727BDC0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659CBA2-FC4A-4A54-8B57-58FDD0E9B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2EDB453-C382-4E78-A129-F3A2A639B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21A48CB-31E9-4825-B98A-91D908DFC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40EDCDF-38E0-4633-83BC-F797FF337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C165E09-3977-466D-8A8E-AB1766477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47A58CC-2F53-4E60-9046-71EFCA1E1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6453B1E-E199-4705-96A9-15C2FCA41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72C7ECD-B977-444A-8C1C-DAD9AB19E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F882917-0314-4D00-9F14-FE2D769E0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4F40CB52-0A38-4CC5-A2F5-7E90048F6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61CBF77-4262-40C2-B759-DDE728DE9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2C8E610-6C34-4C90-94CA-395762228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485102E-577B-4059-8BBA-C28FF6E42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F11B169-9017-43F9-99A5-AF40821A8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0989</c:v>
                </c:pt>
              </c:numCache>
            </c:numRef>
          </c:xVal>
          <c:yVal>
            <c:numRef>
              <c:f>Sheet1!$B$2:$B$2</c:f>
              <c:numCache>
                <c:formatCode>General</c:formatCode>
                <c:ptCount val="1"/>
                <c:pt idx="0">
                  <c:v>0.4524</c:v>
                </c:pt>
              </c:numCache>
            </c:numRef>
          </c:yVal>
          <c:bubbleSize>
            <c:numRef>
              <c:f>Sheet1!$C$2:$C$2</c:f>
              <c:numCache>
                <c:formatCode>General</c:formatCode>
                <c:ptCount val="1"/>
                <c:pt idx="0">
                  <c:v>192.4651162790697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E09A842-DB2B-4315-8FAE-31729D98D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DEEACFB-47ED-455D-99E3-BAF12C795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782D59B-9AB4-4D0E-9281-FFBD4CBA1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F53C929-E8E3-41AA-97BB-827F51211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8212AE5-B288-4105-80AA-312C7E450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E527F34-45DD-4AEB-9FC9-33F7FE2D0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9D15A57-AE69-4B6A-AF87-4F57D3BF8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8AAB567-6CBE-4503-9ACB-79DAD1491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95BFD9F-E058-417C-87C0-01FC67707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54C277D-9EA3-49DC-A3B0-2012110C7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7234E49-949D-4D20-B2A7-F74CACCA1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82A6668-3C2C-4037-8910-11CB57DD7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140A4B6-F4AE-40C5-BAC7-B087CB09E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5FD98F6-DB7C-4C7E-871D-EF1D243A0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32C7867-02C1-46D8-8A8F-41E6CD249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A00A310-CB9E-4C49-ADC8-7AE7B12B9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D6B50D6-BBCA-4083-B577-BDC4D102F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32A8D71-1E15-49C3-A1BA-389BDA660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A1FEC77-86B0-4EEF-8987-E67721C62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8BAA737-08F6-4C78-B72E-505C30775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08F7E31-7666-41A0-93EC-4BF4BF369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0EB3DEF-9595-466B-A1A3-DBAF478385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D823A13-F26D-4174-8FE5-660B8AE12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54CE7BA-CEC5-4B32-B39F-8FCCB11C9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5E38D29-C13D-44EB-B568-FDA50BB995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824A4FF-45C9-4194-9F4A-9685ECC54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3A1EB24-B4D7-4237-9A7E-480447F9F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4678037-512B-4360-A19F-3436673BC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4C70881-0742-4EF0-A273-BA29300F6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1B0AD0EC-2501-4BAD-8DA4-0C9268739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483ECAB-C696-4F57-9F3B-FD1D74531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2B96743-0828-4B94-BCB6-49BCD019F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927148B-B71A-4D54-AFE2-00D98CE13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9B366C74-FF60-4D87-951B-91D610E64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B730BA8-D419-4A2D-9FD3-089838E63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5A66C44-9E05-456A-BD7D-4F4B6FD8A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0927568-411C-4958-B9BA-7F8628FF5C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3EAD4877-723E-45DB-A545-4656B8A1CE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EC092DC-CAE9-431A-B77D-5ABEA472A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3FCF8736-E1A6-49EF-9BD2-F26FD8029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A314B4C3-8D03-403F-B6F0-6BED794D9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139BC2D1-7FDA-4BEC-B93C-CDAD604CF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3ECB95F-267C-4AF0-A30C-1DF176016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AE47A21-2A9C-46A4-9316-99239A6EE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DB28BF4-131A-4329-A99D-20C174E91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A596EB2-E746-4971-BDC1-7CEEBCE96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FA9E732-41B9-491B-89B6-70CFA5EE7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B8F793F-FD92-46CA-BBFF-35885BCF1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9F6AFD83-3778-4593-ABA9-0F903B210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6FB7F36-EDEF-4CFA-951B-4C6E3CD1A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E91DD75-F392-4B6E-895C-8626E3E85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C92064E-EEC8-453A-B2FA-86F94DF01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C9D6811-A5C3-4074-A089-55DA9B8BF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9779C44-3F58-40E3-9BF6-3E8D4878D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4598EF0-7884-4D32-A217-B00DEBFCF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6A95630-932A-4CA4-89CC-6F576D2D8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645C442-D936-460D-9548-B3BD07E8F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1051</c:v>
                </c:pt>
                <c:pt idx="1">
                  <c:v>0.1236</c:v>
                </c:pt>
                <c:pt idx="2">
                  <c:v>0.0966</c:v>
                </c:pt>
                <c:pt idx="3">
                  <c:v>0.2121</c:v>
                </c:pt>
              </c:numCache>
            </c:numRef>
          </c:xVal>
          <c:yVal>
            <c:numRef>
              <c:f>Sheet1!$B$2:$B$5</c:f>
              <c:numCache>
                <c:formatCode>General</c:formatCode>
                <c:ptCount val="4"/>
                <c:pt idx="0">
                  <c:v>0.5086</c:v>
                </c:pt>
                <c:pt idx="1">
                  <c:v>0.4826</c:v>
                </c:pt>
                <c:pt idx="2">
                  <c:v>0.4508</c:v>
                </c:pt>
                <c:pt idx="3">
                  <c:v>0.464</c:v>
                </c:pt>
              </c:numCache>
            </c:numRef>
          </c:yVal>
          <c:bubbleSize>
            <c:numRef>
              <c:f>Sheet1!$C$2:$C$5</c:f>
              <c:numCache>
                <c:formatCode>General</c:formatCode>
                <c:ptCount val="4"/>
                <c:pt idx="0">
                  <c:v>93.03030303030303</c:v>
                </c:pt>
                <c:pt idx="1">
                  <c:v>181.44444444444446</c:v>
                </c:pt>
                <c:pt idx="2">
                  <c:v>265.6666666666667</c:v>
                </c:pt>
                <c:pt idx="3">
                  <c:v>106.2105263157894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05C454A-F998-471D-BFBF-FDB2F0B86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1F22658-33EF-4210-AA32-69D39C6F2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CB649C6-6ADD-4618-B0AA-E7BDBD31B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30504CB-E7AC-4A46-BA45-808848DA1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737AA95-E9DE-4F9A-828C-44127EBC7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1291072-9180-41BC-BDCF-3F6BBBB31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2B82232-DB1B-448F-99AC-1EA3D8830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8065A1C-72DA-49E0-A6C6-502D3F660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408324F-7241-41FE-BB73-0D87FC198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6417A12-772C-4F8E-9C0F-7CC481242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D3A51E4-42A1-4726-A20C-3780E7719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776CA71-09F8-40F2-BCB8-4862025B7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DA94E2A-F1CE-4510-B8B4-F5D94E15D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8BD4E70-70C4-49C5-BE76-00C367D6B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E8FA55A-DE3F-4AE8-8CC1-CBBE1C0FB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FA635F8-7A2A-489C-B952-4FD94DE15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C7211DC-1544-4969-892E-748EE55F5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6F1BA80-4E31-4634-B98E-5E5C21FFC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1FA5910-5FD0-4794-B2FC-90124FF8A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28DD47B-6C74-4C0A-8CDF-6434CB09F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D628BCC-D526-4E22-B6F8-152C8047C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124FDCE8-21BC-4C51-AB2C-27323B1C5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6CF428A-7707-400F-837E-E8AE4D998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548DFF4-83D3-4F47-A53F-F91E60DDF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29DB2D9-0393-497A-A685-E68F99CBC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B7B454D-7560-4451-A698-5E14C1C93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1F0ACD6-DE41-466C-9A8B-4D7413F33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1CE46FE-16E2-4E26-BD5F-3DBF3FB0A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C627DA6-4124-43E3-B64D-D0B51DEA7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6873931-5AED-4C9F-B616-E2342933B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35E8580-2074-489A-8718-EA3B2D807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BF08512-0FA8-498C-AC76-D81C27E62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2D6A1EA-19AA-4E4A-B1CF-976CF842F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4E5C1E3-BF94-4779-8597-4000DF5B1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810143E-4624-46A6-8883-9C87FA8ED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52BBA67-2BA8-4AE0-B16D-9BB6B1FCF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5C4CE20-61E6-4B75-BB2C-9B1FFE88E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72C2C26-B91C-4B9B-ADAA-748A48FC4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49C10C1-D666-450A-8AB8-0D4458F633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A5F1753-0ECB-4CA2-A237-FFBE9EA56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CAF06A16-7756-4CE4-B4B1-63CE5857E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94A03F7-0397-467A-9692-DE4B4F9CD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4C5E30A-4C19-4306-A6D0-05759028C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7319278-F193-4919-BFD5-EF12CAF08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8719F41-D04F-4A40-9AFC-11F1B65C5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B8DFEE5-4526-400A-AFCD-220FE86FF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B7D8EF2-366C-4006-8EE5-B06FAF530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C2D96F0-3693-4E3B-B2CA-BC18BEDA1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C0234C8-A102-4F52-A6C8-545F7E114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59387DD-87BC-4505-9F28-374905EEA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1F8E8B2-9102-41B3-8DAA-09F3DE6E0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49C1C13-3E4C-42C6-9C4B-97353C335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0F19BD2-AD84-4DD1-A468-DCB479874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4342A01-3D8F-4F87-BDEE-F8FBBD2B4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4D8EA04-4BCD-4851-B779-D2983CBB1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90C4EEE-1B4A-43A9-9627-5AFD9C5CC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8EE8C27-1338-479D-896A-A85738153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1099</c:v>
                </c:pt>
                <c:pt idx="1">
                  <c:v>0.0969</c:v>
                </c:pt>
              </c:numCache>
            </c:numRef>
          </c:xVal>
          <c:yVal>
            <c:numRef>
              <c:f>Sheet1!$B$2:$B$3</c:f>
              <c:numCache>
                <c:formatCode>General</c:formatCode>
                <c:ptCount val="2"/>
                <c:pt idx="0">
                  <c:v>0.4843</c:v>
                </c:pt>
                <c:pt idx="1">
                  <c:v>0.4513</c:v>
                </c:pt>
              </c:numCache>
            </c:numRef>
          </c:yVal>
          <c:bubbleSize>
            <c:numRef>
              <c:f>Sheet1!$C$2:$C$3</c:f>
              <c:numCache>
                <c:formatCode>General</c:formatCode>
                <c:ptCount val="2"/>
                <c:pt idx="0">
                  <c:v>91.3125</c:v>
                </c:pt>
                <c:pt idx="1">
                  <c:v>157.6964285714285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E24460A-0FCA-4D56-8A82-CB0103EA2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D23374C-3877-4D74-A3CF-F701933D4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8B9A0BD-09D9-4CE2-B43A-E2C24E96E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D6E3AEA-E33A-4AAD-94AA-5F64A34C5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549832E-E650-4579-A774-4555F78A8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2D8DC73-9470-4B44-97DD-767F2C195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BD84B56-9B29-4F67-B01F-E0D37807F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9E26E13-A6FE-4890-9173-484F96C56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0D1C603-FE9F-41B4-BB2C-F46E3F025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BF19FEC-8026-4B14-AE4F-C0A652864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1B2DACF-B6AF-4495-BB78-7CE4B7939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AFFFCDB-81D8-4530-836E-E1537C2E6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EB483B4-B24E-4B3C-B84C-95D885E02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8933A14-7596-448C-BD09-D857295B0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1609AAC-B789-449E-B451-3330E66A1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DC2C204-FCA9-4A6F-A55F-A0CF92D68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FB737A1-9A0D-4B19-B9A6-EBEF5C86A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62BF39F-E26E-43CA-B573-8B312DDDE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9F5E1BF-FFE2-4B21-83DE-4D10F5279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E0ADAC0D-8464-4394-99F6-BE32AF8C0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B4980CD-C938-4DEC-B8BB-1D8A1F861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8E0AAB3-EC6C-4AB6-9803-7B6FF54F0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80CD9BD-F0E8-4B43-A1FE-7D8C5A2E5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C90431C-7B40-41F7-B4A8-E338C3D78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185BEC3-989F-41C5-93F3-8EEFDF69AC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27B7319-8FEE-4B10-9520-CC617DB76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4A3FF89-7DC6-434A-BB89-2343E201A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933ED30-7870-45DD-9629-8DCB46CE0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2E84258-5DEA-460E-8487-65FDD8006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C49FE07-9F22-483B-8B4F-A18AF43AD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9686F22-BF36-45AF-A1EE-4C58E3194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FDF5BD9-7241-45CE-9C18-00978FBF3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251C518-3AD1-45C5-9B39-1757D536A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D707442-CEA1-422C-A00E-98C6DCD45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BAD4037-FAAF-4F31-95EB-31B6B8A1E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4964DB7-DFA0-45C2-8427-FDD45DB08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C69EC4A-CC5C-4236-9913-85EE997BD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2FA75E3-3087-492D-8A86-56A620463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3AC5993-8362-49F7-9A8F-61C755D47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1311968-E40E-4463-ABE1-06AC24F53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F41BCB7-2FFF-4E43-A654-F7DCC1B80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160BFC8-0C95-463D-ABAF-B06C0C2B5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80618E5-2D25-4FFA-9898-B6901198B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19C3753-1331-4A00-AA60-3F482259D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14282F4-87AD-4912-944A-AEFB51C97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FA2643B-2256-47E1-A419-47AA484F2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49C0767-694F-4046-8554-135ED726E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5411C44-E5C0-4E11-B5A5-43DAB9B4E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28F1347-1367-4108-A564-E23FBD627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1C0A2C1-E469-4B0B-9D99-4F1A31933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1C7A3F0-7EF9-4B87-AB40-B7315CAB1F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94C3C8A-4A9F-4FB4-AA4E-E1A3EB3FA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5EDE7B5-6B20-43E5-873F-AC2CA9086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1C568D8-988E-409C-8C8D-51B7C1FA9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2A95E52-822C-4F13-BF1E-B5514E203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FF3CF7F-83D4-4C9B-BB6D-ABC61286D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BC85166-4220-466B-B87D-AE031A105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0934</c:v>
                </c:pt>
                <c:pt idx="1">
                  <c:v>0.1007</c:v>
                </c:pt>
                <c:pt idx="2">
                  <c:v>0.0833</c:v>
                </c:pt>
                <c:pt idx="3">
                  <c:v>0.0978</c:v>
                </c:pt>
              </c:numCache>
            </c:numRef>
          </c:xVal>
          <c:yVal>
            <c:numRef>
              <c:f>Sheet1!$B$2:$B$5</c:f>
              <c:numCache>
                <c:formatCode>General</c:formatCode>
                <c:ptCount val="4"/>
                <c:pt idx="0">
                  <c:v>0.5086</c:v>
                </c:pt>
                <c:pt idx="1">
                  <c:v>0.4792</c:v>
                </c:pt>
                <c:pt idx="2">
                  <c:v>0.451</c:v>
                </c:pt>
                <c:pt idx="3">
                  <c:v>0.4285</c:v>
                </c:pt>
              </c:numCache>
            </c:numRef>
          </c:yVal>
          <c:bubbleSize>
            <c:numRef>
              <c:f>Sheet1!$C$2:$C$5</c:f>
              <c:numCache>
                <c:formatCode>General</c:formatCode>
                <c:ptCount val="4"/>
                <c:pt idx="0">
                  <c:v>226.33333333333334</c:v>
                </c:pt>
                <c:pt idx="1">
                  <c:v>456.8421052631579</c:v>
                </c:pt>
                <c:pt idx="2">
                  <c:v>791.8985507246376</c:v>
                </c:pt>
                <c:pt idx="3">
                  <c:v>578.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338F059-39B4-4C04-9385-4FF84E09F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38761BC-6202-451C-A528-A1CEF4AE6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4EACB90-F4E2-4A7F-A061-CB547BAD7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74F1100-7AE8-41CF-AB53-438B4C6C7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4F1536F-BA26-4615-B507-D0F33FABF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F669307-FC1D-4707-833D-8CD7D71D4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8D7E718-3671-48D5-BC0D-75418E689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3B34BBB-3F32-45C3-9D42-B11853767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20E3861-4F4D-409E-BA5B-12AD6D172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722F6FC-150D-4E7F-A614-7BFAD0D71E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08BA46F-C1E5-477A-AD7C-9F0CC01E3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5F2EF7C-C7B2-4506-8596-EF3BB58BD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348C83F-8F0F-4247-96B3-FFECB3515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318C17A-62BE-4CD5-B725-45F689D0B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7E27B0E-E6AA-4B6C-BA47-7CEDCD212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85E6F0F-4DC7-451A-82D0-606D2A7107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5791CF0-28F4-464A-9FE0-FC71E22E4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D07899E-F6C6-4A1A-880E-C15C1E421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E1D18C5-3377-4173-B190-02650FA79F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F7EA8AB-9507-4539-8603-DCFC776AA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1896910-260F-4794-A97C-2871B0B46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65BC026-0D84-4E4A-8772-439B05500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0ACAFD8-5180-4E6B-A5F5-7176C91FC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F691024-CED2-4F5E-BCB3-9DFEC6FF0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798AA6B-DC67-4CEA-B8CE-AD0816D5C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95E2ACE6-9358-49B7-8F85-48E7286602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3F2F9B2-8B99-4C72-A5E6-A2DF46645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6399F15-BA40-4C1E-9343-42DE590F1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FABB31E-2EAF-4754-869D-425AFA3A7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AAE24C5-80D0-4DBA-B851-662111563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2A7FCCE-B35D-48F9-B73D-1DD6ECDD1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E428067-D905-4CF9-9C6D-E6039D438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11376F6-2D73-4540-9916-23E2846E0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E01DD29-605F-4F80-B054-82D21799CC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30403AA-8576-4693-8144-09AECD437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9A19E62-B6A4-469F-A02E-13F420D59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BE7D6E6-31A1-4CEE-BDFD-9B0B8778A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C789225-A72E-42E9-9735-37B8ED9B9A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A2AB110-6D80-45BB-904F-679D263CAD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142DCD8-39F6-4E04-B951-37D7DB0E9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A000EFF-7178-45D5-97BD-A6344F170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2CF1169-E120-4E55-8B72-8DDF8C24B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CEC9660-91EC-4016-8FAD-0BE721F8D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AD09D59-0A6D-4FCD-A5D4-165037664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545ACF0-0D08-456F-B484-A189D08E8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80CA8CC-5C51-4C21-A5B9-2E297626D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D18E3EE-7863-4AF2-8256-76FE5046A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0050801-609D-497E-B206-A7C078222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6EF035E-0D5B-4C91-954A-9A16755EE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D1376A4-994E-4A1E-BC1F-9AB5571CF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C6AC30E-B711-4A8C-9521-A41F4C8ED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59A84D1C-5C20-443C-911C-5FDC6C554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B7A9A4B-2604-4D50-99E7-585BEF9C1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45155A3-40EC-4EE0-A909-0DA71D253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E271678-A3D8-43D3-B23B-BB336CC12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D1BCF97-47D4-4E79-B5FD-95F26DC7F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2C2A315-3D9A-49BB-9240-AE4F111A6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0908</c:v>
                </c:pt>
                <c:pt idx="1">
                  <c:v>0.0933</c:v>
                </c:pt>
                <c:pt idx="2">
                  <c:v>0.0867</c:v>
                </c:pt>
                <c:pt idx="3">
                  <c:v>0.1168</c:v>
                </c:pt>
              </c:numCache>
            </c:numRef>
          </c:xVal>
          <c:yVal>
            <c:numRef>
              <c:f>Sheet1!$B$2:$B$5</c:f>
              <c:numCache>
                <c:formatCode>General</c:formatCode>
                <c:ptCount val="4"/>
                <c:pt idx="0">
                  <c:v>0.5086</c:v>
                </c:pt>
                <c:pt idx="1">
                  <c:v>0.485</c:v>
                </c:pt>
                <c:pt idx="2">
                  <c:v>0.4513</c:v>
                </c:pt>
                <c:pt idx="3">
                  <c:v>0.4556</c:v>
                </c:pt>
              </c:numCache>
            </c:numRef>
          </c:yVal>
          <c:bubbleSize>
            <c:numRef>
              <c:f>Sheet1!$C$2:$C$5</c:f>
              <c:numCache>
                <c:formatCode>General</c:formatCode>
                <c:ptCount val="4"/>
                <c:pt idx="0">
                  <c:v>653.5333333333333</c:v>
                </c:pt>
                <c:pt idx="1">
                  <c:v>1009.75</c:v>
                </c:pt>
                <c:pt idx="2">
                  <c:v>1265.2941176470588</c:v>
                </c:pt>
                <c:pt idx="3">
                  <c:v>1255.666666666666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156ED9D-5973-4378-9874-24BDC07D0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7085A1F-FEAF-459F-BB27-30350D567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2D7ACAC-BDAD-4EB2-8236-9BE55BDD3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8C4B301-AE86-4AB7-9C32-F55302BE65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67E7E4D-3361-4105-9FA1-DAF268CB2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AA743CD-9A5A-4886-8FE2-C7B758DA0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2DED019-60B6-4069-951A-4C70E3D94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6C2734B-6CB3-44D2-9986-10FDBD44D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D294CDC-2458-43E8-9BFC-B85BC2EAE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99187BA-46A3-475A-AB2E-6849F4C66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F6DDF3C-6871-49A0-A022-47602D6D9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8C1D4E4-9C6A-4648-AFFF-8B9FD130E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8A5CD18-59AA-48B7-813E-FB526FF58B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BBF5E54-CD76-4249-ABDC-4387AE6A7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883E361-198D-45F1-AC5A-C111EF105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9D05795-E114-4186-93A1-22CEF9B8F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051CAF5-332B-4924-BCFA-204CB8DEB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0D121865-7665-41A9-B482-211EDBECB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422FDFF-654C-463F-8D43-E97D39134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0ADEFDB-1683-4A49-A1C6-A08A12677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7D43088-CC4D-4A98-807B-3928B027D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02DA4F5-6E77-4A89-A2C1-7D14CA0DD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4D0EF71-7EEE-422D-8302-0B7B07854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7969E8C-F36E-4556-903F-6F2875ED5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E0DBB59-B59B-49A3-952C-C9EDB913B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35C6D3C-FC39-49F3-8CDF-340AFF223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FDBE9C8-2276-4263-8B10-B5FA0E334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74F1DDC-2BFB-4A05-8982-A92814029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823005A-6BBA-4985-8C09-C5F7D749C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2089966-781C-4132-B442-7769231AC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1A9DABF-88F0-428C-8976-80CECE020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0AF59CF-0CD3-49C1-AB35-2D8F4331A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B5B96C2-4D8A-41E4-8070-855769245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91F4FAF2-F321-4C4B-80EA-97D6CBD8C7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FDE68C4-E00F-4E4F-95B0-E6C245DEE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EA2458A-6CDF-46FC-862F-E1F3174D7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E7A0EF0-7D09-4706-A37E-6065D37A6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F14D9FE-3968-4B5F-BD34-06EC681FE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0D90367D-090A-44E4-BB94-CB561678F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371BBD8-EA90-4D73-9495-8F8355FDC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D114BF2-E452-4197-B891-2FAB592BE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14564AA-3B3D-46DA-95B7-BE1B72905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6E7E42D-E2E3-4CE7-8861-AF8297CF4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97008C9-8031-4C60-94E5-BB4D030AC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0D5F385-3D7F-4D06-99A1-59103E7BD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409B095-067F-4302-B060-3AAFF9FBF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8C7F96F-40CD-4831-8CF0-16621E228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14F428D-A86F-40BA-AB66-57A4F28D5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92462CB-F0B6-4130-A0B4-F9C969A0E4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893998B-FE5C-4199-8FED-86396E06B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3B41DFF-27AB-4D14-B780-D4D6BF375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8D4406C-D3BB-4897-846E-3B09FB0422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7C30CF5-CB55-4C0A-85B9-9CDF5EA28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97C6D80-2CA6-494D-9BD1-4F2F050C7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50EFCB1-966F-43FD-ACC1-46125489F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E136CD1-D013-4780-856F-AA47804FD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9FF88D5-DDDD-41AD-9288-1B50D8809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0003</c:v>
                </c:pt>
                <c:pt idx="1">
                  <c:v>-0.0544</c:v>
                </c:pt>
                <c:pt idx="2">
                  <c:v>0.1119</c:v>
                </c:pt>
                <c:pt idx="3">
                  <c:v>0.0105</c:v>
                </c:pt>
                <c:pt idx="4">
                  <c:v>0.0318</c:v>
                </c:pt>
                <c:pt idx="5">
                  <c:v>0.0375</c:v>
                </c:pt>
                <c:pt idx="6">
                  <c:v>0.0502</c:v>
                </c:pt>
              </c:numCache>
            </c:numRef>
          </c:xVal>
          <c:yVal>
            <c:numRef>
              <c:f>Sheet1!$B$2:$B$8</c:f>
              <c:numCache>
                <c:formatCode>General</c:formatCode>
                <c:ptCount val="7"/>
                <c:pt idx="0">
                  <c:v>0.2842</c:v>
                </c:pt>
                <c:pt idx="1">
                  <c:v>0.4507</c:v>
                </c:pt>
                <c:pt idx="2">
                  <c:v>0.4528</c:v>
                </c:pt>
                <c:pt idx="3">
                  <c:v>0.4492</c:v>
                </c:pt>
                <c:pt idx="4">
                  <c:v>0.5104</c:v>
                </c:pt>
                <c:pt idx="5">
                  <c:v>0.212</c:v>
                </c:pt>
                <c:pt idx="6">
                  <c:v>0.4382</c:v>
                </c:pt>
              </c:numCache>
            </c:numRef>
          </c:yVal>
          <c:bubbleSize>
            <c:numRef>
              <c:f>Sheet1!$C$2:$C$8</c:f>
              <c:numCache>
                <c:formatCode>General</c:formatCode>
                <c:ptCount val="7"/>
                <c:pt idx="0">
                  <c:v>784.0833333333334</c:v>
                </c:pt>
                <c:pt idx="1">
                  <c:v>775.1621621621622</c:v>
                </c:pt>
                <c:pt idx="2">
                  <c:v>840.2727272727273</c:v>
                </c:pt>
                <c:pt idx="3">
                  <c:v>759.5714285714284</c:v>
                </c:pt>
                <c:pt idx="4">
                  <c:v>680.5</c:v>
                </c:pt>
                <c:pt idx="5">
                  <c:v>8910.333333333334</c:v>
                </c:pt>
                <c:pt idx="6">
                  <c:v>339.7272727272727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9BC1E3A-3E23-4F99-9E34-C1EB20A9B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3B22923-BC50-47F2-A4E3-8F70A2A67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286AEBC-DDEE-41BA-BEAD-D8E998C44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BD75FBC-A4A4-418D-A538-AA12434C4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A986A02-DB9E-4E37-A07D-389A2659E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C3353D5-31B3-4768-A934-2B2965DAF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4A2FAB1-8E29-415A-84A2-FE5803537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EC559C4-A545-4EE3-94E0-DA7CEB48B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B266168-59E8-46A9-93B5-FD843DA947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D2D0A71-FEC0-4EBE-A060-95173B1D3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30BAA70-3CC6-4F3A-A053-18A9FAD4D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7F57538-E4FC-465C-9A0F-08853241E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27AD294-608E-4B44-BA4B-CAF96B49B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2C2740B-43F2-4076-9C12-561DF7F4E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3B8A0AB-F305-40D1-91AC-68C6FDC14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FBF145A-130A-475D-983F-259ADAC1B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32680CF-DA68-41AD-8E71-84ED1CF7E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EFA63C1-D81C-4579-9786-42D2A9A94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DD5705F-836C-4930-8420-DB22A8C4B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E3BCE61D-FE0C-41BD-A729-10A202B7D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04C01668-80E0-4ADA-A25E-5EE359630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E65629B-550E-4358-BF52-EE4FC9C48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BBA456F-8797-4A54-B8AA-4713A9B7F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1707F5B-6F5B-4B57-BE0A-1A7AA435A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F9955281-9538-4444-A655-23580ECD7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6A7628C-3988-490F-ACAE-2C412F4E7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D908A67-D1C8-4090-AFE0-E47E5AB9A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2E372BD-8A57-4AA4-A8FB-A3C10A403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AD758E4-FB5F-4ABB-B08E-5FCB40B5E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5AFAC28-4E51-453D-B787-FA124A904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F364A8A-FAE2-4E16-8A8A-81D776E22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1537869-1972-4E85-9001-4934664EC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2EABB64-7906-474E-993F-4B0B660DC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BAFD495-2C69-4DD5-8326-AA2801745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6E83D7F-448A-4198-A598-5D1D02442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C28C435-B12A-4DC2-8365-CF8B8DE3C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BCB9135-CA90-40DC-BE6D-BAC6FB932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422B2F7-6D7D-4D84-A82E-10F1B151D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42EB7EE-6B63-47CA-8DEB-2CB329C49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CB1F8F6-1360-4238-B626-6B0A863B8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9F781BC-F380-4126-98AE-727063FA3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796CCA5-DF62-4276-8773-959E100AA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F4102B3-C48F-4EEB-961C-A41C7B850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770D542F-F6A7-4D34-AD17-CB7C1F0E6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78F9F56-8835-42FC-9BED-28F1607E8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748FA251-9A74-4661-8A26-1FC6F7174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997CB90-85B9-455D-A84D-5704C6E57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1473700-2570-41E1-9562-59CEA785E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FB5BC4D-7C84-48E6-BF6E-C35DFFD00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0512E14-7183-44A2-900D-C5F1F5256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A4E3FF3-4479-44C9-93B3-C3ACCDF3B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8F4BDA02-3833-4C99-8CCD-44CC54596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EE34178-6CCE-40AB-BB73-4C2B8D668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ACDE821-9AC7-4E75-8AE4-89E44E790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4A6964E-E896-4956-A382-95B4EB96A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29222A4-85E9-44F2-8A71-1D9543F2D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0A897BD-EDA1-40B1-9A17-097D008C0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0143</c:v>
                </c:pt>
                <c:pt idx="1">
                  <c:v>-0.024</c:v>
                </c:pt>
                <c:pt idx="2">
                  <c:v>0.1159</c:v>
                </c:pt>
                <c:pt idx="3">
                  <c:v>0.0135</c:v>
                </c:pt>
                <c:pt idx="4">
                  <c:v>0.0364</c:v>
                </c:pt>
                <c:pt idx="5">
                  <c:v>0.0408</c:v>
                </c:pt>
                <c:pt idx="6">
                  <c:v>0.0821</c:v>
                </c:pt>
              </c:numCache>
            </c:numRef>
          </c:xVal>
          <c:yVal>
            <c:numRef>
              <c:f>Sheet1!$B$2:$B$8</c:f>
              <c:numCache>
                <c:formatCode>General</c:formatCode>
                <c:ptCount val="7"/>
                <c:pt idx="0">
                  <c:v>0.2844</c:v>
                </c:pt>
                <c:pt idx="1">
                  <c:v>0.451</c:v>
                </c:pt>
                <c:pt idx="2">
                  <c:v>0.4528</c:v>
                </c:pt>
                <c:pt idx="3">
                  <c:v>0.4492</c:v>
                </c:pt>
                <c:pt idx="4">
                  <c:v>0.5115</c:v>
                </c:pt>
                <c:pt idx="5">
                  <c:v>0.2119</c:v>
                </c:pt>
                <c:pt idx="6">
                  <c:v>0.4382</c:v>
                </c:pt>
              </c:numCache>
            </c:numRef>
          </c:yVal>
          <c:bubbleSize>
            <c:numRef>
              <c:f>Sheet1!$C$2:$C$8</c:f>
              <c:numCache>
                <c:formatCode>General</c:formatCode>
                <c:ptCount val="7"/>
                <c:pt idx="0">
                  <c:v>3678.779527559055</c:v>
                </c:pt>
                <c:pt idx="1">
                  <c:v>3148.787483702738</c:v>
                </c:pt>
                <c:pt idx="2">
                  <c:v>1560.5508474576272</c:v>
                </c:pt>
                <c:pt idx="3">
                  <c:v>3041.15</c:v>
                </c:pt>
                <c:pt idx="4">
                  <c:v>2524.742268041237</c:v>
                </c:pt>
                <c:pt idx="5">
                  <c:v>41115.46092184369</c:v>
                </c:pt>
                <c:pt idx="6">
                  <c:v>1050.0</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EFFDD33-E356-4876-8DB9-59C6F2542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DDF3AEC-CDEB-4358-A86C-7CC987624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FE17E03-2172-46A4-A900-DD56A4269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6590729-2F03-4384-958B-C82CF2D86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6836AF4-E15D-4083-88F9-C511AA16C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F3F9080-5392-499A-B095-FF7A987CB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1345F06-32FD-41F3-8962-0D02B2042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937AD50-408A-43FF-9FAE-61E0A1475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73DF03D-4E8D-4704-9366-57BB6586A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1F5667D-8362-4288-A51C-86986CBA2D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B80B8DC-A6C0-44B6-88B2-68BAEA5BB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D7E2F6C-11A9-418B-81E4-C43F12668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1A0C557-87B6-4B68-ACC0-6F20DD7D0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9217803-4CF3-44FB-9712-F1B4B1FF6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5167865D-9C09-4A72-939D-DF5BA48A3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816448F-A01A-4E54-A34E-036BA86C5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8DF2CCE-7934-4A88-BB51-99FB78807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D689D0A-0263-46A6-B78A-C6998DAB0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101978C-54A2-4F73-ACF8-0FA697F65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156312E-15F9-4214-86CE-66B3D18B6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9B6F48C-E6D4-42E1-8E69-8A3AE9E22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05BA386-34BA-4E21-965C-633EFE148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EA515CD-78E4-4C4C-8823-0303FB13A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19A056D-052F-4CE0-9CC4-BF31BA793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E324363-098D-4B3B-AACF-CE6AB1943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75CDB4C-0EAB-4677-ADB2-DD103BDE0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C0E3C44-72CE-4AA4-8C2E-2B8F71B65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BFDC6D6-B91B-4F65-B017-ABB3B469B9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FDE77B4-F9BD-42AC-A4E7-ACCEB937A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4863202-319D-4686-9BCD-E06FB9D8B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C76BAB7-8DDF-41AC-9428-79A7BDD6F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757A60A-BD75-4666-90DF-1CE9C8D782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86F9EF4-7594-4C0B-A459-4BEEFF49B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9FF7F2E-C9B7-4D0F-BBC2-8F10BCAB2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DE7AD29-E77F-40F4-B7D5-E7D070B25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C38DC1A-0281-47DB-AB89-68822F7CB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E7D0CAA-4259-44F7-BECA-46F77E603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386C575-16EB-4563-828C-38D90B9FC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A851A8A-D405-42D7-8A60-E0711BBA5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00DF511-852B-408D-8E2B-1859DB23E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2FE434F-E65A-4937-BFB4-701686302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4CB858F-85B7-4A7A-B0AE-15F44F451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E1BC507-BE52-4E89-80D9-A8FE7B809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423BEC7-EC1D-442D-A167-F8C54B261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D5693CA-6971-497C-820C-E893EEF02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4B2E7DE-31A0-4108-A348-049F12F1F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0E6B30C-AE30-4612-8D0C-74077CF12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D432DC3-C384-4A64-9D5A-68A3644AC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15C8BB4C-456C-4F78-93D4-340D32D7F5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B437332C-E60D-46E3-94E9-B12DDC3BB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27C097C-BBE6-4C4D-8921-5E3C69018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12CFDC7-D89A-4C73-8AB1-9C705558B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B11E232-D8DF-40A2-A7FD-A566DF55A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A0A86C70-50CC-47A1-8FE2-4EBF3CBA9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935D3B8-B7F3-42C9-ADA1-EB05F55AD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C0387A0-8051-439A-B8F0-72AC005D5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CC670C7-43A0-49DC-A9FF-387119609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0226</c:v>
                </c:pt>
                <c:pt idx="1">
                  <c:v>0.0077</c:v>
                </c:pt>
                <c:pt idx="2">
                  <c:v>0.1325</c:v>
                </c:pt>
                <c:pt idx="3">
                  <c:v>0.0165</c:v>
                </c:pt>
                <c:pt idx="4">
                  <c:v>0.0325</c:v>
                </c:pt>
                <c:pt idx="5">
                  <c:v>0.0429</c:v>
                </c:pt>
              </c:numCache>
            </c:numRef>
          </c:xVal>
          <c:yVal>
            <c:numRef>
              <c:f>Sheet1!$B$2:$B$7</c:f>
              <c:numCache>
                <c:formatCode>General</c:formatCode>
                <c:ptCount val="6"/>
                <c:pt idx="0">
                  <c:v>0.2841</c:v>
                </c:pt>
                <c:pt idx="1">
                  <c:v>0.4523</c:v>
                </c:pt>
                <c:pt idx="2">
                  <c:v>0.4528</c:v>
                </c:pt>
                <c:pt idx="3">
                  <c:v>0.4492</c:v>
                </c:pt>
                <c:pt idx="4">
                  <c:v>0.5161</c:v>
                </c:pt>
                <c:pt idx="5">
                  <c:v>0.2119</c:v>
                </c:pt>
              </c:numCache>
            </c:numRef>
          </c:yVal>
          <c:bubbleSize>
            <c:numRef>
              <c:f>Sheet1!$C$2:$C$7</c:f>
              <c:numCache>
                <c:formatCode>General</c:formatCode>
                <c:ptCount val="6"/>
                <c:pt idx="0">
                  <c:v>337.32142857142856</c:v>
                </c:pt>
                <c:pt idx="1">
                  <c:v>280.97402597402595</c:v>
                </c:pt>
                <c:pt idx="2">
                  <c:v>243.1578947368421</c:v>
                </c:pt>
                <c:pt idx="3">
                  <c:v>315.4</c:v>
                </c:pt>
                <c:pt idx="4">
                  <c:v>281.55102040816325</c:v>
                </c:pt>
                <c:pt idx="5">
                  <c:v>4501.02</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6AB6A69-35C6-4C3A-B5C9-54AF0D42F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0097507-FB44-4102-BC04-3E676F118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BF0867E-352A-494E-97ED-81DAA549B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8071D9A-6949-45B9-BECE-A58AABDB0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E2BBAAB-1CF9-4DA7-9BC7-CCA1066C1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08B210F-69E0-45CB-90F8-D3E50D9A0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7AF8DD9-906C-458C-B407-63FAFA856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9607D88-DF87-460D-9D59-01C3FF15D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2.5726</c:v>
                </c:pt>
                <c:pt idx="1">
                  <c:v>44.4029</c:v>
                </c:pt>
                <c:pt idx="2">
                  <c:v>22.7262</c:v>
                </c:pt>
              </c:numCache>
            </c:numRef>
          </c:xVal>
          <c:yVal>
            <c:numRef>
              <c:f>Sheet1!$B$2:$B$4</c:f>
              <c:numCache>
                <c:formatCode>General</c:formatCode>
                <c:ptCount val="3"/>
                <c:pt idx="0">
                  <c:v>0.4138</c:v>
                </c:pt>
                <c:pt idx="1">
                  <c:v>0.3888</c:v>
                </c:pt>
                <c:pt idx="2">
                  <c:v>0.523</c:v>
                </c:pt>
              </c:numCache>
            </c:numRef>
          </c:yVal>
          <c:bubbleSize>
            <c:numRef>
              <c:f>Sheet1!$C$2:$C$4</c:f>
              <c:numCache>
                <c:formatCode>General</c:formatCode>
                <c:ptCount val="3"/>
                <c:pt idx="0">
                  <c:v>162437.6235</c:v>
                </c:pt>
                <c:pt idx="1">
                  <c:v>1301359.3504000034</c:v>
                </c:pt>
                <c:pt idx="2">
                  <c:v>10749.482900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3.283480000000004"/>
          <c:min val="10.058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9253234845691026"/>
        <c:crossBetween val="midCat"/>
      </c:valAx>
      <c:valAx>
        <c:axId val="1011451359"/>
        <c:scaling>
          <c:orientation val="minMax"/>
          <c:max val="0.9875999999999999"/>
          <c:min val="0.07103999999999999"/>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0.7384162000139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4F60B92-67D1-4CF3-9718-D46D9C304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B014932-64A0-473E-8C13-669DA1A4A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725F493-7785-45AF-AC4E-5B016B918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630021A-2CB4-4C7F-85E3-CEB175767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A4ECD46-914E-4064-A48B-D431F71D7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345E369-08C4-41B1-BFB1-F109AE497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58EB503-73CA-4E82-9EA0-15377DE94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FEF549A-865C-45B5-B1A6-22E9AC25F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16D1A2F-766A-41DB-86C2-862FA7419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8B5E8F8-40BB-4B04-AD88-CF15A7DA0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AD1A270-BC21-408C-AD63-186952EA2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ECCC243-D153-426F-91CC-037346766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C2D95E0-B13D-485C-B49C-111A3C3A1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BB5596A-8FD8-439E-97F3-206E19F24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A11CBD0-B545-46AF-9105-54F14C2534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00C49ED-FB30-42EB-AD72-D4941C314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F5347BE-E30A-473D-B34B-6E72C70BB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C007724-86AB-444D-92C8-FF824F95E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451571C-7663-459B-8F87-86B0CBB50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93F7123-7071-41D5-A59F-AF43C8497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616138E-4394-4C6C-95FB-5173DFD55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BEB0C0D-0A2C-44E2-813A-83B207E68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A461A31-B98B-4F53-A055-F3A65BB0D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3290C79-B455-4552-8DB9-1C959E21B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E5B83A9-82D4-443A-B65D-C890BA85B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9E0FB87-0CE2-4F34-83C4-230F4E2DE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99D8D51-3BBF-4C82-837F-248EF34F3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EE79827-5469-4712-A347-C4ECBBFFD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C2917B2-F08E-4824-9C0F-485668B4A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024568A-4619-48C1-844C-592267F6A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2825D5D-B044-42D3-887E-74C35FF89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F35410D0-517B-44A9-91E3-E91833EE1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D9FD01B-75DE-48E2-A843-5E5E506DE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AE638C9-17D3-4472-966B-C035193F4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E7C36DF4-25AC-4B33-98EE-239CAF0D7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DDD2FFB2-C9E0-4E0F-A6EB-E75D20676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901F6BB-5292-4582-8AC4-AB798DEE7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D99C3B2-3EEC-4A2E-BC14-68E877E5B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3860257-0253-4A19-892D-B82065125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9EBB358-BFE1-4DB6-8906-84BBDCA6A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110CF4D-8D27-42CA-9C10-A567A65F1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25D232C-BD8A-4E94-B380-084A59B1A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2590A92-7263-4C54-977A-4B8335EB4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E0ABCA2-6044-4099-B4E8-652AFD1CD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04411DB-B34E-44BD-92BA-69858AC5D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7ECFC313-813A-408E-8FDE-17716CAFD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8898ED1-A077-411F-9A30-1CEC38D2E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6C5EFB3-689D-4CEA-AAB8-43AD0D745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B80D936-61D5-4C03-A55B-B110C171B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B08EAE7-A45F-49EB-AB43-CD15C9760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7228BBC-6C43-4C38-975F-59525553E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F8574D3-EFAB-4C5A-9F6E-62ADD4E44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8C3065C-1FF4-4E52-AF39-B425C3E2A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918E2BA-5DF4-4BA3-8FF7-2B852E9CA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3ECFE88-A75F-4FF2-BB69-79BDE10BB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BE5A141-29C8-4781-B74A-EA683117D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EB67046-3D1D-41E4-9B66-26CED4249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0411</c:v>
                </c:pt>
                <c:pt idx="1">
                  <c:v>0.0257</c:v>
                </c:pt>
                <c:pt idx="2">
                  <c:v>0.0373</c:v>
                </c:pt>
                <c:pt idx="3">
                  <c:v>0.0359</c:v>
                </c:pt>
                <c:pt idx="4">
                  <c:v>0.0431</c:v>
                </c:pt>
              </c:numCache>
            </c:numRef>
          </c:xVal>
          <c:yVal>
            <c:numRef>
              <c:f>Sheet1!$B$2:$B$6</c:f>
              <c:numCache>
                <c:formatCode>General</c:formatCode>
                <c:ptCount val="5"/>
                <c:pt idx="0">
                  <c:v>0.2834</c:v>
                </c:pt>
                <c:pt idx="1">
                  <c:v>0.4508</c:v>
                </c:pt>
                <c:pt idx="2">
                  <c:v>0.4492</c:v>
                </c:pt>
                <c:pt idx="3">
                  <c:v>0.5153</c:v>
                </c:pt>
                <c:pt idx="4">
                  <c:v>0.2115</c:v>
                </c:pt>
              </c:numCache>
            </c:numRef>
          </c:yVal>
          <c:bubbleSize>
            <c:numRef>
              <c:f>Sheet1!$C$2:$C$6</c:f>
              <c:numCache>
                <c:formatCode>General</c:formatCode>
                <c:ptCount val="5"/>
                <c:pt idx="0">
                  <c:v>193.99999999999997</c:v>
                </c:pt>
                <c:pt idx="1">
                  <c:v>169.55</c:v>
                </c:pt>
                <c:pt idx="2">
                  <c:v>280.6666666666667</c:v>
                </c:pt>
                <c:pt idx="3">
                  <c:v>136.1860465116279</c:v>
                </c:pt>
                <c:pt idx="4">
                  <c:v>2484.32</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8CBCFD2-CF17-4105-BAB5-D401CCC95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94E86BD-68C9-4CB2-8573-A477E89DD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E62D843-940A-4EA9-A11D-CFCC36BC7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C873326-19B9-4849-A6F4-B2FC4A113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0EC4424-0816-4311-A5F9-1AD8AE8A8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EC17321-43E7-40A8-A0F3-0D54EA300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BED14DB7-2685-410B-8D96-C91DDD3F3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9CF0942-047C-4BB4-8CD4-76E9ECB55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F5980BF-8979-4B14-81F0-8C3EEE395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3A15F97-51C5-449B-BEEA-133419EED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E86FBAA-6F58-4E79-AD13-083033AB3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9AA461B-5948-4928-880F-B9AFE165B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31EE7D8-7BE1-454E-97B6-06220C67C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E15B664-FCAC-4399-B1C3-F6128A2D6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AFF3A01-98AA-490D-98DE-FECAA0663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F948005-32DB-4834-820D-91E5D67ED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6C96B1C-F9A4-46E2-8274-9B50FA98E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E510B21-D37C-44F7-B83D-E2C844311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3610AEA-5762-4C12-8720-C4626CC20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7A14B04A-7FE1-4637-A8A7-6507B7333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4AE1125-C242-422D-BF88-99A2FA7FF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ADF2610-3915-4AF8-A4B2-16B7E51F5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D9C31A9-A69F-4331-85F2-3ADA826FA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5C8534B-CCE1-42F4-9170-8E912652B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61EECCD-58CB-4B4B-8D9A-564DAB934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CA5DE46-B865-4FA0-B8C7-53E3B666C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B3E27EA-C728-4075-866E-73E37D118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E6BDF15-0BF8-4845-84FB-3C048EBCC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27D7BB7-F6BF-4439-B49B-FE3A7FF7D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95C0B6B-9743-4F4F-94DB-7317C7BAF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A4F2830-991C-41BD-8302-0B17C9A69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015831E-B107-42F6-943D-37E8B39F0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5DA6363-2BF1-498B-B60C-C20AA1844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3F42D93-CFA1-472B-8DA7-77F382177A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23D9E40-A464-4600-92B4-A649D6390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EC03726-CFBB-44E9-87FE-40FC99A1F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7A1FF22-70DF-4244-9D74-3E9B3E19F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9B857A3-7B42-4D3B-AC94-A171A6DC0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3F144FF-F5E3-48EE-9E80-6BC87DD1A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5E74A33-113C-46AB-8E3A-801A5DF81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07174A3-49B9-4D1E-ACC4-FC5C949AA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A3468A6-2C0A-4E72-82AC-1174BD944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1164CCA-4E1D-4BEF-8F0F-FE2DEC274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46735BF-4135-4150-965A-3F9C2EEE0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CED4F9C-A247-40F0-BF38-AF2879BD2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FB325DF-9101-41B1-A91D-5CA486345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A011634-6C82-4ADA-86AC-C7D90F601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340BC61-4275-4B62-9F54-4C6CBDAE6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3C2FB1B-727C-4C27-980E-E9A5F6CB8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993C52B-6248-49C5-9DBC-FDA8B16BB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06240229-19A9-444D-8047-EAEDBC4E4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AABAB79-7F89-4359-ADE1-2D119AB92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830FA8A-7ED0-4E2E-83FA-550F7B83F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FCB03C4-EF57-4B4F-AF84-7E6E2937D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486BAAC-265A-442B-BD25-1D1C966D2D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D9D487B-AE3E-4CB4-8CC4-8AA8EBB90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77314A5-D1D0-4367-9DEA-5A5C2B16D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0427</c:v>
                </c:pt>
                <c:pt idx="1">
                  <c:v>0.0044</c:v>
                </c:pt>
                <c:pt idx="2">
                  <c:v>0.0811</c:v>
                </c:pt>
                <c:pt idx="3">
                  <c:v>0.04</c:v>
                </c:pt>
              </c:numCache>
            </c:numRef>
          </c:xVal>
          <c:yVal>
            <c:numRef>
              <c:f>Sheet1!$B$2:$B$5</c:f>
              <c:numCache>
                <c:formatCode>General</c:formatCode>
                <c:ptCount val="4"/>
                <c:pt idx="0">
                  <c:v>0.2848</c:v>
                </c:pt>
                <c:pt idx="1">
                  <c:v>0.4509</c:v>
                </c:pt>
                <c:pt idx="2">
                  <c:v>0.5038</c:v>
                </c:pt>
                <c:pt idx="3">
                  <c:v>0.2125</c:v>
                </c:pt>
              </c:numCache>
            </c:numRef>
          </c:yVal>
          <c:bubbleSize>
            <c:numRef>
              <c:f>Sheet1!$C$2:$C$5</c:f>
              <c:numCache>
                <c:formatCode>General</c:formatCode>
                <c:ptCount val="4"/>
                <c:pt idx="0">
                  <c:v>117.4</c:v>
                </c:pt>
                <c:pt idx="1">
                  <c:v>134.71052631578948</c:v>
                </c:pt>
                <c:pt idx="2">
                  <c:v>38.91803278688525</c:v>
                </c:pt>
                <c:pt idx="3">
                  <c:v>1744.5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334CDE1-3C3D-4121-9A23-A6EF1CC53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F85FE69-97CF-4A5F-91E7-3EF5D2A23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9480018-CED9-407C-BCC8-AE4CB6399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B58D1EC-C2E3-43E8-9F1E-B2BA34158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082D531-E0C6-4818-86BB-9F7B13BA1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6657132-4145-4886-ACF6-6BA88180C3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E9929A9-66D9-4CEE-A069-878489D40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D14FAF7-D285-4526-A656-E8D11DC7E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D746581-EEA3-49F7-8EE5-4594EE9FC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40A718C-17A5-41D5-BE42-0F777A73E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C4FA520-9302-48BA-BBE5-B5A561822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634E999-01DB-4DCF-954A-56D4A3EDE9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8B8815B3-B369-48A6-91B9-37A5F862A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69638FA-F568-4FE7-92D6-4AB492CB2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1A77DBB-AF46-4A33-B654-C61A14553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AE09633-E045-47FC-A26F-518664AE2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C1FF9E1-3F66-4F6F-9282-C6FDB5113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4655C33-9AB4-49F5-9FBE-05913E819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9708EFB-3988-4942-B091-1E6553B91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2317657-FD4F-41D0-A527-33B0D5974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592F336-2481-42BF-B105-E9B11EFCA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FC30EBE-5D32-4DA8-801D-269E8E50B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7567CD1-7174-4468-915C-B2BF56CDF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6909A66-F1CC-48B6-8961-DF383003E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9173EA3-CBAA-4362-9147-1B7DC4E29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4CBD773-FAEA-4E7D-A0C4-5335E6674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B8A310B-439C-4D99-9372-E20305AED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1CD30AF-BB52-42BA-8C39-7008CE4D7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DBE55C9-743B-4625-9192-6679087452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758E8CF4-67A7-4764-A8BD-55003B7ABA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3C2BF4E-2C03-4894-B480-28954973C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B0EA860-85E9-4236-8C5F-BD29B1B7D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858F7D2-C5B9-4798-93BE-52CDE5C8A0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593F1EA-9532-4A45-A7C0-742B76ECD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B72598D-BBFE-455A-B1FF-20683D5B2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DA5B74B-596F-4A26-AF8E-662BDF536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1F7821A-F5D7-475B-8132-61EA88475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A555E81-2F83-43FC-A9E0-996C40B2E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0E46608-0076-484C-B43C-117E5FE7B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7E4C858-A0DA-40C9-9B9D-D0DC118FB7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7E6C2BF-6E8C-4E70-AA61-2EA30145F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5EDC285-21FF-47D3-BE07-01B015867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ACD401D-D960-40CA-B1CD-661DFC440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42BFD00-C0AE-4AEC-B8B2-F845646B2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4ECC1A02-24B8-4CA2-9EE1-2E3DA98016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683BEA1A-5B95-4251-9306-B14F96CBD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11C35AE-7D32-4C66-B7F3-84D3B957D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193158E-C4BD-4208-82F3-DB79B012A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685494B-0216-4E1D-8231-F93A65382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92CC01A3-3ECD-4458-88C6-5B970C1BF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B734235-6353-4301-B93D-1FC95311D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D5EF909-AAA6-46FA-8E5A-FAB7BA081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8702D91-2FEC-48F9-9B3D-EA7997306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7A42474-3586-41EF-A718-391975C69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F5213D3-ED13-4AE0-AB8B-D93BDD7DB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6E5E6C7-64B6-4FFA-9D2F-14B525A03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D8073E3-2AEB-42C1-ABAD-68F3D1224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0041</c:v>
                </c:pt>
                <c:pt idx="1">
                  <c:v>-0.0366</c:v>
                </c:pt>
                <c:pt idx="2">
                  <c:v>0.0983</c:v>
                </c:pt>
                <c:pt idx="3">
                  <c:v>-0.0037</c:v>
                </c:pt>
                <c:pt idx="4">
                  <c:v>0.0262</c:v>
                </c:pt>
                <c:pt idx="5">
                  <c:v>0.0424</c:v>
                </c:pt>
                <c:pt idx="6">
                  <c:v>0.0568</c:v>
                </c:pt>
              </c:numCache>
            </c:numRef>
          </c:xVal>
          <c:yVal>
            <c:numRef>
              <c:f>Sheet1!$B$2:$B$8</c:f>
              <c:numCache>
                <c:formatCode>General</c:formatCode>
                <c:ptCount val="7"/>
                <c:pt idx="0">
                  <c:v>0.2839</c:v>
                </c:pt>
                <c:pt idx="1">
                  <c:v>0.4509</c:v>
                </c:pt>
                <c:pt idx="2">
                  <c:v>0.4528</c:v>
                </c:pt>
                <c:pt idx="3">
                  <c:v>0.4492</c:v>
                </c:pt>
                <c:pt idx="4">
                  <c:v>0.5132</c:v>
                </c:pt>
                <c:pt idx="5">
                  <c:v>0.2116</c:v>
                </c:pt>
                <c:pt idx="6">
                  <c:v>0.4382</c:v>
                </c:pt>
              </c:numCache>
            </c:numRef>
          </c:yVal>
          <c:bubbleSize>
            <c:numRef>
              <c:f>Sheet1!$C$2:$C$8</c:f>
              <c:numCache>
                <c:formatCode>General</c:formatCode>
                <c:ptCount val="7"/>
                <c:pt idx="0">
                  <c:v>3170.375</c:v>
                </c:pt>
                <c:pt idx="1">
                  <c:v>2029.1923076923076</c:v>
                </c:pt>
                <c:pt idx="2">
                  <c:v>1121.388888888889</c:v>
                </c:pt>
                <c:pt idx="3">
                  <c:v>2824.0666666666666</c:v>
                </c:pt>
                <c:pt idx="4">
                  <c:v>2088.78125</c:v>
                </c:pt>
                <c:pt idx="5">
                  <c:v>27681.21212121212</c:v>
                </c:pt>
                <c:pt idx="6">
                  <c:v>879.1818181818181</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20919F7-7724-44D5-81F9-F4B6DCB52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AD6EBBA-CCDB-400E-8E84-61AF10608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AA703EF-327F-4A86-BD87-8A1532BF6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0A54681-6457-4876-89F5-AA217EDBE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7E3AAD4-BF1B-44F7-9ED2-436D56A4C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0A98896-98DA-40D8-A29C-7C9F17909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799E5F1-DF89-4BB3-85DD-17956F496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8B6E7AF-2463-44F7-93F4-A4B809CFB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5D3737C-60E8-4D81-BF8B-C63650B24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7719A9A-5FB3-4C75-BF9F-39163E326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B5F9D87-E9A3-43BC-935E-5CBAF12B9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4C87746-49E9-4233-9615-E35B71588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5E7DE9D-07BD-4916-927D-49DA79166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48E0B7B-BF2A-4702-8B39-FFB8D26B2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1A8EAC4-C9D5-4CAB-9BB5-8EB40DDCF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7887206-41E4-49D6-922D-B6BBD5AC0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0E9E15B-66DD-4374-AABD-33900FBED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6FFED6C-EF95-498C-B154-E0533E521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BDDA508-F582-4984-AB3F-03CF14054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D3B33F0-4672-48D5-B201-1CF7185FD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C01CD65-8B7A-430E-9B3F-9C6ECFCD5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FF32225-1B30-44C0-B9D7-4EAC92DAA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B1A7F9BE-84AA-4AE1-AC9E-770A8175E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8009F00-BBC1-41F9-B4A2-4016075F0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616AFB9-DE84-4CB9-8746-DEF7E822F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4BAA978-1D2C-4AB8-9D38-13340D202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70FCDA8-7DC7-4452-B1BA-EC1123255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BC9BC8A-C33B-4D7A-BE44-D75D85613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7E719E4-413F-4950-8696-883396AF5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1BF7C17-7456-4029-AC05-45C3AB7D6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D46AD96-8D11-4B5D-875E-DD3BC88BF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B3306BE-B6E3-4B7F-B681-21511BA9C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D7DC20A-9CC1-47C0-97FC-82C299ABE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9D68156-E502-49E7-B331-40D2BB5FE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ACEBB20-D6BA-438A-A150-5D7DAF054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79E299F-A3F4-44E9-8C32-1A83786F4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60FC256-700C-4EEA-8366-8803F61339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924BFB7-0508-46B7-AE97-9CF964C1F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9ABC53B-842A-4852-BC5C-4820B0DF1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546FA4E-4AA0-4918-89B9-9199384B8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B3ABE77B-A5C3-4014-801A-0A7432EDD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9D7ED3D-FF54-44F8-80AB-056E0CD84B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A8FA32C-84DF-474E-80F0-CB6B978E2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7A43592-E919-4629-A814-62BE7F562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BA1CE22-D947-4830-AD2E-1387FAA36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0DE007D9-F0AA-4EC5-884D-C3D24AC47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59E5FD0-3333-4701-BFA2-404DD4232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61F2C98-5D84-46E0-9DA3-F758392A2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26DB45B-D17F-4B59-A910-53FD4195B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2DC5EB6-F890-424D-A09C-5B0CF23B7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A6FECF7-C4DE-4AB3-950A-4F2223D95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FB04937-C1A5-4BEB-9AC8-9E86BB66D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50B64D3-32CB-4A2F-861D-6D919E2F2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C052FB9-EC08-451C-95FE-07AA84E2C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A848671-547D-4C25-953C-BE5ACEDF2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B073582-2F35-4022-9E13-E089F3175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C7B087C-6104-4A1E-B979-9994E5958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0139</c:v>
                </c:pt>
                <c:pt idx="1">
                  <c:v>0.0196</c:v>
                </c:pt>
                <c:pt idx="2">
                  <c:v>0.1247</c:v>
                </c:pt>
                <c:pt idx="3">
                  <c:v>0.0319</c:v>
                </c:pt>
                <c:pt idx="4">
                  <c:v>0.0431</c:v>
                </c:pt>
                <c:pt idx="5">
                  <c:v>0.0382</c:v>
                </c:pt>
              </c:numCache>
            </c:numRef>
          </c:xVal>
          <c:yVal>
            <c:numRef>
              <c:f>Sheet1!$B$2:$B$7</c:f>
              <c:numCache>
                <c:formatCode>General</c:formatCode>
                <c:ptCount val="6"/>
                <c:pt idx="0">
                  <c:v>0.2851</c:v>
                </c:pt>
                <c:pt idx="1">
                  <c:v>0.4519</c:v>
                </c:pt>
                <c:pt idx="2">
                  <c:v>0.4528</c:v>
                </c:pt>
                <c:pt idx="3">
                  <c:v>0.4492</c:v>
                </c:pt>
                <c:pt idx="4">
                  <c:v>0.5084</c:v>
                </c:pt>
                <c:pt idx="5">
                  <c:v>0.2127</c:v>
                </c:pt>
              </c:numCache>
            </c:numRef>
          </c:yVal>
          <c:bubbleSize>
            <c:numRef>
              <c:f>Sheet1!$C$2:$C$7</c:f>
              <c:numCache>
                <c:formatCode>General</c:formatCode>
                <c:ptCount val="6"/>
                <c:pt idx="0">
                  <c:v>383.1025641025641</c:v>
                </c:pt>
                <c:pt idx="1">
                  <c:v>284.11538461538464</c:v>
                </c:pt>
                <c:pt idx="2">
                  <c:v>189.34615384615384</c:v>
                </c:pt>
                <c:pt idx="3">
                  <c:v>262.10526315789474</c:v>
                </c:pt>
                <c:pt idx="4">
                  <c:v>210.54545454545453</c:v>
                </c:pt>
                <c:pt idx="5">
                  <c:v>4592.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DFD74BC-0A6B-4EDD-827C-54A88A219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A647AAA-A7A4-4C15-A6C8-8C063478E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9DDC884-23BC-4CCE-9668-FDCB2EC99B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5209571-3C1B-4FA8-86DF-6005F39D1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26525E6-8516-49F3-9971-333555C02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5B7CA30-9F17-4F25-98E7-02B0FEAF6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874F372-2E7D-452E-AEB3-42D16D39A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47B902C-8B3C-4528-B07F-4A33F616F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9889B5C-E9A8-4BD1-8679-86FB8C887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97D401E-CF74-42C1-9504-05F5A5DCC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A2749B9-D31D-4529-BBB3-8C7A9D736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183C345-2AA4-465C-B48F-FDBF8D58C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B84B9F8-7858-4546-AA83-6DE517D00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37D73BF-C368-4189-92F2-6E8291E16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B47C4D1-2E97-4038-8D11-57099F518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FDED8D3-9456-427B-BBB9-601899E86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AE60E03-5433-47DE-A26A-B0EA26B97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D43997E-89D3-4408-95DB-EB28F7C20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844EFB4-1BDE-4318-BEBA-CE18E5602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6D5277F-897F-4B4E-9612-D0DD99B10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F8C384F-A4E6-4F76-A9EF-BA8A54F10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E1D5C37-7B85-4846-8C90-79F9BA899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818ECA6-70ED-4273-8AA8-899A71C63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99EEF0A-02BB-4CDE-9278-566CFECFE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89F60F3-A3AA-45E1-A723-4976F4C57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167DF30-A9B3-4634-8DD3-26819FA70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5FBC29E-2694-4D1E-BD17-233685BF5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C9C36F6-421A-4422-9A9E-69DAB4C07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11527F7-B92F-40CB-B344-57713148E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92E85FA-03EC-4E3C-92D8-E17B23140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32EC2A5-BAFC-4004-A131-C29503BFC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57E42FB-4114-4CEE-ADC0-61603A82E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71DE387-B839-4D72-93AA-F87B5BDB5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AA246C2-D947-4B95-A480-7B278C280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F5BCC67-A1ED-407B-BC64-F037AF5CB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706729F-C419-4EE2-9716-8117066DC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9F198BA-E32E-4F0C-83E5-579F053C2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D7107F1-0838-458D-9191-078026C7B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4D78F19-7112-47EB-AF73-7B9B51191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FC966B09-86CB-461D-8241-555012429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D2A6C36-11DB-4E54-9347-202DC7A1D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02D5F41-2D88-47B8-8624-81D04B343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CBDF900-D124-4E3C-A0B5-8987F8C79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3E0057B-B208-4D91-9C7D-E665E73FA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443A93C-E5A4-4DF2-B26C-F8ADD64A8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5F4BD89-C1AC-4CC2-B2D9-5D6577D3A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0DF1D64-5AAB-4B2D-8823-C044FD41A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0A23BC4-4233-4098-BF0E-F01837911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6640C32-0496-4E5B-99EF-05ADBD5C6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E66CAA3-7DB1-4021-8EE1-5B7E8F517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8E3EDA8-F95E-4847-B36C-91B519542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77ADEFF-7824-4D06-A389-6033B454D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F518231-ED3E-4380-B94B-6CB3352F6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9214FABE-E6FC-424A-9484-3EA24FAEB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F230025-C4CF-4106-BE70-5D419F31E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36C6116-37A2-466B-9CD6-13C5809FD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474FB6C-D859-4478-98C7-FC7F3512E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0533</c:v>
                </c:pt>
                <c:pt idx="1">
                  <c:v>-0.0166</c:v>
                </c:pt>
                <c:pt idx="2">
                  <c:v>0.0751</c:v>
                </c:pt>
                <c:pt idx="3">
                  <c:v>0.0339</c:v>
                </c:pt>
              </c:numCache>
            </c:numRef>
          </c:xVal>
          <c:yVal>
            <c:numRef>
              <c:f>Sheet1!$B$2:$B$5</c:f>
              <c:numCache>
                <c:formatCode>General</c:formatCode>
                <c:ptCount val="4"/>
                <c:pt idx="0">
                  <c:v>0.286</c:v>
                </c:pt>
                <c:pt idx="1">
                  <c:v>0.4507</c:v>
                </c:pt>
                <c:pt idx="2">
                  <c:v>0.5063</c:v>
                </c:pt>
                <c:pt idx="3">
                  <c:v>0.2129</c:v>
                </c:pt>
              </c:numCache>
            </c:numRef>
          </c:yVal>
          <c:bubbleSize>
            <c:numRef>
              <c:f>Sheet1!$C$2:$C$5</c:f>
              <c:numCache>
                <c:formatCode>General</c:formatCode>
                <c:ptCount val="4"/>
                <c:pt idx="0">
                  <c:v>92.72222222222223</c:v>
                </c:pt>
                <c:pt idx="1">
                  <c:v>128.18072289156626</c:v>
                </c:pt>
                <c:pt idx="2">
                  <c:v>73.23529411764706</c:v>
                </c:pt>
                <c:pt idx="3">
                  <c:v>1647.1</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1E86DA4-A401-4190-A2DE-EB1E53DD7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FD68426-671B-4468-B27C-01F2CB2D1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BFD1408-8BC9-4A00-9FC8-561B2976D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C686D2A-8335-468E-A272-55376532C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03D5CBD-FAA4-4A11-8E9D-35EBAC0AC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8F225BC-61F1-4E55-9B39-DC45286D2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DAA35EF-64CF-4734-B847-FD1C68188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5FC45D9-48F7-4516-9D9C-D6ABB363A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4B8A839-1C32-4318-834E-376A9B4C3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B83D250-34A2-46C6-B5B9-DD15830C9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B75A4B1-EF5A-432B-A8B2-F111CF118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999710C-5AED-44EB-B0B6-B0B88592E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BB66C9E-5750-461E-B2A5-4E04E73F3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693F204-C6AE-43E9-9CF4-D0824D99A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240DE43-967E-4F4B-A58A-D42940A28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5D4C0B4-F260-43DA-A12B-28103A4F0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744C4FB-0430-4856-97E1-47E560D96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CA0690B-4FD9-460E-9B65-5B8F1F3DF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2E0C835-CDCE-41D9-AE1D-5FB4C0978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C479CB1-3090-46F7-9ABA-3DFC5D28E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38CD3D5-DA2C-4B50-90F7-BA56D1BAA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DA22C3D-C920-4422-937D-C5746CADB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6101BBD-B029-493E-B0F5-B46A33C4C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01956EB-C3F4-4193-8271-74CD1D083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918143C-207E-4C07-8235-6E2B34D28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BE644A6A-3C87-429F-9E1F-882E6A29D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C97C32C-F47F-4D2A-ACE9-08B1EE70B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19CC35E-C920-45F1-A6F4-C11867BD48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82087A0-BFA3-4A2B-BDD3-A199EA314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5E25479-FFB2-4836-B2BA-60431E465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05BF8FF-1868-412C-9023-A53CEE641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1729C6A-BDFB-44A4-B152-C7985CB01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A26E100-5DF3-42C5-8B3F-2BAC1FA9E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8A01148-99C6-4AE8-A259-8C0888CE3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5743183-CCD7-45A3-A65A-077169EE5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3AE0AEE-53E3-40FF-B100-BCC92AFF0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D3CFC613-403B-48A6-A62A-2EB0E2687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2B9658A-21C9-4977-88E4-D198EA8434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33D94CB-EB8B-4BC7-A8E9-12FD87FD3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E72532C1-4194-4C95-8281-7D46A7F96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4E80ECC-EE6D-4DEC-B445-BB73E1471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AA7BC3F-6E66-4362-8B59-EA8F27109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95932C8D-9C46-4588-A6F7-567B705CA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734230E-0A5C-44DB-AE24-7C3F24252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2369C56-66D5-4F25-9CB9-914303967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44668CB-49E3-45A8-A4B2-86D853D5B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BAA5FE2C-8D3A-4E66-A081-1AE48605D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42192BD-FA8F-46EA-9FC3-8FDE2535D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D5219E5-185C-46C4-AED7-EAB7FE554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87C0118-B0BB-45B4-A2B3-5751DED8EF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496E4EB0-086C-41B4-8D2E-1D3781FC2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1AECEDFB-D7BC-4820-9B10-AC667CC87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5E67DCA-93EC-4111-ACCE-147B11456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A43C619E-2971-4E2D-B024-89911E5E5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D301861-80F5-4F02-A1B6-06AA08DC8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F455973-1F0F-44F3-B3C0-D606015EC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99EB139-A10F-4AE6-8B42-DA0DD8FEE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0025</c:v>
                </c:pt>
                <c:pt idx="1">
                  <c:v>-0.0277</c:v>
                </c:pt>
                <c:pt idx="2">
                  <c:v>0.1125</c:v>
                </c:pt>
                <c:pt idx="3">
                  <c:v>0.0031</c:v>
                </c:pt>
                <c:pt idx="4">
                  <c:v>0.029</c:v>
                </c:pt>
                <c:pt idx="5">
                  <c:v>0.0386</c:v>
                </c:pt>
              </c:numCache>
            </c:numRef>
          </c:xVal>
          <c:yVal>
            <c:numRef>
              <c:f>Sheet1!$B$2:$B$7</c:f>
              <c:numCache>
                <c:formatCode>General</c:formatCode>
                <c:ptCount val="6"/>
                <c:pt idx="0">
                  <c:v>0.2843</c:v>
                </c:pt>
                <c:pt idx="1">
                  <c:v>0.451</c:v>
                </c:pt>
                <c:pt idx="2">
                  <c:v>0.4528</c:v>
                </c:pt>
                <c:pt idx="3">
                  <c:v>0.4492</c:v>
                </c:pt>
                <c:pt idx="4">
                  <c:v>0.5126</c:v>
                </c:pt>
                <c:pt idx="5">
                  <c:v>0.2119</c:v>
                </c:pt>
              </c:numCache>
            </c:numRef>
          </c:yVal>
          <c:bubbleSize>
            <c:numRef>
              <c:f>Sheet1!$C$2:$C$7</c:f>
              <c:numCache>
                <c:formatCode>General</c:formatCode>
                <c:ptCount val="6"/>
                <c:pt idx="0">
                  <c:v>784.4117647058823</c:v>
                </c:pt>
                <c:pt idx="1">
                  <c:v>757.8333333333334</c:v>
                </c:pt>
                <c:pt idx="2">
                  <c:v>369.25</c:v>
                </c:pt>
                <c:pt idx="3">
                  <c:v>502.89285714285705</c:v>
                </c:pt>
                <c:pt idx="4">
                  <c:v>511.9767441860465</c:v>
                </c:pt>
                <c:pt idx="5">
                  <c:v>10463.09</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9E8B855-0D6C-4066-88BB-1FB57100D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C2D41A9-9A01-4297-A038-9AA951D69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77F82F0-D2F4-4A73-AEEA-AB3FFAC65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BCA8E14-C56F-4781-8A46-10ECC31B8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CD10CB8-822E-40BF-B3C5-FE151723C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56849B3-DAF3-4038-A4D2-A34E75745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2B14AFC-2668-48FD-8699-CB65DC104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4488ACC-FD5B-401B-A632-40671F93A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55192A5-7202-44BA-BC33-D184B6C3B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E6BA744-79EB-4501-89DD-963267203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4DF893D-85DB-41EE-B260-3F77F4E9E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1D5C76B-FE46-4241-8220-EB727EC37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DC86C68-6BF9-467A-AC4C-4534FDC7C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2F87A3C-C27F-4FD3-9147-96ED36A17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0BDB40C-CCB8-492C-A8F0-49084D315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2D38099-BAE3-4EFA-A799-666B5C4F8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A119B93-FF41-470F-95B6-CBF2439D4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AAC56F0-17E3-46DD-8462-FE54DDD1F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2AA08E4-AE0C-4A8E-BE4F-D398E6C33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A941394-E686-41FF-B4D5-52B598020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06ED2F3-428C-4391-A008-AB0FA5995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BFFC364-9013-4FBD-B751-23CF8270F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16346F0-D5EE-4F2B-9621-E00F9B876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BBA8C9D-5D85-44B0-963D-1EEC2B44B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A28AC58-FCA3-40CD-9044-822B024FA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738AC48-DA73-45B4-B3C7-2EA40EC48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2A5AB2F-7489-4D63-98FB-746796E3A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F719CA4-C3AA-4925-BA1E-35C524BE3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CE65D26-827B-439E-810F-F7F48E30C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4739D96-5825-4584-A382-E7110B06D9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C1786E6-CED0-4778-ACB4-C6E46E5DF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291402AA-8A30-46C7-B6C1-BD05F8929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22DAC0B-00E4-4F2B-B627-57DE4FABF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38BC63A-07ED-4A5E-AACE-78B78F52B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DD15083-E99E-453A-9454-B730B1B88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9E37099-1B27-458F-B88F-AF52A73DB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D8BF6FC-FF61-4164-86DE-72F73FD15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FE83B6A-799A-4BD3-81D7-BE90285D0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2C947D6-C2FA-4203-8A1D-FC5BC58EDD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904CB2C-4632-46B2-A386-9D73B602C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F376A36-3566-4737-A94A-579198B76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5DBC6E0-41F3-414B-9C7D-235A78D7A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FB3AF59-047B-483A-986E-DA2FB516E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5C8353B-D2E1-4825-9AA3-554A5611A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BB8CD0F-49D1-43FE-B369-7DE476BED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4DAE7FE-9B8A-4BB9-8D00-848BA47DB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232368F0-41F8-4AC1-948E-7D03BA53D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5E6DC06-ABF5-4B06-A4C5-7B4A6ABF7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0C112BE-8646-4FCB-A423-9E3E8AD3C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BD9CCBC-F10C-4152-8E3C-7A341F632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0787D32-C51D-4996-8AED-D0E93EB947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253D723-4A40-400D-832B-EECD83123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0D01F49-D4B2-4548-BEA7-9DB3BCB3D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4F1A995-70CD-4F30-AE9C-90A2021B0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29FE1FD-D5D3-4D4C-BB25-4DA6A77AB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2FF5DC22-03A1-4128-872A-A296BB92D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87A00F7C-F4E7-465A-AACD-BE4551EBC4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0236</c:v>
                </c:pt>
                <c:pt idx="1">
                  <c:v>-0.0308</c:v>
                </c:pt>
                <c:pt idx="2">
                  <c:v>0.1338</c:v>
                </c:pt>
                <c:pt idx="3">
                  <c:v>0.0142</c:v>
                </c:pt>
                <c:pt idx="4">
                  <c:v>0.0322</c:v>
                </c:pt>
                <c:pt idx="5">
                  <c:v>0.0395</c:v>
                </c:pt>
              </c:numCache>
            </c:numRef>
          </c:xVal>
          <c:yVal>
            <c:numRef>
              <c:f>Sheet1!$B$2:$B$7</c:f>
              <c:numCache>
                <c:formatCode>General</c:formatCode>
                <c:ptCount val="6"/>
                <c:pt idx="0">
                  <c:v>0.2841</c:v>
                </c:pt>
                <c:pt idx="1">
                  <c:v>0.4509</c:v>
                </c:pt>
                <c:pt idx="2">
                  <c:v>0.4528</c:v>
                </c:pt>
                <c:pt idx="3">
                  <c:v>0.4492</c:v>
                </c:pt>
                <c:pt idx="4">
                  <c:v>0.5112</c:v>
                </c:pt>
                <c:pt idx="5">
                  <c:v>0.2118</c:v>
                </c:pt>
              </c:numCache>
            </c:numRef>
          </c:yVal>
          <c:bubbleSize>
            <c:numRef>
              <c:f>Sheet1!$C$2:$C$7</c:f>
              <c:numCache>
                <c:formatCode>General</c:formatCode>
                <c:ptCount val="6"/>
                <c:pt idx="0">
                  <c:v>461.2857142857143</c:v>
                </c:pt>
                <c:pt idx="1">
                  <c:v>361.032967032967</c:v>
                </c:pt>
                <c:pt idx="2">
                  <c:v>409.5833333333333</c:v>
                </c:pt>
                <c:pt idx="3">
                  <c:v>378.9047619047619</c:v>
                </c:pt>
                <c:pt idx="4">
                  <c:v>364.9555555555556</c:v>
                </c:pt>
                <c:pt idx="5">
                  <c:v>6289.3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44A7992-57F5-463B-B9EC-153CA0FDF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8739EC8-7CF1-40B1-87D8-2612680EF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DA9D0CD-3D20-4916-A4A6-AFE5D70AD5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EE7D4FF-7209-4DCE-A8EA-381E8A2D8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E5B1D4E-D643-47F1-BA14-587864325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02B9E7E-7299-4AFF-A27B-E4417BC09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B1F6751-8572-4390-82F8-D4552AD2E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2AEE2F0-CF11-4429-B6FF-9786FD905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0.8073</c:v>
                </c:pt>
                <c:pt idx="1">
                  <c:v>44.1377</c:v>
                </c:pt>
                <c:pt idx="2">
                  <c:v>21.4978</c:v>
                </c:pt>
              </c:numCache>
            </c:numRef>
          </c:xVal>
          <c:yVal>
            <c:numRef>
              <c:f>Sheet1!$B$2:$B$4</c:f>
              <c:numCache>
                <c:formatCode>General</c:formatCode>
                <c:ptCount val="3"/>
                <c:pt idx="0">
                  <c:v>0.5006</c:v>
                </c:pt>
                <c:pt idx="1">
                  <c:v>0.3966</c:v>
                </c:pt>
                <c:pt idx="2">
                  <c:v>0.518</c:v>
                </c:pt>
              </c:numCache>
            </c:numRef>
          </c:yVal>
          <c:bubbleSize>
            <c:numRef>
              <c:f>Sheet1!$C$2:$C$4</c:f>
              <c:numCache>
                <c:formatCode>General</c:formatCode>
                <c:ptCount val="3"/>
                <c:pt idx="0">
                  <c:v>101783.16320000004</c:v>
                </c:pt>
                <c:pt idx="1">
                  <c:v>1499753.3894000005</c:v>
                </c:pt>
                <c:pt idx="2">
                  <c:v>16746.8127000000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2.96524"/>
          <c:min val="8.6458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439746755429373"/>
        <c:crossBetween val="midCat"/>
      </c:valAx>
      <c:valAx>
        <c:axId val="1011451359"/>
        <c:scaling>
          <c:orientation val="minMax"/>
          <c:max val="0.9816"/>
          <c:min val="0.07728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1.8070700321953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0B71623-8513-497D-BC50-0739B18B8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6CA552A-B658-463D-ABEC-E7CD06FF9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2C5B820-8E4D-42B9-8949-3232EF1DC9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7911F36-0E3D-48BA-ABB9-4D132B053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2463B55-DF71-4C6B-9BC6-334B1E4E2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0349917-31C6-4BF2-AB7E-437FAE1F3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59652CC-391D-446B-927F-11A83C308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77421F7-2E73-4689-98CB-CB4B6C09D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6B534C3-6A3E-40EE-9A91-41C13627F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1116DBA-9DCF-4A96-BAE6-8EE80B8B3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4E2DD6F-C9A5-4B82-ABFF-1632700C9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1CAFB7A-AC0F-4E8B-8EEF-619887973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04D393B-E370-415C-8886-BA04FD114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131A619-F935-459A-877F-F1705FC6C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B2D38A3-4CEF-4962-8C89-9DD5FE01A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9B86063-BC85-4049-A818-8F3EA21B7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9781FF3F-5B68-4AED-8B86-52704B1DC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8E9B6FC-9A39-4517-8FC5-9F5684D20C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1E3438D-7725-4974-8ADD-9C933ED7B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14AF9FA-FDA5-484F-8411-7FB71111E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A934BF7-B5FA-4286-9CA2-ADBE4F6BFF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97A46DB-41E6-4C7D-A90D-E84E7C68F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BAF87B5-8389-4439-B91F-AE451F625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0D34537-9783-4541-9092-CD5847661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8650E8D8-54AE-40F8-9ACF-DA2AEC446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DB9DBB7-DA29-49C5-BC10-2615212B2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387774D-72D9-4673-A4B5-5B3220BF7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A4FBA25C-D525-49ED-BA35-E74065BD3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56205C7-B096-4040-82BA-A5D1C4D45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EF6388D-9D97-4A7D-BEAA-0CC680790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E0795D4-C37F-4CE8-A344-D1D212930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485B32C-AB6F-47E2-9B2F-24C4FCCC2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3A304BD-0DEB-4303-9FAA-3C5DC5A4B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D035470-3AC0-4EB1-B265-2DD7B4968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D9D4989-B7DD-4C2F-B83F-96BEBBB8D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36A6AD0-BC67-4613-9279-EF648B318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81A67EE-ACC1-4A55-A0F8-E681073AB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37D5387-3016-411B-92D7-53F105332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8BBA351-0E70-4C60-9E30-46FE1AECF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3904FBB-76D0-47A7-9F2E-3F64E7D3E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42C4EC9F-C94C-4C5A-AF4F-20D9F0BCEE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E90F3FF-880E-4F6F-84F3-9CDD51F6A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63FC842-E061-4877-BB1D-13B8EE71F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6ECD216-48FD-4755-B7AA-20B374247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18BFA34-8E66-4A70-91C1-698B52738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73B12486-30F2-46EA-AB91-F13D062AA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30DDB23-70F2-40B7-90B2-EEC4DD291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FDEA96B-1F51-4564-A4FA-F5ADEAF6F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0293EDE-DEAC-4EFF-B6F8-1CAC5C8CD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6B3BD0D-9DB3-4549-B6BF-9B1757CE2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8F0815E-0DEF-45D1-B6C9-4529E8CE0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4327ED0-1BFD-409A-A135-363CB6332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A4BFEA4-DA4B-4257-96D8-6B145BCD4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3541335-457E-4F5C-8AC7-118378739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CE95EAD-E159-4CD9-90D2-8D3BBEB71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D99D5CA-0CA5-496D-BF4E-70089D9A2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4C3C1EDE-A505-4629-AFEC-5206E1208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0119</c:v>
                </c:pt>
                <c:pt idx="1">
                  <c:v>-0.022</c:v>
                </c:pt>
                <c:pt idx="2">
                  <c:v>0.122</c:v>
                </c:pt>
                <c:pt idx="3">
                  <c:v>0.0105</c:v>
                </c:pt>
                <c:pt idx="4">
                  <c:v>0.0346</c:v>
                </c:pt>
                <c:pt idx="5">
                  <c:v>0.0428</c:v>
                </c:pt>
                <c:pt idx="6">
                  <c:v>0.0433</c:v>
                </c:pt>
              </c:numCache>
            </c:numRef>
          </c:xVal>
          <c:yVal>
            <c:numRef>
              <c:f>Sheet1!$B$2:$B$8</c:f>
              <c:numCache>
                <c:formatCode>General</c:formatCode>
                <c:ptCount val="7"/>
                <c:pt idx="0">
                  <c:v>0.2846</c:v>
                </c:pt>
                <c:pt idx="1">
                  <c:v>0.4509</c:v>
                </c:pt>
                <c:pt idx="2">
                  <c:v>0.4528</c:v>
                </c:pt>
                <c:pt idx="3">
                  <c:v>0.4492</c:v>
                </c:pt>
                <c:pt idx="4">
                  <c:v>0.5111</c:v>
                </c:pt>
                <c:pt idx="5">
                  <c:v>0.2118</c:v>
                </c:pt>
                <c:pt idx="6">
                  <c:v>0.4382</c:v>
                </c:pt>
              </c:numCache>
            </c:numRef>
          </c:yVal>
          <c:bubbleSize>
            <c:numRef>
              <c:f>Sheet1!$C$2:$C$8</c:f>
              <c:numCache>
                <c:formatCode>General</c:formatCode>
                <c:ptCount val="7"/>
                <c:pt idx="0">
                  <c:v>1184.0</c:v>
                </c:pt>
                <c:pt idx="1">
                  <c:v>658.1272727272726</c:v>
                </c:pt>
                <c:pt idx="2">
                  <c:v>1187.8333333333333</c:v>
                </c:pt>
                <c:pt idx="3">
                  <c:v>1202.6</c:v>
                </c:pt>
                <c:pt idx="4">
                  <c:v>800.1818181818181</c:v>
                </c:pt>
                <c:pt idx="5">
                  <c:v>7707.412371134021</c:v>
                </c:pt>
                <c:pt idx="6">
                  <c:v>383.2307692307692</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6277656-601B-4139-B540-AB9DF02C9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35CCEBF1-0F18-4C86-A2ED-47191C8AA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DB2851A-88CF-4EEC-A529-B26673D10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BAF5F72-B963-4115-8FFA-FFA13C864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C219A4F-1861-437D-82A5-3060FBF7E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19232D5-A754-4BDB-8EA9-F9794A04A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B15A804-4F28-4DE5-AE44-006565370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1FABCDF-5EEF-4019-B845-7BDF0F6FF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A2EF069-EA4B-4724-8B45-980D7C6DD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64687A6-B02A-4972-8388-4A4F48885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F063F39-5D6C-4DBE-A6E0-06592B2D5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748B87F-91D5-4397-94F0-D0C23B198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513116C4-A1C5-4509-B14B-144C46260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AAC0A11-AA7F-4A8D-8796-8D8467B06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E43EA0F-4BBC-48EC-9653-FB60E5FFC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9943CC0-96CA-40DB-B3FD-2A7D18446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36F2011-C936-4356-93D9-3F6608A12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135BEF0-726E-4A5A-9ABC-04E909F2F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728E31D-74C6-40CA-97CB-7B9952185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E971D69-A394-4F25-918C-A8FA88732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A866985-500D-45DA-A11D-3903DFA41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BD85DEF-E7CC-49DD-8481-1E9CDC76B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B25B675-F5F7-412C-BDFB-1D19504C7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889AE27-D618-4C6A-BF45-D0474E0FD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08D47A4-6FBC-4607-A696-4D2A5C8CE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FD883FE-2729-4296-A173-18DBC18CD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140E9AB-2A2E-43D7-8997-8FB8BDA51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89464B8E-E8B6-4DF9-831B-9E130BF402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3081638-9981-477C-BBE8-60C27D921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1CCB19A-4A48-4DF1-80CB-5D90C4187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2F66FCC-83FF-4376-9112-87F298BD7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88A3E11-2D69-4783-A557-C604D5DE2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0451F0D-8D00-440B-8623-F6E062B6B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444020A-5972-43CA-A238-CEB13CAE8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7196007-ED8E-4084-9A10-B77AE7D728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EF1ED29-4775-4B1F-B83E-5C15CA42B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B30C7DB-C6EF-49CF-B795-E8B6647DA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EB1B68D-0E43-482D-A668-184E77B9FB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BA256D06-FCBA-4208-9973-E74C885C8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0D45FC4-6A9C-4E9B-BF1C-915459D13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CD69DA5-177F-4A72-B5B8-D6093BBBF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27747EB-EE4A-45E6-B140-96A81CD2D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7F5FDDA7-8917-47D5-A3C4-841168018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F60FE5B-F922-418C-93FC-636EFE54B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7D2ADA8-6D00-4506-A1B7-D22BCD57C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6B235F7-D23E-4D11-AD71-099EACCB3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96EFF82-2B4F-4DD5-9AF6-CBC50E919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57816B8-4308-4591-84FD-AB955DD466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6944F90-1FCA-4AFE-9BF6-1FAAA3721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B3EA004-AEE5-41BC-BBCB-24CE0F13D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1276C2A-DA14-4EE8-8FDC-D28B15F0F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D42C7273-55DC-4095-965F-45AB9DB3D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434B36D-5915-41CB-BFF2-C160E8A1D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F9567025-8CF1-4ACC-8F9E-383F95F92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4A70843-368A-4F0C-8525-E1B4F1E0B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AF7DE07-BFA8-4A7A-9E04-F29E0F386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BC99183-CF52-4014-A63F-5440C74F8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0152</c:v>
                </c:pt>
                <c:pt idx="1">
                  <c:v>-0.0227</c:v>
                </c:pt>
                <c:pt idx="2">
                  <c:v>0.1225</c:v>
                </c:pt>
                <c:pt idx="3">
                  <c:v>0.0089</c:v>
                </c:pt>
                <c:pt idx="4">
                  <c:v>0.0324</c:v>
                </c:pt>
                <c:pt idx="5">
                  <c:v>0.0439</c:v>
                </c:pt>
                <c:pt idx="6">
                  <c:v>0.0508</c:v>
                </c:pt>
              </c:numCache>
            </c:numRef>
          </c:xVal>
          <c:yVal>
            <c:numRef>
              <c:f>Sheet1!$B$2:$B$8</c:f>
              <c:numCache>
                <c:formatCode>General</c:formatCode>
                <c:ptCount val="7"/>
                <c:pt idx="0">
                  <c:v>0.284</c:v>
                </c:pt>
                <c:pt idx="1">
                  <c:v>0.4514</c:v>
                </c:pt>
                <c:pt idx="2">
                  <c:v>0.4528</c:v>
                </c:pt>
                <c:pt idx="3">
                  <c:v>0.4492</c:v>
                </c:pt>
                <c:pt idx="4">
                  <c:v>0.5099</c:v>
                </c:pt>
                <c:pt idx="5">
                  <c:v>0.212</c:v>
                </c:pt>
                <c:pt idx="6">
                  <c:v>0.4382</c:v>
                </c:pt>
              </c:numCache>
            </c:numRef>
          </c:yVal>
          <c:bubbleSize>
            <c:numRef>
              <c:f>Sheet1!$C$2:$C$8</c:f>
              <c:numCache>
                <c:formatCode>General</c:formatCode>
                <c:ptCount val="7"/>
                <c:pt idx="0">
                  <c:v>1152.0666666666666</c:v>
                </c:pt>
                <c:pt idx="1">
                  <c:v>714.1290322580645</c:v>
                </c:pt>
                <c:pt idx="2">
                  <c:v>1150.3333333333333</c:v>
                </c:pt>
                <c:pt idx="3">
                  <c:v>745.8888888888889</c:v>
                </c:pt>
                <c:pt idx="4">
                  <c:v>760.28</c:v>
                </c:pt>
                <c:pt idx="5">
                  <c:v>7373.949494949495</c:v>
                </c:pt>
                <c:pt idx="6">
                  <c:v>254.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0321C0F-08CF-4DE3-B6FD-301A418B2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9B5B716-A793-424C-96A2-38E82B449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0D7D1D7-8C19-4903-B2F8-FCED463EF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710D36A-6497-4EC8-A563-B4D13DFF6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25CFFC5-D218-443F-B47C-1E9A68E33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3F28DBB-EBFD-4D6E-A219-B76C63F41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3753A8E-EAB7-4CE5-8D24-74CA2D613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98D4A37-428C-40C0-B887-E34008132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F66E077-427E-40CB-90F6-51E6A3464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FA01702-88F1-46F4-A5EC-DA1E4FE36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12088FD-D650-4ED4-9AC2-45055EFEE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28DC943-008D-4DEE-ADD9-12F6DB912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F77913F-DB9F-4FE7-A946-E2AA77AC7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647105C-8489-4D98-9E0A-E5243003B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3C61A5A-B677-4ACD-8696-D4E32C94C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B31CF08-4A6C-462E-89F0-A9EB61A49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1EE92A9-984E-40B6-8C6D-134D199C1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16F07CE-CE24-4530-857A-D7638DDC4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F9F01A4-ADA1-46B2-9BB1-6F9780061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1CA19E2-74C4-4715-BC7E-ADD0150D1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6E8D2D7-C602-49CA-99C3-32570743D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259F12A-F0B0-4B24-9452-2EA2DCF63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94AE01B7-D0D4-4E64-AD16-267AA6FBF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9C67B70-3070-448E-A70D-5CE7040A1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FD11E07-BE10-4E44-88AB-FA85CB977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7CFB3E1-2F45-4E16-B955-5AFD5D67F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AFF2290-F863-4148-938D-8A146D43B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A9B443C-1025-4474-BCA7-13B9965E8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6571D8F-6DFE-4014-A38B-83CD377E8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CB8647E-D08E-4C7B-96FC-732E1DA9F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5453C23-6CD5-4AC0-B77C-DE30FC4FF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0856758-B494-4AB4-9E7D-355A9A523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FC8C58A-9E7A-4606-BFAB-3A502D51E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9A1E8498-D5AE-43AD-A1FF-4283BF088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2085E5F-9BD7-45C1-8E37-8E90BD253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1C7C3D0-8E6F-4187-85CE-FC3ABEE8B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36020C7-DA43-4CA2-A5E8-EEF08EB21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8D8D0DB-A701-4F13-82E1-3ABDE23EE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B0CF495-1431-4E1A-9B30-7C9343783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5CF8799-9E43-43C1-9A59-7B3997627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74B4F87-8B7D-4634-9964-A74BC0B6D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0CEB8EF-3550-47A7-9823-4E58586F3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829EDF3-BCDA-4543-91FB-2490F27D3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51BC478-7F2B-45E5-9F7C-1418FB5AA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8536D1E-5BE0-4F4D-BA6C-C50AFC19C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0F0B533-03CB-44BB-9D89-9D6E24D91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8C430BA-C150-4D1C-8CF9-5200EC39A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556B4F1-8BCD-4F9D-9280-F469235E9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161D5BA-7A0C-42C4-A0EF-F2D93221D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D9709B1-0D24-4E13-AA63-C1A1B3319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B35AB5DF-B7A4-4A1F-864B-24791F7AE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0A2421D-CD6B-491F-A7DF-5E139B607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2C52760-110C-4B3D-ACA5-38218D73C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DF27A27-07CD-438E-825B-68B447E59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B65122E-221E-41DE-B6C4-1DE3AE142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206A642-6B11-4383-ACC1-DD27B074C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6B49E69-DD43-437C-851A-BAB299C94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699</c:v>
                </c:pt>
                <c:pt idx="1">
                  <c:v>-0.0171</c:v>
                </c:pt>
                <c:pt idx="2">
                  <c:v>0.0994</c:v>
                </c:pt>
              </c:numCache>
            </c:numRef>
          </c:xVal>
          <c:yVal>
            <c:numRef>
              <c:f>Sheet1!$B$2:$B$4</c:f>
              <c:numCache>
                <c:formatCode>General</c:formatCode>
                <c:ptCount val="3"/>
                <c:pt idx="0">
                  <c:v>0.4528</c:v>
                </c:pt>
                <c:pt idx="1">
                  <c:v>0.4582</c:v>
                </c:pt>
                <c:pt idx="2">
                  <c:v>0.4495</c:v>
                </c:pt>
              </c:numCache>
            </c:numRef>
          </c:yVal>
          <c:bubbleSize>
            <c:numRef>
              <c:f>Sheet1!$C$2:$C$4</c:f>
              <c:numCache>
                <c:formatCode>General</c:formatCode>
                <c:ptCount val="3"/>
                <c:pt idx="0">
                  <c:v>210.33333333333334</c:v>
                </c:pt>
                <c:pt idx="1">
                  <c:v>264.4782608695652</c:v>
                </c:pt>
                <c:pt idx="2">
                  <c:v>339.1818181818182</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170D0C1-306D-4438-AAEF-DD57165F4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6814F9C-B1EC-4575-A95A-3E5E83273A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FF90863-D5A4-4DC8-B8DD-9EF97A983B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335E368-51E6-463A-96BF-FC8A31CEA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5407407-0F50-45AA-BA95-1F7765EBA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93D9747-17FA-481E-AD04-1E02164AB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5500AD7-E362-4BCB-8C5C-4B89C5913F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517ECD6-27FB-40FD-9A31-EBF9719E55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E317A21-2D0B-4FFD-9533-CE8BCB13A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FEF1349-DA7D-4846-9A41-7C491E32C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B00AF8F-CB8A-4F63-BC4A-A8C09F47E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98DD6A6-227D-428B-B1CA-32DC2D46D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126493D-A39B-4913-9C64-D65C0E5C8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33C4239-180C-4709-BC1D-6BC4C6400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9556E95-BAEE-4C37-925A-AF16DDBA3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2E59ED5-D653-4250-951C-E1137979A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C270BA97-EC7C-4914-BB2A-010E4D224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D4BE638-2F8C-4837-AEA4-A846136A2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8B220DB-8D9B-42BE-BB43-4E66EDC09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995A09F-C791-49E6-B2C7-7CB4E0947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C680D2B-0E37-4953-853B-073EA82FA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52C9A745-3FFE-495D-A960-786A61338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AAEBA12-46A1-404A-B196-B90F44E09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49F94EC-18B0-4292-AC80-CA19E28DB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B695BD9-01BB-4CA3-8A57-A55B007E0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CB1CA3D-F0DF-46A8-8DDB-5BC69FA2E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2E9F5F0-B8ED-471A-A95E-48A224D0CB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B176AA0-5334-46A8-BAAB-2B324AAA4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2799E41-88AB-4213-A3DC-8BCFE7940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7CEC2ED-EB69-4118-93B4-49B0A3A12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411D8F8-C7E4-49A8-B48A-C4332E5AB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04D13BC-8A1D-45B0-B472-AC8AB01CA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6E550F8-7740-480F-8A3F-040F6C9B0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73A511A-5317-455B-B094-039C91B2F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22AFA7A4-6CD1-4FFC-A7E4-B2A21A797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016805E-090A-4283-97F6-917983A9D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299A541-713C-42E3-B5B4-18426617A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0E659C1-8624-4D2B-9D00-3A55B9417E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557CD3A-789E-4DF6-BD41-C6679C409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1E7D4FD-E0B0-45D6-9A49-532B77F6B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6CBB13A-AE78-4539-86C8-63DD7D1D5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9EC2BD6-46B5-4242-82F1-1514D6E87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4F38B6D9-448C-4AB4-A052-AAC081E110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D87AC87F-4A20-44D0-8CF6-255961A3D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BA44A6A-54CD-41D1-A289-8568BE3D0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EE9CD89-ED85-4169-9623-3E12AA400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3BCE9B4-1055-458D-8377-AEB178EA5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02B57F7-489B-4884-B5BD-8D7769E17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D630E68-3035-4FD6-97B9-C1412A01F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A85B862-8C90-4F21-A20F-E03FFC75C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9F807F8-A5D2-4139-BD54-44FD810D8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5866FBC-321B-42ED-A944-88DE33461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65F3213D-5C7E-4C4D-987F-37FCEF825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EBAF725-F844-473E-8CF4-BFA23DFB2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F1DAA18-24A6-4C7B-A24E-93EFD5457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BF29465-D662-47DE-9E86-B61A4D13F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E7FE0B3-FFCF-4A2E-A9F0-D99E9BFEA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298</c:v>
                </c:pt>
                <c:pt idx="1">
                  <c:v>0.0062</c:v>
                </c:pt>
                <c:pt idx="2">
                  <c:v>0.0669</c:v>
                </c:pt>
              </c:numCache>
            </c:numRef>
          </c:xVal>
          <c:yVal>
            <c:numRef>
              <c:f>Sheet1!$B$2:$B$4</c:f>
              <c:numCache>
                <c:formatCode>General</c:formatCode>
                <c:ptCount val="3"/>
                <c:pt idx="0">
                  <c:v>0.4528</c:v>
                </c:pt>
                <c:pt idx="1">
                  <c:v>0.4583</c:v>
                </c:pt>
                <c:pt idx="2">
                  <c:v>0.4499</c:v>
                </c:pt>
              </c:numCache>
            </c:numRef>
          </c:yVal>
          <c:bubbleSize>
            <c:numRef>
              <c:f>Sheet1!$C$2:$C$4</c:f>
              <c:numCache>
                <c:formatCode>General</c:formatCode>
                <c:ptCount val="3"/>
                <c:pt idx="0">
                  <c:v>1024.5</c:v>
                </c:pt>
                <c:pt idx="1">
                  <c:v>495.65625</c:v>
                </c:pt>
                <c:pt idx="2">
                  <c:v>496.8888888888889</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E6E7A81-65C8-49DC-B665-38062BEB60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AB05057-F07F-42CC-B250-1021DE521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60E2270-7D63-4AA6-8BA9-FDDD4291AA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B86D45F-90C7-4B3E-A3C4-AF5C51CE99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36CA854-6B10-44A6-8CF3-FEB2957C5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2A309F2-1FA8-4D43-BA8F-D8C9A26B1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1E0C606-67A8-46CA-8633-B54F0468F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779ACB1-4A64-4CCE-9508-C37250ED07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68534E4-9A45-449E-96A5-FA69DCD99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D818C2A-1151-4310-84E7-C569C191E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A32FADC-781D-4E48-953E-0858734B1E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ECACCEC-6C65-4571-A5D5-4426FA6D8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798CCD0-E607-4E94-AF79-D31FB48EE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389B4EF-28E0-4CFD-A9E6-2086791D9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69AB934-0013-479A-BE36-D7B75EADF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E3B1D3D-4E48-4245-8E25-EC8F80A01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C3A4CD6-1073-4596-BF4A-7541B1766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A84ACD55-71AF-4269-88D8-7AFE97F08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2EC999A0-2A00-4E95-BBCA-3C46D0BB2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78B826C-80B9-4D40-8E43-68FFD0BDF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5E1224B-9A51-4D26-9081-9D43ED367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166B595-434F-4557-BF07-30FD99C65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E0FAF29-4E50-44C3-BF98-0A66CF55C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741D22C-7DC0-4B34-9801-DD730A49B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265705C-D8E7-460B-8CED-7E614B7DC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019777D-3C6B-46DB-B2EE-F99C2B09A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02F9E8B-FA32-4826-90A6-A8074426B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F049D4C-B8E2-4E70-B941-44B7828FE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90F6BF8-B84C-4370-ABC0-12D620D59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59DED19-EAED-4C34-8D00-6EFB98F25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B2A5A6D-4843-4AB6-B31C-21AD38B5C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913D722-BFC4-4813-9D38-FEF8BC3AC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7756793-7F7E-486F-94EB-D5E0209A4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9D48A9C-8342-4C9C-931C-1615CA870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DD5D4DF-CF6C-4CAE-BB09-22220953D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0B97FEF-A0AF-496C-8EBC-986D027559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2EA05369-8486-4F99-88AF-F45CB3D94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3D2B6A8-F90D-4BB4-AF47-3402A8147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06F9251D-99B4-4BB8-9C35-7A03430BB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8B022AB7-3757-4083-B178-70FB7C168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BE61004-AA2A-4BDF-B877-A3080F793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FB9B9E8-7428-46A0-9DE6-190A51223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1C262D2-A994-4B61-BB65-AEFD16BEF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06E7985-673B-427D-8C50-C9E1920EB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E1D488B-88A4-4AC7-AC9F-18A81071B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CA59173F-AF94-4ADA-910D-01902A8DB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C250D31-33F4-4F0E-A6AE-DE8DAAD92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4C14924-48F4-439F-A12C-9F426779B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950DB55-6C5B-4BD3-83DE-F9C873F19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7536553-47FE-49A4-A0D2-3D3480F930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7EB74AD-9312-44A2-A2AD-7E4484161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461B2A6-BDFF-45F0-85CD-A25F46E9E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AA0E0C9-5688-4BD9-881C-259E0640A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03405EB-7320-406F-AFB7-B41A21CB6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38D1D22-F7AB-402F-9426-50D338D4E7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A3623018-C210-4B92-91D7-2905B8CD5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9C8750C-6673-48E0-9A8F-7442EA1AB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456</c:v>
                </c:pt>
                <c:pt idx="1">
                  <c:v>0.0299</c:v>
                </c:pt>
                <c:pt idx="2">
                  <c:v>0.0956</c:v>
                </c:pt>
              </c:numCache>
            </c:numRef>
          </c:xVal>
          <c:yVal>
            <c:numRef>
              <c:f>Sheet1!$B$2:$B$4</c:f>
              <c:numCache>
                <c:formatCode>General</c:formatCode>
                <c:ptCount val="3"/>
                <c:pt idx="0">
                  <c:v>0.4528</c:v>
                </c:pt>
                <c:pt idx="1">
                  <c:v>0.4571</c:v>
                </c:pt>
                <c:pt idx="2">
                  <c:v>0.4503</c:v>
                </c:pt>
              </c:numCache>
            </c:numRef>
          </c:yVal>
          <c:bubbleSize>
            <c:numRef>
              <c:f>Sheet1!$C$2:$C$4</c:f>
              <c:numCache>
                <c:formatCode>General</c:formatCode>
                <c:ptCount val="3"/>
                <c:pt idx="0">
                  <c:v>1330.5263157894738</c:v>
                </c:pt>
                <c:pt idx="1">
                  <c:v>1162.6512968299712</c:v>
                </c:pt>
                <c:pt idx="2">
                  <c:v>1170.6878306878307</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2BC8B6D-0F9F-4897-9921-77138AE37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FC45F7F-EC17-450A-81C7-6904CFB2B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DD9EA44-92A5-46E0-B3DA-760E2AE7F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74B1823-29EF-4CEC-BB31-04A3C9CC4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AB215DC-5E6A-414F-93FD-D71AA4DBD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29E490C-BA03-43C5-ACED-E3A0B7A74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622E21B-2013-4741-BD0D-6EA89D74F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7DBFC48-3FB4-45FC-866D-A3D86F845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2079949-4430-4A35-973C-F25963E91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17C73F9-401E-4E96-91E3-9250E7440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CFC79A4-1C40-4880-9634-D5030BC93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22D84C2-6660-475B-8C95-609676B6D4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92F0634-83E3-425C-A015-BEDA6D5D0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24ADEE3-07AA-4C2A-AF40-B442B1360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5B464E09-38E8-43BC-9D46-FA7B04E76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3EADB12-32FB-443E-BDB6-5F794E8C4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02E65C3-DE3B-467F-A1EE-D8C8435B9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A0BEF17-4CDD-4F9F-99C0-A3AE2CBBD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366999A-D3DD-4498-A9AC-C0CD25647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5F17B34-EDD3-41B0-ADDA-C38FE246A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C274638-2A4A-4D96-B547-8DC6F9F53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F6663BE-5FD2-411D-AC70-ABE516187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DC8A1837-A589-482C-90D3-DC4C7CAB8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CA5ECAB-9373-428A-98D5-4B66493C5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494EE37-CBFB-4B6A-BDD0-F3D4531F8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6F26496-8A82-4324-B6B6-FD1051F98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5EB3874E-9B91-483A-9310-D4E941F06C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67231AF-BF8E-44C3-94F7-B7FA29652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5A65096-C8EF-44F1-B25C-A6E7BACC4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3B9B537-22A8-4B4F-A7CE-789BF4238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7EC01A12-AC11-4DF2-B183-15F745857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FD18C44-B570-4E64-B7AE-641623243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20FBCB3-4811-401F-9B99-9F5A222C9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FAAD5B1-AFE1-4F51-9BBB-C3ABCE249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32413A75-63EE-4C27-BE29-19446CD9E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3F27E05-CEE2-4EDB-A050-7376B68D5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A4BCBC9-3C20-4EEA-A319-EB41E93AB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6E5060E-DA31-4FB9-929A-E3E1D5F06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D4DB93A-7869-4F37-9248-8EAB80908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7EAA2BF-FC70-4ABD-A887-F1B5EB05C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5DF2442-97A0-49CF-9A55-7DC17E437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AD669BA-72B8-4E17-AFF8-918008CD7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5FC2769-0485-4DCC-AFAA-466603D03A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4E9A51D-885C-420E-A962-087B2FD6B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9A2B64E-1425-4B64-A815-C44A0BFAB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23AFBA10-5458-425F-8E29-7F5FB26E2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0637C80-C49F-4B06-83F5-42C0EAFB3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B0D63A5-A622-4C2F-AFE2-F14468B07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7D12602-0E81-4235-B7F9-81EE3C488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76ACDC0-3C4B-4278-B03A-BA6E48E2F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2E3E1E3-3023-4D94-9844-CC5672790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6FBA982-62DA-4DB7-8389-AF4E07B21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7D03D04-599F-4D27-822D-0E67AD1F0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EB5A2C63-6D5F-4666-B024-C4558AC07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9E25E939-FB8C-4857-B7F1-EB274A9C0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370FB07-5F7E-4EE1-99AC-949280BF1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09533FD-8940-4F75-A79F-05363475B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0407</c:v>
                </c:pt>
                <c:pt idx="1">
                  <c:v>0.1577</c:v>
                </c:pt>
              </c:numCache>
            </c:numRef>
          </c:xVal>
          <c:yVal>
            <c:numRef>
              <c:f>Sheet1!$B$2:$B$3</c:f>
              <c:numCache>
                <c:formatCode>General</c:formatCode>
                <c:ptCount val="2"/>
                <c:pt idx="0">
                  <c:v>0.4551</c:v>
                </c:pt>
                <c:pt idx="1">
                  <c:v>0.4496</c:v>
                </c:pt>
              </c:numCache>
            </c:numRef>
          </c:yVal>
          <c:bubbleSize>
            <c:numRef>
              <c:f>Sheet1!$C$2:$C$3</c:f>
              <c:numCache>
                <c:formatCode>General</c:formatCode>
                <c:ptCount val="2"/>
                <c:pt idx="0">
                  <c:v>174.64</c:v>
                </c:pt>
                <c:pt idx="1">
                  <c:v>138.56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B253F46-2406-4F08-8776-EB22048D9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7EBFF17-172E-4C71-B691-5FB38DEB4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DC9B9B7-3B05-4B08-A1FC-AB7AA6037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A2CD7B9-41F0-42AB-AC9A-7F97F3657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79544AF-8784-4E18-BB3A-20CE84A4C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6DE7062-5E0A-4811-8B93-619B1BE23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906E804-68DA-4CC3-8464-08C8FD40D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590FCAD-DEB2-4313-8BE4-576A3A29A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A0A2735-BEDE-46FB-9DB1-C6E2051A1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5996112-33E3-4058-B1CB-E8E8CF0B8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A43BA51-D413-4539-96E1-C82FB356C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20D1D6C-69DA-4655-B727-19FB04934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A8C7883-6CAC-4AEE-9D41-C797FE21F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BA7AD0F-1E13-407A-8670-9497E01EF3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CEAC1A6-A188-4E3D-B8FC-45F1B2245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665DE90-7C2D-47DE-88CC-5CF3AF22D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35C3E4F-D146-4011-BE6B-DDAF33494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0F0B4A8-05FB-4FFA-987A-98F556062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628EBE4-1899-47D5-93D2-92F84D8A4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1F952BF-B313-4392-BFA0-B7EC73054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43335D0F-9128-4B2D-8E1B-D495D7242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1DBA509-4566-4DB4-9E07-09FA76F6D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D9AEE3D-DCEC-4498-B63E-85416F5F2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0A3C366-98B8-4052-87B8-1E1E939D2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A857B4D-9A45-495A-9567-C6B4A470C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6366140-2ACD-4B61-A670-4A9418034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A08365C-2ABE-45B1-8861-F4AD012EC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6B47679-6587-4722-8B1E-04EE1DD0C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B7482AF-740D-4357-9DBA-9C0777FD0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11CB169-4904-4D3D-B916-FFB7237C2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52F259F-309F-4C40-92CC-6C83BF90B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9022AEE-F527-4509-A258-CA483CC45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C868702-F7C3-4411-8DD1-7FF8A77407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179850F-E1E4-4783-A94B-ADB32759B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30420241-DC7E-47DF-A250-2E4C93EEB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5358CF0-89F7-458C-8D17-196CE9E7B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D752760-69E2-4033-9758-2EF3AB43F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0456AE0-D32B-4076-ADCA-61200D488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CC94B13-51C3-4778-91CB-EB1D75003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9DDDDC7-66C2-46BB-827D-D775E8ED4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07BA5FE-29D0-4751-A791-394F2061C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7B21DC2-0624-4A20-96EE-9A10B4957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ABDD3DB-2B76-4392-94EC-A872E340B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73269CA-DCDA-439B-A86C-31816FF23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A01BA73-D9E8-4AC0-9747-D7612CB17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0588B6D-7946-4787-8D4E-262250B3E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C376F865-AC43-403C-9349-D3459BE48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1D006A1-8774-439D-A5FD-20CDE583D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3057DDA-3081-417C-A94D-CAE0F3DD4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EC056EA-6E01-4C63-94EE-488E8295C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F0BBA8B-1672-41AA-8C89-103F9F325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5C10832-ACDA-4A28-B4A6-854393282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7FC1D794-486A-4A70-81A2-51DF4A9C8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33B8F1FD-95C4-4B19-898A-974167CD0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F1ADB795-10D1-4A3F-B79E-ACFB71495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5E46084-64C5-4D2E-B500-DD1EC74F3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A29D57F-819D-4248-9B36-671BF24B9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241</c:v>
                </c:pt>
                <c:pt idx="1">
                  <c:v>0.0131</c:v>
                </c:pt>
                <c:pt idx="2">
                  <c:v>0.0542</c:v>
                </c:pt>
              </c:numCache>
            </c:numRef>
          </c:xVal>
          <c:yVal>
            <c:numRef>
              <c:f>Sheet1!$B$2:$B$4</c:f>
              <c:numCache>
                <c:formatCode>General</c:formatCode>
                <c:ptCount val="3"/>
                <c:pt idx="0">
                  <c:v>0.4528</c:v>
                </c:pt>
                <c:pt idx="1">
                  <c:v>0.4574</c:v>
                </c:pt>
                <c:pt idx="2">
                  <c:v>0.4503</c:v>
                </c:pt>
              </c:numCache>
            </c:numRef>
          </c:yVal>
          <c:bubbleSize>
            <c:numRef>
              <c:f>Sheet1!$C$2:$C$4</c:f>
              <c:numCache>
                <c:formatCode>General</c:formatCode>
                <c:ptCount val="3"/>
                <c:pt idx="0">
                  <c:v>1233.5</c:v>
                </c:pt>
                <c:pt idx="1">
                  <c:v>770.59375</c:v>
                </c:pt>
                <c:pt idx="2">
                  <c:v>891.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C23CE76-8FB3-4C0D-8AAE-2CFFC6875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333C159-E41D-4B76-9BD9-972C86940E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786837B-9AC7-40DA-84FF-69182B53B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8BAC7EF-53B2-45A8-B3B5-9BF16C92D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63D8B49-65E8-4DA7-8E1B-9F68C8B77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BF91D6C3-2DEC-4844-B945-8B840FDFE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0C12839-1A18-404D-9E0F-BA9C3C822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40697ED-2773-455E-BB50-D59F738D9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C08E03B-3F01-4449-A518-7FBB7A6E6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59CF0E2-5451-4617-8E3F-E97C8D53B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CDBC46F-0E5B-4805-9B67-B73CBEF26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BC1B8D8-3F49-44B4-BDD2-F7D37EFE2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0876902-5FCD-489F-8BDF-393C41720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46B569A-E82D-4382-BBEB-D0B9FC596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CCFE2A4-95E4-43BE-9F9C-F2CDB9B3C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79E4E20-2E83-47D4-B693-38AF1BE86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4D736D4-6273-46AE-A840-FD13B0F0D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9C5CCB9-CFAF-4192-BCB2-D2B6084E6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853A66F-AF38-4885-BB09-C5A286F80A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2E1646C-FBE9-42EF-A9D5-027768E12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940CBFFB-CE23-4FFE-81A2-CB4F590C4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AEE1F56-A6F7-4A2D-B729-DD3E1FB7D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D253AFB-CBA3-4359-9814-FA5EBE1B6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D1E05429-5D84-4B2A-A3A4-E9A98278C3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D63BA9C-9AE8-41DA-B352-38E1B78A3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7ED7C80-9B9F-4464-936C-9800BDC6A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5D7105C-85D1-41DD-AF48-94E02F6CA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923A7A43-7F26-4270-AC8D-A125A6B25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5D4D175-0169-47A2-887F-41036ED8E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189F661-9A9D-48D8-9380-2AA0E0772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83910C2-B718-439D-A3A3-915C2D4AA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60B15B8B-2FA0-494E-BAF4-672D95FC1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68D151D-7B2C-44E4-9AE3-011D74C51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9396EE6B-6B5D-4BB1-A2E6-FC821A16A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D8BFFF7-9C8B-4A69-AFFA-0EECFC53B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DD47022-E3E1-4BC4-A3FB-5141C5DDB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2A93EE1-AF99-4DAC-8FB0-1702683E0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32F4FF6-0866-41DB-BDDB-267481254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DFDE400-4D74-4BD6-BA1E-9B7EB8298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1A51911-8AB0-4299-99FA-A2970F72E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89DCA06-69B5-4BFE-AC27-4B479AE9D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EF0DF44-E31A-490F-A834-7957C9E02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17FF9DC-BB46-4FAA-AF96-C524EF6F7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402D23F-6168-4E9C-9F7C-D1F426AEC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604CA3A-093B-4E4A-932B-ADA877F9A9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164AA386-CF8C-4384-BA36-275AF6601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31DE4747-E5C2-44A7-9BE1-3B4046F20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7682021-6591-41A1-AAFD-19D3CB60D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6143C3BA-7470-4DF2-A0CE-81B4E81E1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F0B97C62-5774-4716-8D86-D156BD373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D161E7F-A0B7-4930-ADF7-A245A1EB6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4C8600E-4ACB-447E-9BEA-33A47307C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35D205FB-FE58-49F0-B992-BE50FE8E1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4889B94-B762-4A35-AB48-3E9EDF977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7D0BB4A-5BFB-4414-A3C7-A3E25D49E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F430DCA-291E-473E-BB97-5E37FEA73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F0B1684C-6B30-41A0-A3AD-44766B56C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0639</c:v>
                </c:pt>
              </c:numCache>
            </c:numRef>
          </c:xVal>
          <c:yVal>
            <c:numRef>
              <c:f>Sheet1!$B$2:$B$2</c:f>
              <c:numCache>
                <c:formatCode>General</c:formatCode>
                <c:ptCount val="1"/>
                <c:pt idx="0">
                  <c:v>0.4586</c:v>
                </c:pt>
              </c:numCache>
            </c:numRef>
          </c:yVal>
          <c:bubbleSize>
            <c:numRef>
              <c:f>Sheet1!$C$2:$C$2</c:f>
              <c:numCache>
                <c:formatCode>General</c:formatCode>
                <c:ptCount val="1"/>
                <c:pt idx="0">
                  <c:v>45.39473684210526</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301EFA7-90C1-4A8A-9329-9C07FEBD1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06ABFEA-080E-4E94-84AD-2BF925C0F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9FA6B3C-BE91-4263-84C7-73816BF40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B57B0E8-D5BA-4E43-9F41-819F60A2E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D64E78C-74EB-43A2-AD49-EA0E6DF41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3ADD342-03F2-4A55-A9BE-875D66165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11AE0FB-01E6-4C3F-B643-85644E2CC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1CE65D9-3908-4312-A5A5-607E2D27E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2997</c:v>
                </c:pt>
                <c:pt idx="1">
                  <c:v>46.5102</c:v>
                </c:pt>
                <c:pt idx="2">
                  <c:v>24.4305</c:v>
                </c:pt>
              </c:numCache>
            </c:numRef>
          </c:xVal>
          <c:yVal>
            <c:numRef>
              <c:f>Sheet1!$B$2:$B$4</c:f>
              <c:numCache>
                <c:formatCode>General</c:formatCode>
                <c:ptCount val="3"/>
                <c:pt idx="0">
                  <c:v>0.5038</c:v>
                </c:pt>
                <c:pt idx="1">
                  <c:v>0.3988</c:v>
                </c:pt>
                <c:pt idx="2">
                  <c:v>0.5278</c:v>
                </c:pt>
              </c:numCache>
            </c:numRef>
          </c:yVal>
          <c:bubbleSize>
            <c:numRef>
              <c:f>Sheet1!$C$2:$C$4</c:f>
              <c:numCache>
                <c:formatCode>General</c:formatCode>
                <c:ptCount val="3"/>
                <c:pt idx="0">
                  <c:v>528419.2900000003</c:v>
                </c:pt>
                <c:pt idx="1">
                  <c:v>7385860.143399999</c:v>
                </c:pt>
                <c:pt idx="2">
                  <c:v>78030.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5.812239999999996"/>
          <c:min val="9.0397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70016363896065"/>
        <c:crossBetween val="midCat"/>
      </c:valAx>
      <c:valAx>
        <c:axId val="1011451359"/>
        <c:scaling>
          <c:orientation val="minMax"/>
          <c:max val="0.99336"/>
          <c:min val="0.079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3.9666541014720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543E457-D1D6-47EA-8EC7-0213D3186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98B0B68-1437-458A-A750-76C828AA1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A5D6538-3797-4B62-8FE9-E1EB1CC02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20F0AB4-2D09-42B8-97A8-DF70BD91E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2A1E975-CC57-4C1C-8B48-929EA6848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CB3DC9C-6917-488B-A5E3-B5A4C64B2F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0A06B40-8170-48FC-8F1E-F25F9E92E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A2BD807-5534-4CF6-95AD-B51D65EED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4439DFB-3847-45F4-B085-38FA62360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60B0412-9DB7-4450-BF88-CB74D5E3C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3DBE1AC-BB7E-4EE1-BCBD-04B42BFE7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80EB590-A24F-4AFC-8CEE-F261E94C5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EBA3AD2-2922-4F61-BC46-CA20B9275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2A523D3-5C55-4ACD-B5F3-E7A2F4C56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3B76027-6075-4986-BA9A-5323C7556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9E82019-CEC2-47DC-A2EB-39C3FE0622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0E4E5D7-5571-4881-8389-1564C3D7B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4703A77-7ADD-420D-B703-FEBE2ED4F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0120F75-7A22-4231-977E-FC957F30D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EF516CD-73C8-4B98-A7C1-27A4A6CD8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38A072C-FE6D-4399-9B55-3EE2B434D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6196CE7-F63D-417C-85C4-8B690AC13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74FCE67-CD91-432D-966B-C2934CA77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8C48246-7C53-4B87-95B6-33E0A18D9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95089E7-6582-41A0-99A3-C64F4D898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DBCE2CC-9C46-428D-BF5A-058E24A03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C022B9D-75D0-4817-9902-93D6AF2F4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A87A895-09E7-4833-B9E6-4ADEC73747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E6BFE9C-21B7-4D28-A246-5AC7A93F1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40BED78-79D7-4CA9-861E-0D47877BF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2E6E4EF5-02ED-4780-A112-E42EF3CA5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E2A1C53-2CD6-4C5F-B886-86216F1EF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0543598-EEC3-4B00-8181-C2118432A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88B6AAE-0EF3-417A-AABC-DDF49D063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B1C0456-E4AB-4F80-B239-1B29B80803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AB2046F-CA25-471D-A925-0B495F279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1D3B020-2803-47E4-B3D8-0067A2EFA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F57F109-8702-467B-9762-5461715CC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2F126D80-0C60-4C84-8B0E-AE1FE1E2C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AE72840-1A5E-4A3A-AE9F-6221176FA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F4C537A-431A-47B7-8643-D010BBE33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73BC215-375C-4D65-A8F5-0D0DE940D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D0EBBB4-9348-4E17-8863-4AE40DA2B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9E9A173-B5CD-4E42-B57D-05DF730D2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601D7B2-6AB7-4BE1-B4A4-2961FFD15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0ECDBF3-1B1B-4B97-B7D3-C15B9CDE8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FDCA3BF0-32B9-4CE3-9ED3-1C5A12C26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A8888E6C-4E2C-4574-ABD5-C74B69C6A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2373599-2349-41FE-97D8-2127CC073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CE6C81B-4DA1-449C-AA19-57CF507C0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5D1039D-C5AB-431C-97AB-B6B3F7C92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F9E15E39-8DE0-4EEC-89E0-AE3C4A1C4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D07B839-7E41-4F10-A9FD-48F02CB72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65D375C0-AD6A-4A52-835F-F19A4A970E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D5658AF5-1E7B-4566-98D1-70A6BC08E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FA330540-6145-48C3-BCAF-293A7584C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A3B6C7E9-1CE4-422A-9573-EFCE29672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0421</c:v>
                </c:pt>
                <c:pt idx="1">
                  <c:v>0.085</c:v>
                </c:pt>
              </c:numCache>
            </c:numRef>
          </c:xVal>
          <c:yVal>
            <c:numRef>
              <c:f>Sheet1!$B$2:$B$3</c:f>
              <c:numCache>
                <c:formatCode>General</c:formatCode>
                <c:ptCount val="2"/>
                <c:pt idx="0">
                  <c:v>0.4601</c:v>
                </c:pt>
                <c:pt idx="1">
                  <c:v>0.45</c:v>
                </c:pt>
              </c:numCache>
            </c:numRef>
          </c:yVal>
          <c:bubbleSize>
            <c:numRef>
              <c:f>Sheet1!$C$2:$C$3</c:f>
              <c:numCache>
                <c:formatCode>General</c:formatCode>
                <c:ptCount val="2"/>
                <c:pt idx="0">
                  <c:v>148.58064516129033</c:v>
                </c:pt>
                <c:pt idx="1">
                  <c:v>207.4761904761904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C966C30-E59C-4A1D-BFE4-25E53E1E5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086D417-BE4E-4532-926F-69555B6C5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3B445DB-EF8C-4D48-AB1D-B3EA0A052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EC24D07-BB22-4514-8E2F-4FC02C8BC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B053090-C776-4BC4-A5E7-875518EE1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1932C4D-574D-4D41-B65A-4DF0387A2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7203FFB-356F-4070-8D09-57E8CE71B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D4499F9-0631-44D6-B6FE-A6E81A883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F47C754-54A2-4899-A437-EC6A4D9D4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1A29188-4EF1-4FDB-921B-18FF7B797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DCF2581-B6D1-4827-AC96-D5C1DB7B4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81167E7-534D-4BAD-883C-2135CDF6E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9B1DD18-1140-4667-80D3-5D2BB7C84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9977D08-3336-42AE-AACF-F6B0EDC58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4FD1E21-0F11-4DC9-977C-300B957AC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BDB6C81-7000-4CBC-9476-BD34D4678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A82CDCC-89D0-4C81-AA2E-C60853452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4368CC8-8527-4F70-A45C-ED2A551F6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647E5AF-EA6B-476D-8F99-1DF4BEED8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A5BC40F-AE2C-41DD-861B-CE1CCC0FE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CA517A2-9140-4EF7-AEE5-2E03DE8C8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E445581-05A9-4A1B-BE31-89D075837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1F6DB50-D76E-49A9-9520-B85FA7E6F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B4CE314F-56B0-442F-BA6B-A98CEB510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B84FA5C-A666-4203-AFB8-EF72488FC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98A4FBF-F972-45F6-8F77-5FBC7F967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9CA31C5-2AAA-4F7A-A753-B67240B09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A1DDD7F-CA03-4B20-B022-E34DCA883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25E7D8CD-0996-4FC8-876C-3E89D6501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C173B1A-6A38-4719-B7BD-3443F5E96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B3FCA2B-F599-43C0-BCDC-D0222779F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3B0874A-E759-4992-813E-305D07ECF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285548C-151A-4F0F-9F97-AEB851520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9BDFA36-0859-45B0-AE69-92C2CA492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C4FEB6D6-9123-4492-8FC9-FC286661A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51F25E25-2011-4F3C-B1B9-F7A80B86C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56DC83A2-0C70-4F36-A705-503ACDCE79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8AAB4E0-AEE1-47D9-BCEE-795B5CDEA7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B213528-97AC-4F59-8ED3-4C9E092FE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0CE3348-F51E-4F27-B8FF-8224590AA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63807C7-2B0C-4142-9AFF-A2D50D82F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44D8569-098C-4ACB-8B45-825C1862A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6386A01-E78D-4D26-9A5F-5A86AA2B5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7C52AA4-680E-4908-88F8-72F824039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C9EDB20-6A5F-4298-BB7E-39851E663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AAA2F0B-9702-4559-A44F-A8E1D760B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99BE8444-54FC-4943-945C-04D94FD8B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6EF4C95-8CAC-4502-9E15-C13751639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DF10AF5-543B-4BB3-9053-360F1E968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C8BB22C-D306-4D56-9DE3-460C85B20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AA553DFD-B96B-4249-87BF-D1E3B7060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AF35E0DC-48B0-45B6-9759-AD3BB7457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F4993CD-5EE5-45B5-ACCD-BD61880BE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43E11BEA-7725-4967-B678-2A4697270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A6DAB44-A3C9-472B-9407-CFC5F21BB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39522F88-EA51-45E7-ABC1-61BEE7F766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6C8678F1-AC6F-44C5-860D-E0AB8DA30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0587</c:v>
                </c:pt>
                <c:pt idx="1">
                  <c:v>0.0921</c:v>
                </c:pt>
              </c:numCache>
            </c:numRef>
          </c:xVal>
          <c:yVal>
            <c:numRef>
              <c:f>Sheet1!$B$2:$B$3</c:f>
              <c:numCache>
                <c:formatCode>General</c:formatCode>
                <c:ptCount val="2"/>
                <c:pt idx="0">
                  <c:v>0.4551</c:v>
                </c:pt>
                <c:pt idx="1">
                  <c:v>0.4516</c:v>
                </c:pt>
              </c:numCache>
            </c:numRef>
          </c:yVal>
          <c:bubbleSize>
            <c:numRef>
              <c:f>Sheet1!$C$2:$C$3</c:f>
              <c:numCache>
                <c:formatCode>General</c:formatCode>
                <c:ptCount val="2"/>
                <c:pt idx="0">
                  <c:v>267.60714285714283</c:v>
                </c:pt>
                <c:pt idx="1">
                  <c:v>311.6315789473684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8957EDD-322C-4E70-BAB6-EE6B6D764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5D14F18-E86D-4396-A18E-2D81AE031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218A5A1-07EC-4424-89C3-62AEACED4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DC1620D-059F-446B-8144-C254E5EB0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525C899-6EB9-4230-9064-7B3676BD4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D5ABFCB-E9E2-4EA7-8D57-27981B58A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CE51FCB-31F8-4CD2-8476-EC584C8AD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DA2760D-C76F-4B97-8BF7-749ABE6F7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04DC975-7AD0-49F2-A8F7-F698D13A8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42F6A1F-04F2-419E-B2D7-2319D7B6D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E149F04-88D2-4BC0-AD08-89BC456D5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9AF9F74-4024-46C3-88F2-FBD4E294B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2441393-48FB-4E7E-AC93-80CF64C37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3C2779F-1AB9-40E4-ABE1-B557C2934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9603448-1622-46AA-95BD-AE3DF6E76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6D84040-CC54-4D35-897E-92532CC35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996979E-27EA-4E5E-9AB9-66209A538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6EE2F74-6F8A-49FD-9341-2478B09E9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9BD88C2-D0D1-4895-8F7D-D1801B2FC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F689CEB-0CB1-4C0E-8F48-9BC09E80F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76B9821-5521-455F-9E38-245CEF8CC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5A00A24-D60D-473D-95C9-F3FF70E35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3F12C4C-B88C-4B8C-925D-38EED1238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5C7209A-55F4-4994-9905-E08A055D6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8B1D34C-888B-43B1-AC5F-C02D8FE52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467D5AB-2324-4BEF-AC09-C03CFA023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9A2A217-B15D-407F-9C69-C9069B12F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764FF4A5-0AFB-49E2-BF9C-FF03DE3B5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5166434-F1CC-4D29-AD6C-39B80D3A1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60B7DA6-35FC-4D0A-AB4E-F4684EAB9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D1EBEA9-2FAC-459F-B7C8-FDD2A454C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39C2A60-5DCB-4425-8E37-00ED0A904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D56E051-3100-4EF8-8EE8-FF401F643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A59476F-C6DE-41BA-84FD-E4836AA27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6A77CBF-31AC-4773-A758-457FBE7BC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7E2CB57-EEDC-4A89-8666-F0FD657C6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A7343B48-B4C9-4E81-9BA5-13DEA1C24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DDCAEED-A93B-4DA3-ABD6-08B9CADFA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40FFFCF-1777-4143-970F-39BE18042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75B0806-038A-47A0-A1CE-416B84EE6F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41D0171-8497-4525-9CF3-0AFB62082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A86B1C4-C0C1-4283-8767-13E8B9728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A4B5AC2-1FAE-40F7-9EB6-01CBA3CEC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0B44DDD-95B9-4C44-9D8C-C5CA930ED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9B3B6F6-F848-4D11-B15D-2ED9932728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489A139-36E5-4A31-82EB-312387DCC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1074CAA-AF32-4252-95CF-4671033CA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0049370-678E-4F00-B29D-763A0F84E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F537AEE-9FEE-4062-8A56-A787D3A7F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FC4FA11-09D4-4FF2-82AA-EF86ED1FF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4CA1D1F-08A6-4226-82DA-21D2548BF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981E0DD-5DC2-4D7B-B658-79B400682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DD5649C-9213-4C1C-97DD-8E02BEABA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97A42ED-EDDB-42C7-931A-436D46CB2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543787C-18C0-4819-BDBB-671D1AB8E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C9A61CCE-1DA2-4714-8054-9E1522937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D5E28BA-76A6-44E5-BFB7-F2F4BFD6F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369</c:v>
                </c:pt>
                <c:pt idx="1">
                  <c:v>0.0328</c:v>
                </c:pt>
                <c:pt idx="2">
                  <c:v>0.0705</c:v>
                </c:pt>
              </c:numCache>
            </c:numRef>
          </c:xVal>
          <c:yVal>
            <c:numRef>
              <c:f>Sheet1!$B$2:$B$4</c:f>
              <c:numCache>
                <c:formatCode>General</c:formatCode>
                <c:ptCount val="3"/>
                <c:pt idx="0">
                  <c:v>0.4528</c:v>
                </c:pt>
                <c:pt idx="1">
                  <c:v>0.4548</c:v>
                </c:pt>
                <c:pt idx="2">
                  <c:v>0.4489</c:v>
                </c:pt>
              </c:numCache>
            </c:numRef>
          </c:yVal>
          <c:bubbleSize>
            <c:numRef>
              <c:f>Sheet1!$C$2:$C$4</c:f>
              <c:numCache>
                <c:formatCode>General</c:formatCode>
                <c:ptCount val="3"/>
                <c:pt idx="0">
                  <c:v>556.3333333333334</c:v>
                </c:pt>
                <c:pt idx="1">
                  <c:v>297.49999999999994</c:v>
                </c:pt>
                <c:pt idx="2">
                  <c:v>535.0</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77585ED-92C0-42B5-91DD-A9003E10D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BA7ABF7-1105-46FB-B610-A3BBB1C4D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D0CED11-5C5E-4B16-B29F-33A9C9BC2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B157540-C21D-4D7B-BF81-BE6B82E03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CE33BD5-E6DA-4062-BE63-0207EF7B5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08E341B-BFEA-4497-A8C7-8CF688993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CC5E44C-726B-4517-BF83-8ACB47E8B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7AB0427-0714-40EA-95EF-CF1295494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2F98BAB-93DA-4126-8672-52BCB0D9DF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C33CDB0F-63CD-40B1-97DF-9593A407B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13C7BA5-C2B0-4265-9CA3-2E7E0D5CD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4D446DB-BF02-4C9E-8769-262795572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610C15A-4795-4CE5-9D1C-54816A18D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BF1C6A7-4EF9-4FBA-980E-A1FC7EF9D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5426B14-95D9-47B8-8F08-FFD2D24116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C62DA0A-03A5-432D-84B2-1714FD62C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5780B9D-61DE-491B-8C04-7B47EFB42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5074556-23F1-47B2-B341-043D8779E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6591DDE-36ED-438A-A29D-1091AA209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63564BD-25A5-4527-8321-1B5956D9E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0A28B7B-B0B8-46D1-94E1-F93AE3708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9429EAF-CB38-46D8-A4B8-486CD60A7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79DFCE6-932A-4FB9-BD32-5DCD79C04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AC09A5D-D9C6-46FF-812E-7AB24CA090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67DF35D-42E7-4DDD-9CAD-B828CCE89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8A2ABC7-5E40-487C-9E42-162EC4CEE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75B834B-8C13-479B-B4AB-3F5A254BA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1ADC0B5-3471-43F5-82AF-167D7CB61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D1A9790-2B8A-4DE8-B1AE-4BF508C11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F98D23E-C3B5-4A79-9F5C-4BA460AB76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ACC3755-474E-48DA-839A-5A92D7088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58782A9-A993-42E9-B087-F274DF995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0D9B223A-AF72-440B-A07F-B9190D76FA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A1706736-9AD9-4DD9-8991-2CE59D590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6AEF76AC-FFD7-4A92-862F-3BF23AE72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3E23475D-71E5-4230-A24D-E0B877E63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0CF6B88-3D90-4AE0-929C-FE3F5EBFE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90AFF230-A84C-4112-BF1B-3AEB331C8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069848CC-F3FE-4AD4-89E9-5AA203D00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5241FB7-62BB-4336-9EB6-0A2FDA43A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5FCDED6-42E3-435C-9377-F3171FA8A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7485BED-5B95-4A06-9BE1-2935AD010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6BFD58A-2313-46C7-8258-2CEE22342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663D233-29A9-45B2-A3D2-B88F00DD4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5236C7F-D7E9-4121-BC8E-273A46129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344C2B2-B9CF-4780-940F-B84636E4B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37640CA3-074B-4F8C-AC1A-8B2C91840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DBCB4EF-D233-4B73-B969-5E7FF0F58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6D21FB2-541F-48DB-9208-DBA7FA56D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2956C2AE-7DE6-4466-A6CB-C658F8E6C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7FE1D1C-4079-49F9-A3C0-C65D92ACF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3A17E2CB-E0BC-448B-BE79-53B19CBDE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50A3C89-784C-486B-B449-3170EC4EB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4A75AB4-D072-4E8A-9C61-14E59B194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806524BC-3F60-450D-864C-4AD319E54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26F9273-109E-4013-852E-F04C7BED4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19E08AF-8D84-45C3-BB0E-9485C3A17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585</c:v>
                </c:pt>
                <c:pt idx="1">
                  <c:v>-0.0143</c:v>
                </c:pt>
                <c:pt idx="2">
                  <c:v>0.131</c:v>
                </c:pt>
              </c:numCache>
            </c:numRef>
          </c:xVal>
          <c:yVal>
            <c:numRef>
              <c:f>Sheet1!$B$2:$B$4</c:f>
              <c:numCache>
                <c:formatCode>General</c:formatCode>
                <c:ptCount val="3"/>
                <c:pt idx="0">
                  <c:v>0.4528</c:v>
                </c:pt>
                <c:pt idx="1">
                  <c:v>0.4575</c:v>
                </c:pt>
                <c:pt idx="2">
                  <c:v>0.4547</c:v>
                </c:pt>
              </c:numCache>
            </c:numRef>
          </c:yVal>
          <c:bubbleSize>
            <c:numRef>
              <c:f>Sheet1!$C$2:$C$4</c:f>
              <c:numCache>
                <c:formatCode>General</c:formatCode>
                <c:ptCount val="3"/>
                <c:pt idx="0">
                  <c:v>663.75</c:v>
                </c:pt>
                <c:pt idx="1">
                  <c:v>357.30232558139534</c:v>
                </c:pt>
                <c:pt idx="2">
                  <c:v>832.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09DB616-A718-4F09-88EE-1F67D94942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0238839-E304-4C75-BC0D-B0279C29B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DA345C1-1CFC-4D6E-BF78-E8D6F15EE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FCD2E25-AC99-47CC-A901-BC87EDE67C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87647D5-8AFC-407E-B0A1-47898E51B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8F6B82D-4AA8-4DDA-A684-8453795D4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709E5DD-FBDF-410E-AAA3-8E5C0939B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4B26CDC-463B-4DE5-A548-E02B8CC1C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50045B4-BAD7-4041-B888-0474FFCFF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2904CFD-3B79-497D-84A9-2EFBCE10A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89387A1-3768-4B13-B2B5-874E8345D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89C49C1-D989-4717-BA4B-B6AC3C62B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FC1338C-FC34-4E1D-820A-2D08B4B634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5792A03-F53F-40CE-B84D-E6720F042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FA41B8E-D230-4A6F-8207-FB5D407B8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DF41901-AA73-4350-9605-7C45B8EDC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9BF33C9D-20B7-4DB5-B102-13F2449AE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7F01CA7-3DEA-4723-8858-98897E414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990931E-7BC9-40BE-8C0F-DB81FCD10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FA2809D-FC2A-478B-B629-A40D570B2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B7B135D-1639-438D-A51C-C340B32DE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9433A603-C77F-4DF1-9786-5B60561F4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0850D34-AEE6-4394-8880-0668EBD0F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F4DF50C-EB6D-4677-A66C-32B66861F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9BF8ECE-8134-4D82-A3AC-3D5A5C505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034DF35-EDB7-4D8C-8B88-5A370C629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8CBFC3AB-B5B0-4827-8114-79964A7BD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4461F09-D0FA-470B-8DB4-FBF97CD10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1D78DCE-3A32-4685-8336-1C28A8671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74F8BEE-A350-4789-86B4-539AD4849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5BFD67F-85C3-4154-8203-27CACED98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3A2CAFA-2578-4AD9-B9BD-FB27A2BF9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8F8CC63-C644-482B-95C3-09844F909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88C895E-F970-47B0-8817-A883B5179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CD08BC8-A55B-4860-B80C-260F9E508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6D0DC39-07C1-425B-B567-1DB5FCF68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7EFB8DA-5E4E-4A7D-9099-9972F181F8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27F3714-4F7B-4F80-B96F-B3411859B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18601DA-37B5-4C64-A1C2-26732B481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1DEE72C-B96A-41BE-B02A-0B19A8B47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A745CAD-A649-46BD-A4E7-C60D28B623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CCC5775-CD0C-4A24-832E-2F07830F8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25DC018-ACDB-4E70-B7A9-7BD555117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8E4CABD-2208-485F-A3B2-FE2CA1A942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CDB45B1-39C9-43CE-B328-C8E69FBE2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6F369BE4-82D0-4D4C-9591-27A5CCC8B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FBF49E7-B261-43DE-B163-034052C0C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19D61340-B1E6-4F56-BF0A-3472616D1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5AC0CC0-D0D7-432F-AFFB-AE9712DE4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03F8C8B-28C2-46BD-B845-45B53CC9C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070D581-3713-406E-A53C-16F6705E9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CC163A0-5C24-461E-8E42-1853F441F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5AC4CEC-59E2-4FD7-AD93-4EAD48FF7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865F1930-B624-4AAA-B56B-42A42F074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8F5CD17-EA20-406B-92F8-950B7B421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641A138-401F-432F-A7FF-149DE0DD3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36D67F4-860E-4312-B63C-6DB4BF534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078</c:v>
                </c:pt>
                <c:pt idx="1">
                  <c:v>-0.007</c:v>
                </c:pt>
                <c:pt idx="2">
                  <c:v>0.1542</c:v>
                </c:pt>
                <c:pt idx="3">
                  <c:v>0.1389</c:v>
                </c:pt>
                <c:pt idx="4">
                  <c:v>0.0416</c:v>
                </c:pt>
              </c:numCache>
            </c:numRef>
          </c:xVal>
          <c:yVal>
            <c:numRef>
              <c:f>Sheet1!$B$2:$B$6</c:f>
              <c:numCache>
                <c:formatCode>General</c:formatCode>
                <c:ptCount val="5"/>
                <c:pt idx="0">
                  <c:v>0.5227</c:v>
                </c:pt>
                <c:pt idx="1">
                  <c:v>0.2565</c:v>
                </c:pt>
                <c:pt idx="2">
                  <c:v>0.4868</c:v>
                </c:pt>
                <c:pt idx="3">
                  <c:v>0.4598</c:v>
                </c:pt>
                <c:pt idx="4">
                  <c:v>0.4776</c:v>
                </c:pt>
              </c:numCache>
            </c:numRef>
          </c:yVal>
          <c:bubbleSize>
            <c:numRef>
              <c:f>Sheet1!$C$2:$C$6</c:f>
              <c:numCache>
                <c:formatCode>General</c:formatCode>
                <c:ptCount val="5"/>
                <c:pt idx="0">
                  <c:v>408.96</c:v>
                </c:pt>
                <c:pt idx="1">
                  <c:v>1087.5081967213114</c:v>
                </c:pt>
                <c:pt idx="2">
                  <c:v>344.125</c:v>
                </c:pt>
                <c:pt idx="3">
                  <c:v>421.6666666666667</c:v>
                </c:pt>
                <c:pt idx="4">
                  <c:v>450.678571428571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3DE4A20-684C-4795-9528-FB6C0FB72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8EE0092-9210-438D-98B0-65F0E097C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E9EA468-9B71-47A6-AF1C-606886681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C69785B-D544-467B-9EE3-68F86F3B7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8041FB6-4C2D-44D5-9828-94CA768E8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CD852EF-24DA-4369-97B7-8FBECCA18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DAA47FC-0FD1-4957-A9B3-650B1F0AA1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880C034-0C0D-48CC-98FC-4F37BEF53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BD583469-365E-4668-91DD-BED7140C0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ED70B922-924D-4072-ABC6-FACEA82AB1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DE9360F-4F77-4095-89C3-07A50DF81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865EB2F-4191-4E73-89F0-1488541B7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93DFECD-95CA-4B00-A3B8-02CC63E743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2DD55C9-F94B-4E6F-8161-04C51DF99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752ED1E-3965-4612-AFA3-80AF4B633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5501510-F047-4B28-9A58-FE7BA6D68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D3E4916F-9E10-44C0-86F2-6AD404EB7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BD86CE3-864B-403D-B822-601241585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CD3FAFDF-D27B-4DE8-BE43-3BEE2CB5D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D9A34BF-4D48-4862-9900-EAE823E5C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4949E8B-498D-47F8-83B8-2FBB80B77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4F02F81-A9EF-4FA3-AC9D-6ECA4D2CE7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185DF95-14D1-478B-98C3-3298F4B83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0A2533D-654D-4E01-9795-3D605955F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250C8C7-C3A8-4120-A3C1-3F4229BAD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53C7D3C-CD53-4039-96BE-47A7DB555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1F05B13-B695-4EBF-8DD8-2A0B0CB5EB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C62937A-2A8F-477E-BD4F-6B36F54046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80BB7BB-841F-486D-9944-799A9661C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4707930-7B41-4532-B578-518D454F1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4093416-63E1-4A89-B31C-C5B3231B5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9728ECE-95C4-491C-B1A5-938B9AB89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C3E4B43-2497-49DF-914C-C921439BD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F33D2B7-B01D-4566-95E7-BB036E7B8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F9E1162-4276-49F3-933A-CEA2AD802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BF30172-B941-40D4-96EF-685470544E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234A121-17B6-4652-8A60-ED576D10CF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B6048FA-98AD-4E80-9512-DD91E71CB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BECE00F-5658-42E3-A21A-38A7D667A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A0FB7F3-7DD9-40A3-87B3-CB262498B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9546D10-83C4-4348-ADFE-85730522B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0E6D344-EF19-47A1-9E77-E1415A84B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76AFAF6-B1C2-46DC-92E8-FCE72405D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91C6DB4-C73A-4D16-BED4-2C9722539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891B932-83DE-4CA9-9608-B850AA52F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A6A4AFB-A5BB-4E96-B56F-37516D3CE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FDD0E30-D74A-44EF-B737-4183CCA07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8DBBA3C-5D13-496A-A81F-104A01F2B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E89F9E4-2CFB-4DC0-B454-F24C6D07D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85D0BB0-53AA-43CC-917E-BF69C5225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5AAE6C40-8F49-407B-AD45-08F514BE4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856DBD9-AFDB-42ED-BD60-9EE416545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C7491D4-97E5-4D34-AACD-8030B906D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141725E-094D-4487-83AD-76B206C0D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1474AC9E-3B94-4F03-9B97-EF02DA0CC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76FD12B-0957-4DE0-860A-83E7D19F8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B1BE0E2-E7B5-4714-8B34-725CF4FCB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0843</c:v>
                </c:pt>
                <c:pt idx="1">
                  <c:v>0.0038</c:v>
                </c:pt>
                <c:pt idx="2">
                  <c:v>0.0906</c:v>
                </c:pt>
              </c:numCache>
            </c:numRef>
          </c:xVal>
          <c:yVal>
            <c:numRef>
              <c:f>Sheet1!$B$2:$B$4</c:f>
              <c:numCache>
                <c:formatCode>General</c:formatCode>
                <c:ptCount val="3"/>
                <c:pt idx="0">
                  <c:v>0.5222</c:v>
                </c:pt>
                <c:pt idx="1">
                  <c:v>0.257</c:v>
                </c:pt>
                <c:pt idx="2">
                  <c:v>0.4826</c:v>
                </c:pt>
              </c:numCache>
            </c:numRef>
          </c:yVal>
          <c:bubbleSize>
            <c:numRef>
              <c:f>Sheet1!$C$2:$C$4</c:f>
              <c:numCache>
                <c:formatCode>General</c:formatCode>
                <c:ptCount val="3"/>
                <c:pt idx="0">
                  <c:v>204.14285714285714</c:v>
                </c:pt>
                <c:pt idx="1">
                  <c:v>468.7678571428571</c:v>
                </c:pt>
                <c:pt idx="2">
                  <c:v>175.0476190476190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7773EB5-7553-4814-B06E-13100259E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CA66322-DD1F-4D25-B59D-01D0F62FB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C6C4129-D571-444C-AD64-5D08BD459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352EEE7-32B2-4153-AD14-26AD586E3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1E6F581-A9C4-4692-B7AA-DB56ADA30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DC57736-A7BB-4BD5-B864-9C05A210C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92844AF-BB99-470B-8DB3-868A1891D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28F3AC2-75DB-4A27-A6CC-855917A53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8D8AB6C-349F-4FC9-B228-621CB36EB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1FB86F4-1616-4C75-9B52-315759915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126C73A-8C91-4AFD-8605-E528B64EB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3C0DB9F-092B-49D7-BC54-1FF0A81DC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A5C9F91-9CC2-4577-A2A2-8156ED3D5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3B2C31D-7A8B-4C9A-B049-8C50BF60F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0A7F549E-82E8-45C0-B177-38DD8BDA4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A51589A-7BBB-4A48-87A2-271E2A43D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2533825-576B-4706-8F84-40CA93E23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AC5D2FC-4F37-4534-B505-DF55E6D163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DB08E5A-AD9E-4938-8F9F-F8E71FCB2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C0D5AB4-C9D0-4A4B-9DDE-D9730708C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008D2FB-DF4B-4D41-8EE3-9A36181F1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85925E0-DAE4-4B4B-8074-A30212DEC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E193D14-E5B9-488D-8D92-55E0C3B83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CE4345A-115D-4A32-98D0-265D4ABD1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4DC4BDE-4E70-40BC-942F-4E4E3241D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812CBD5-7B8D-4B2B-91FE-63B09535D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1B23B86-7E3F-49C5-8544-F2C14A084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0AB0098-AD1E-4E00-88AB-69E2EECF8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97245EC-9BF1-49A0-8716-A6E9C4409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87ADAD2-B3B7-41DD-B279-D0CBE0DBF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D8901E4D-6C73-41D1-B26E-4ABB9C026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ACBDD45-0E91-4FD1-B8EC-410B47EAF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28EAEDF3-B275-4812-94E4-41C6F2382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F5F50FB-0C0C-43EA-8CED-FA4ED9A3D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ADE2545-8C3B-4980-B247-1483EDB42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1AB683AB-D5CE-47DE-9CAC-849836A8B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929C070-0AE7-4719-83E5-322DF23BF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673B2DC-CA79-4D2B-A9F5-B7D73BF7F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75C07C7-B68C-4C1F-8AA6-5F950EA1F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2F17256-9086-4ABD-AA44-BA183BF9F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7FA1993-3B2E-4A2B-9FB7-85990675A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D482C44-9A52-4D1E-83CC-165878732B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3E5A688-ED13-46BB-A175-2B323226A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5D2381B-1E74-4DAF-92E9-B8E7FDE67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67192A0-2E46-448C-9B6A-5DE360581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B8975B6-FDAB-45C1-A233-2B4D4B082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D08721C-5F3A-4F0A-A2B4-EB93AA621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98499A3-E6C0-4970-B16F-61768BAF9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7CC897D1-9B23-4B11-9B23-D50E49304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0D65EE4-2428-475E-9D9F-139079073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72349C5E-6AB0-436F-BF14-3AF62B126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EC84808-A596-42C5-9F63-FFD5A71E8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BA5F250-B537-4C94-89F4-2FC75D18E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5383BB3-874F-4E01-B168-AA1787EDF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8D1508C-1C8E-4730-8C12-93F730F84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3688168-437E-4BBE-BD4A-DEDB15387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0C919F5-AB2D-4632-A674-906E5EFE7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056</c:v>
                </c:pt>
                <c:pt idx="1">
                  <c:v>0.0055</c:v>
                </c:pt>
                <c:pt idx="2">
                  <c:v>0.0843</c:v>
                </c:pt>
              </c:numCache>
            </c:numRef>
          </c:xVal>
          <c:yVal>
            <c:numRef>
              <c:f>Sheet1!$B$2:$B$4</c:f>
              <c:numCache>
                <c:formatCode>General</c:formatCode>
                <c:ptCount val="3"/>
                <c:pt idx="0">
                  <c:v>0.5203</c:v>
                </c:pt>
                <c:pt idx="1">
                  <c:v>0.2562</c:v>
                </c:pt>
                <c:pt idx="2">
                  <c:v>0.4819</c:v>
                </c:pt>
              </c:numCache>
            </c:numRef>
          </c:yVal>
          <c:bubbleSize>
            <c:numRef>
              <c:f>Sheet1!$C$2:$C$4</c:f>
              <c:numCache>
                <c:formatCode>General</c:formatCode>
                <c:ptCount val="3"/>
                <c:pt idx="0">
                  <c:v>67.9090909090909</c:v>
                </c:pt>
                <c:pt idx="1">
                  <c:v>283.578125</c:v>
                </c:pt>
                <c:pt idx="2">
                  <c:v>100.02631578947368</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3100BC2-B50F-43C5-9D27-46083A684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E4E90E6-349B-4032-A739-3B525F2F0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2333AD9-A574-481E-A68B-FBD37985A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3D53517-7B73-4F41-9EE0-9A4C14AFB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47024D5-F2AC-4969-8300-7B2842799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CEDE98D-E5A0-48B5-97D4-0927E37A5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41706EB-523C-4AAD-9172-0624B6B50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C66AC75-4608-4175-82CF-062BAED97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E6D73D9-9852-4FD9-B4F0-D643C0821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FA56A7C-CD9F-472C-8FE6-1A394195B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609DABD-3C2E-4AC3-9041-56CE45D26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5C08FAB-B588-4B86-AB16-4FAD65D2F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5C9FCA0-C834-4EE1-BAD5-21A5CC37F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C35018B-1E06-47DD-AD98-96E26124A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0056BF7-888A-4526-A069-07FF4E8FE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DFADFEAD-A507-4456-A3FE-97246DBFF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312B8E0-239C-4A17-8C27-B49055CAD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A574277-DEE6-4FF4-976B-EAF550B78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D7F5388-6B48-4EA5-BA1E-06E94D27B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770110D-4FD0-4254-8C78-C1C04C70B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5B8CA3EB-CEE5-4660-99AD-47D9C8C46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CB412253-83C9-4726-AE6E-27750C17A8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C8DE9C11-AFA1-4924-B7DE-BEECAA50D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7B054E8-B7C7-4902-91B9-98E277CF4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D8DE14D-D11B-4DB7-897E-2074A4C97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797DB5C-5918-459B-A368-188AAA7F7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82B5C30-453B-4C46-B49A-4B739DE11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8A8BE7E-56D5-4333-B151-CA57A8F9D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45CD450-DE93-4882-981C-341072604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56E41065-90AB-4EC4-9A4F-89FB6199C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AD8A3D5-72C7-413D-B8FB-F5758BC31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38847F8-C3D7-45E7-A650-DC3BF7888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2A5B6DA-6086-450A-A9E2-49F4590A0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E2BCD56-11EE-4EB0-BF68-9C4A92386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4DBC107-8AFB-4BBC-807E-A3FB8B79A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A3E6E86-1BD6-4DB2-B032-2C11056AD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297A746-8926-4BE5-BD8C-CCC7BEAEF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2B6D5ADF-F088-4D6B-A888-FD810D8F1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4BE74C68-4944-4ECD-9C14-120C1001A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E2EFDBC-9E3F-4318-8E4E-B072BAFA2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EBF5C09-2EEB-4B1F-8EC3-2DAA4EEDC9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983C666-2B78-4FDF-9009-372718619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EA066C6A-2414-4290-94D3-02ED4DE75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EC9CD48-FE7F-42B8-9AD1-7FDD7130E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C696BBF-5AF6-4761-B12E-F94638965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C60B256-72AD-49BA-BB48-B9F567B12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2479276-57FB-450B-9F17-3A567FC1F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56463B68-D8A4-4D33-8899-DB89C57DC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A3F2F28-6E35-4B82-A9F9-8F207E734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3C8080C1-CDF5-427C-A3B9-FABD8CFE7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63DA7286-F17B-4735-961C-80A647C9A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C043FC2-A6A7-4FA4-96CC-4367C93D3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96C3040-190C-4F32-8780-B3714BAB8B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F32DDE3-1351-43BF-AF5A-018853769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6B1C1DE-B092-4D54-A75C-FFA2A7565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94FEB894-E078-4835-836F-DAEAA26B1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2A3975C-1969-4E97-A7D9-E574DC522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0996</c:v>
                </c:pt>
                <c:pt idx="1">
                  <c:v>0.0029</c:v>
                </c:pt>
                <c:pt idx="2">
                  <c:v>0.0951</c:v>
                </c:pt>
              </c:numCache>
            </c:numRef>
          </c:xVal>
          <c:yVal>
            <c:numRef>
              <c:f>Sheet1!$B$2:$B$4</c:f>
              <c:numCache>
                <c:formatCode>General</c:formatCode>
                <c:ptCount val="3"/>
                <c:pt idx="0">
                  <c:v>0.5245</c:v>
                </c:pt>
                <c:pt idx="1">
                  <c:v>0.2577</c:v>
                </c:pt>
                <c:pt idx="2">
                  <c:v>0.4829</c:v>
                </c:pt>
              </c:numCache>
            </c:numRef>
          </c:yVal>
          <c:bubbleSize>
            <c:numRef>
              <c:f>Sheet1!$C$2:$C$4</c:f>
              <c:numCache>
                <c:formatCode>General</c:formatCode>
                <c:ptCount val="3"/>
                <c:pt idx="0">
                  <c:v>105.60975609756098</c:v>
                </c:pt>
                <c:pt idx="1">
                  <c:v>355.9767441860465</c:v>
                </c:pt>
                <c:pt idx="2">
                  <c:v>173.74418604651163</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C4FCB57-70F4-47CB-8A6F-486EA3823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D4C96D4-14CD-49ED-B692-82C24AD8A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83A1387-24B7-43FA-B041-835DB01DA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A198850-48E7-4D12-B9E1-34131D5F1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94A146C-43C1-4B7A-82B3-8ACB718B6B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F920A76-BE80-4DE3-A8C5-0A5C894C9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52EF194-17B9-499C-A019-39936927A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9CBF62D-8F83-4AA1-AD20-99066A2CC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CC03C07-1857-4DC9-9A49-46E34C62D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BE9866C-5C6B-4672-B56F-92828343E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2FBDBCA7-9A5E-4F84-A776-351512F0B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480D91F-E1FB-4C97-9FDE-C262FA4C6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DEC2CD8-B7CB-4AF4-A236-A51E4C79C9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DD207BEB-DC4F-485B-BF5D-3FC1E5D40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C4A3ECF-C0B8-4CA6-B5A1-8FA8D1C73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A99EA5A-3C3D-47C3-9C46-FC602C0F4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2E49D23E-267A-482C-9CFC-2DC3C16D6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FDD974D-1DAE-4DE8-AEBF-25D4F8EF8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0CF5F9B-5F51-4F72-A6CD-1B887F088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8AF32B1-3C6F-4C40-9EC0-382583B26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70A4081-4352-46F3-992D-21CBBE409E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B9B63BC1-C47F-42D1-B6C9-94FBBF92E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17DD250-E785-48FE-BCD0-189829536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D74D711-B978-47AF-9EC4-BC493E3C6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67DDCF3-A061-4A64-B9C4-11EBA4ACC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588CB8F-F50C-4895-8991-0CC3377EF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90A9EF6-515B-4EC5-909C-1EDA133E9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C57AAFA-BE0E-446B-943E-2423ABDFE3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7140E2E-FC31-4DF4-99AD-11DF6E95F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ED7CB46-CAA3-4A52-B822-87EEA7150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CC3AAF15-BFAB-47DC-BB1F-2A296EF72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90EBF621-F33E-442B-A558-F0945093B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3DF9D79-81AC-4EBA-8155-00AA200B2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0873B02-FBD1-41FA-9B90-BC3570F1E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4B1606C-314E-498D-9C74-EDD541188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8B8D87D-E8EF-4F1C-B37E-6A6C15A53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4C536AD-863A-47FC-9006-D8DB744FD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D138B39-CA1D-4FCF-9514-B3C8DCC69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5568A83-6F0F-4C82-BF75-B75911512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726F78B-DE71-41B5-A727-0B65A9438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8807E70-36D9-451B-9473-CACF29172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C42FA9C8-E508-49E7-A787-BF568E095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9E069DB-C2A4-4736-90B7-7009C6DBB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8646A68-26CA-40AA-AA99-713C31D22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82A40432-C202-4914-A10B-0321FE0F8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996060A-74C6-412C-A44B-31A80991D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B3AE4D7-AA64-47EC-9AB6-78599870F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6C1B375-0775-437D-902A-23423B056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05B3B85F-A564-4C80-9404-A6A402D63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942FA47-7526-4844-AB1C-C5A2B5D05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03603D2-6A88-4EDC-8806-A3BD10F75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702A9DB-F201-4EB1-81F5-C7125EA29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FA2AB99-9852-4D43-B319-00F81369F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928D56D-F1B1-42CF-9018-F20E2D36E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1CAB24F-4751-463E-A597-59FD68F46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1E79F1C-87CF-430C-8B28-35201E594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3F522E44-AF82-471D-B6CC-173975C77E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1186</c:v>
                </c:pt>
                <c:pt idx="1">
                  <c:v>0.0068</c:v>
                </c:pt>
                <c:pt idx="2">
                  <c:v>0.015</c:v>
                </c:pt>
              </c:numCache>
            </c:numRef>
          </c:xVal>
          <c:yVal>
            <c:numRef>
              <c:f>Sheet1!$B$2:$B$4</c:f>
              <c:numCache>
                <c:formatCode>General</c:formatCode>
                <c:ptCount val="3"/>
                <c:pt idx="0">
                  <c:v>0.5245</c:v>
                </c:pt>
                <c:pt idx="1">
                  <c:v>0.2574</c:v>
                </c:pt>
                <c:pt idx="2">
                  <c:v>0.4763</c:v>
                </c:pt>
              </c:numCache>
            </c:numRef>
          </c:yVal>
          <c:bubbleSize>
            <c:numRef>
              <c:f>Sheet1!$C$2:$C$4</c:f>
              <c:numCache>
                <c:formatCode>General</c:formatCode>
                <c:ptCount val="3"/>
                <c:pt idx="0">
                  <c:v>66.04255319148936</c:v>
                </c:pt>
                <c:pt idx="1">
                  <c:v>238.43055555555554</c:v>
                </c:pt>
                <c:pt idx="2">
                  <c:v>85.72</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DED11FF-DD9B-490D-A2A6-0C1AA6E3E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3C4372A-08A4-47F9-9743-7D9F7D17A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432A58D-05DC-4CB9-9630-55F2ED92E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B7AF431-6716-472D-A45F-B1E5402ED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7CFD9E7-4359-4CF0-8A54-237DFD5D1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2DB0A0B-CE17-4153-82DB-D81EB84BC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E2463842-7BB7-491F-8903-12EB802BA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3767375-96B0-4D6F-9D5C-EF3FF765C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6967656-2771-4F57-BB4C-AF8ACF451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8D8E434-2DFE-45A0-945F-AE05F5321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29D4C28-12D5-4EDA-ACB1-997A54DFE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A459BF6-B1BE-4E82-B51E-A1BDB8522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B9E01D7-9D61-456D-92F6-E840CADB0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66D5ED9F-BEA6-489F-8899-97B1F991D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1516914-30CB-490B-8AD3-BB164388A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E22E0204-EB2F-4111-A818-09EE5138E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1668581-1DFA-403A-AF6C-92D296DB3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2B32679-A363-4D15-9C93-2EEC44CA5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0615878-3109-4602-9AC4-AECA3409B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1F1BDDA3-E0BC-402F-96D1-9126CFD40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3F99C4C-03FC-4F5B-A5AD-405A8A52F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12821F0-188D-4A2E-AFBE-2C15D0F53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BC82F00-CB9E-4A39-93F7-EDA27B628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53D792D-A3BD-4656-B64F-197EDACCA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0C68A3A-45DA-4A95-B848-5E2F3E488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A9BB522-799F-4C65-9058-6379EE114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728BAF4-F966-4514-9458-DFC1F83E9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0349795-418F-451C-858A-28FB95422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A5F6360-0655-4C2E-A286-3727F359E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AC76DC4-3DCA-4AF3-8892-733B41C58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07BD938C-25CD-4B84-8761-83A5FB881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3428E5A-A7D8-4A7B-AAB5-39AB5C357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9AB4A72A-DAAF-41D7-BD15-C9B93B66D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AE58202-42A2-4FE8-A7C9-DCE7A8C064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6A71CB5-EDD1-4ED3-ADAA-D28119507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98169C4-EE76-4F36-9C85-F1E1C6C69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054084A0-5E1D-4C84-84B9-97CC86C3B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5B8C5DF-EC26-4343-A7E3-CB9676E9C8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359BF3BE-9DE9-4C52-A95C-87465BBC8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0C13A6A-9BE6-4D3B-97D3-27D918CE8E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B61CABD-C7FD-48CA-B3B8-B2BBA8820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0427C43-A4A4-44C2-B540-029AC41F2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0BCC608B-D247-4F7B-8256-4B34490C9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A5E9B32-3916-4D2B-BFCD-F56794723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A008891-04BC-4490-BB30-230F95C80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CB3DC7F-891E-4AA2-BE38-758C484E3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760DF266-BA2D-4925-B3D7-89E910039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61FAEEA-FFA4-49C0-85A0-43A18F8E3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53E2C035-7198-4E5E-9C49-FB81A4462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1FCE15C7-98F0-4208-9481-F78AA43D9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CC7F14E-2651-4657-9431-DAD247F71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BC572363-43E8-4218-AFF2-AA2E70DEC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3B6E9E1-4511-47F4-9C2F-A6D44CFB8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693A718-7990-4C71-BBDD-81C43580E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DE0D387-8965-4893-957E-51F7BD1427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6098BD6-76F5-4CB4-B064-240A641CC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EE4C2D1-2AAA-47AC-A852-98C2BC0C9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006</c:v>
                </c:pt>
                <c:pt idx="1">
                  <c:v>0.0598</c:v>
                </c:pt>
              </c:numCache>
            </c:numRef>
          </c:xVal>
          <c:yVal>
            <c:numRef>
              <c:f>Sheet1!$B$2:$B$3</c:f>
              <c:numCache>
                <c:formatCode>General</c:formatCode>
                <c:ptCount val="2"/>
                <c:pt idx="0">
                  <c:v>0.2569</c:v>
                </c:pt>
                <c:pt idx="1">
                  <c:v>0.4791</c:v>
                </c:pt>
              </c:numCache>
            </c:numRef>
          </c:yVal>
          <c:bubbleSize>
            <c:numRef>
              <c:f>Sheet1!$C$2:$C$3</c:f>
              <c:numCache>
                <c:formatCode>General</c:formatCode>
                <c:ptCount val="2"/>
                <c:pt idx="0">
                  <c:v>165.33823529411765</c:v>
                </c:pt>
                <c:pt idx="1">
                  <c:v>40.0</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AD6CDD4-BCE7-457B-A0E3-3D285C369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ADA07EE-96B4-40C5-8DA8-3D081CA5C4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2BF81F1-0416-466E-AD34-4A3D66F2D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2F84AC8-ED0A-4A49-B648-DB71DE97C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5161F9D-DED9-4C86-A61E-CA0413AB1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74FE964-42D0-4A58-AA20-24B8FC9C0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428F66D-4231-49C9-B66E-B0065D79D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01B0824-4D7C-4C1B-B7C5-B9B236088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E6C4736-7B26-4D81-9412-19B940049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13C5417A-E3B8-4622-BA99-EE6B6FF79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44E0529-806C-4065-B669-6996A3A07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E2EC103-C18D-4269-BEEB-BAE25DC0C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7DE7587-0C8B-4448-8413-91077B531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9D85C8C-332E-46FC-BEC6-192AFA122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1F1D80B-02B7-4A85-AF84-AD5296F52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CFFB21E-0D56-4DC5-96BD-318EAD5EE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970D9F06-BB9E-45AE-AEEA-8E13D5DBF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4049FAB-A171-434C-BEA2-15641B03C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29E12D6-AB92-4F6A-B410-2614303D7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42B90E80-14A3-4C1E-BEB5-61CD4F756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3CCF798-EBCE-40F9-854C-1F953405F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C19EA9A-F6C3-413A-BFB4-D3CE7EE98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C9EE091-5E61-43EE-9E79-E9142CE27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943BD03-2240-4CD9-8A6B-8C0EC4062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A29C1C00-F44F-4D34-B48B-0466F2BEE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F693690-CF88-4417-BB2B-C7799DCD2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D704328D-BA53-48AF-8028-9E21EF7DF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F0E7066-4B6A-4152-930C-C67187FFE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2DD0E25-3C17-4918-9549-07E33F162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3617405-8869-4FC3-BE07-2C2982A1C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BDCDD84-535C-4AED-B39B-7AE56E241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8A6D025-23D7-4EFD-9933-7695A4D45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F708EED4-95A6-45B7-90DD-8ACB88B30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656A2C6F-A73A-42CC-8A95-38D5FD77E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0D2836E2-2BF7-4F62-831E-E9213AFF77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E19C1B6-5C1B-4B8F-A7C0-CEF0E81DB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4D9B35D4-D394-4EF4-99BF-63173F54C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C295D96E-63BC-449F-B1A1-4B33FB962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857D88E5-E72E-4FA8-8C6E-368BE1877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CB3EB6B-CD2B-4C37-A5D2-F536BE0F3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3D09CBB-2B16-4B58-A3DB-510F519645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2E3D341-9304-4EAE-A925-DC27615A9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3B171F5F-9D6A-4498-985D-F6B3F1714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6EA4C7E6-08EB-4C56-AFB3-79B8CDF85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785E3776-3AF5-4360-B020-48E007FCC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ACB4AF0-3B6C-4A34-BCD9-8E871B2AE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F0DDCF1-AAD4-4E9D-A4AC-837EB04D5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0444DD4-FD54-4A18-AD46-76BD35074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1413F47-2C88-469A-AF52-BAB8EB9E7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787FFAA1-7AE6-4A23-8944-BB8097C71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1EC4793-3F5C-4B0F-BAE9-75BA740D8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0A219403-9D70-488C-842E-FAEA18CE6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EAEF1248-106A-4400-AA47-B1C0D9F8A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1BD2513-D767-4EF9-BA2F-B4AD49D1E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518A6687-AEC2-403A-A557-6164520AC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4C86133-B314-41B3-88E5-A81939391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0A04E58C-8B2C-4CEB-8DCF-44FD5B8D2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0727</c:v>
                </c:pt>
                <c:pt idx="1">
                  <c:v>-0.0039</c:v>
                </c:pt>
                <c:pt idx="2">
                  <c:v>0.1081</c:v>
                </c:pt>
                <c:pt idx="3">
                  <c:v>0.0328</c:v>
                </c:pt>
              </c:numCache>
            </c:numRef>
          </c:xVal>
          <c:yVal>
            <c:numRef>
              <c:f>Sheet1!$B$2:$B$5</c:f>
              <c:numCache>
                <c:formatCode>General</c:formatCode>
                <c:ptCount val="4"/>
                <c:pt idx="0">
                  <c:v>0.5221</c:v>
                </c:pt>
                <c:pt idx="1">
                  <c:v>0.2566</c:v>
                </c:pt>
                <c:pt idx="2">
                  <c:v>0.4626</c:v>
                </c:pt>
                <c:pt idx="3">
                  <c:v>0.4786</c:v>
                </c:pt>
              </c:numCache>
            </c:numRef>
          </c:yVal>
          <c:bubbleSize>
            <c:numRef>
              <c:f>Sheet1!$C$2:$C$5</c:f>
              <c:numCache>
                <c:formatCode>General</c:formatCode>
                <c:ptCount val="4"/>
                <c:pt idx="0">
                  <c:v>325.4761904761905</c:v>
                </c:pt>
                <c:pt idx="1">
                  <c:v>1000.931506849315</c:v>
                </c:pt>
                <c:pt idx="2">
                  <c:v>377.2857142857142</c:v>
                </c:pt>
                <c:pt idx="3">
                  <c:v>364.2857142857143</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C167716-8A4E-4AA6-A382-F0CEEC462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1D9774F-BE94-4C6A-8D07-5007A329E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1D68E18-E800-4097-8E31-E3066A6D5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FF34AF6-DE5D-47D8-BC82-21D091798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29B22CD-99FC-4C86-A7DE-6EE264498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C9F9033-F5AA-4A25-BA45-A1300B46E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732B1F2-F29C-4FFC-B57A-854338B2C2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177DC0B-02CA-4DA6-AB03-B7AFF9165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7BE3DBC-8AFE-4A00-90AB-B9EF17A3E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90FE8BE-1C60-4A87-A52F-8C0A7637D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916018E6-825A-44E4-A7FC-D4FB170EE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746E6BD-6E8A-4013-8C44-CD41C8491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1914533-734F-4879-8D2D-610B874E4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4BA493A-1E56-4A35-B1B0-875C1E326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43AAA1B3-E3C8-4743-B601-A933A635E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EC49969-39F7-4F71-B151-3122321FA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1DE6668-1B96-447A-9415-4AFFF15FC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567EFE4-62D2-4EDA-93BC-1F7AD8B14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7600DE5-8D8E-4809-9D0B-F300CF72C4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96375A4-0B18-4142-A692-598B460307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EED0FA4-7AED-483B-91DA-12155AEE8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2EAFEB7-8476-4964-95CF-EEC470F9F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252CF0D-5B04-47EF-9A45-D0ED2FAEA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4E5527B-71B3-47B0-88AF-820D11B47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DE1B88BF-797C-40E4-AF72-2201E5D43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41F0867D-498D-450C-935F-D605FA8CA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C6FFA12C-3AAC-4892-BC8F-DD8A575E8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7D1BC80-3774-48A7-8611-AB912BDDDC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FAA116A9-B9D1-41A9-A89B-0D643C83D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CB9CA76-0C72-459D-AEE2-0DE77610F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CB846BD-2EF0-4A5F-A989-CC735CC8F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D9C10A0-03E4-4C4F-89FC-3EECC4782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893A835-EFE8-4589-BFEF-9DD5362AF5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72C3E228-31EB-4BF3-BF3D-21119D41F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D46B6C87-83F3-4A4A-914D-2133AA258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DB6C443-3058-4093-B78C-C20188284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1737DF2-839A-4F8B-8D30-AA57B3DFB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1BE0F9D-4BDA-40B9-BBB1-8CF413D698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39EB6D5-FD32-4252-955A-2459B50C2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9862D062-4591-4CDD-BF71-399B0FE0A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F74625F-7706-4EAC-905B-170697479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558A3E8-82F3-4B2B-8FA5-CEDB787A1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748AC98-ADB0-41A4-A552-0FE34EF13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3C1B615E-283F-4E48-B38A-2ACA05206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058FD8BD-D810-4104-9B44-E0D7B8842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9741E278-F938-4A45-8328-2F9A128CE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730726F-2C67-46A1-81BB-70E14A81B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BCF8294-9A3B-44E8-A83C-FBDE8749F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075F62E-E581-40A4-906D-764983167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E15CCC8-9803-43B0-9E16-A3A27BD20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D3475755-A307-4215-AF16-495AA1B50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E013E592-7FD4-4B19-9E5F-43E928653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517683B-C1E6-4F05-8D25-9A2FF30D9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9C0EF1F-6FCA-4B0D-9139-15CD7D61D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DE8E173-13E9-4AC6-A894-575516D0F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C390277-4D49-4001-9D67-0323A7340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96C67EB0-DAFA-4D2C-9E85-03DC1C0E1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0867</c:v>
                </c:pt>
                <c:pt idx="1">
                  <c:v>0.0031</c:v>
                </c:pt>
                <c:pt idx="2">
                  <c:v>0.1539</c:v>
                </c:pt>
                <c:pt idx="3">
                  <c:v>0.0704</c:v>
                </c:pt>
              </c:numCache>
            </c:numRef>
          </c:xVal>
          <c:yVal>
            <c:numRef>
              <c:f>Sheet1!$B$2:$B$5</c:f>
              <c:numCache>
                <c:formatCode>General</c:formatCode>
                <c:ptCount val="4"/>
                <c:pt idx="0">
                  <c:v>0.522</c:v>
                </c:pt>
                <c:pt idx="1">
                  <c:v>0.2562</c:v>
                </c:pt>
                <c:pt idx="2">
                  <c:v>0.452</c:v>
                </c:pt>
                <c:pt idx="3">
                  <c:v>0.4818</c:v>
                </c:pt>
              </c:numCache>
            </c:numRef>
          </c:yVal>
          <c:bubbleSize>
            <c:numRef>
              <c:f>Sheet1!$C$2:$C$5</c:f>
              <c:numCache>
                <c:formatCode>General</c:formatCode>
                <c:ptCount val="4"/>
                <c:pt idx="0">
                  <c:v>210.625</c:v>
                </c:pt>
                <c:pt idx="1">
                  <c:v>516.92</c:v>
                </c:pt>
                <c:pt idx="2">
                  <c:v>176.1875</c:v>
                </c:pt>
                <c:pt idx="3">
                  <c:v>272.187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55CF7DC-6129-4FA2-88B2-60C94AFCC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468C820-08A9-44AB-BA37-BCF2C13F8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DFF3F5A-7877-4A9F-91D3-A3E2B9EE9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FB4F687-8ECF-4559-95AF-3F5E5C1F7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53E0C29-5F33-4A3F-A7A5-972C6E456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108C4EA-1FC7-4520-B230-14BE16A09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CD23155E-EDD1-4293-9F0D-CFAE6DEFC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4769400-2D6F-4051-9B7D-8346D131B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D3594C3-E786-46BF-94C6-9128AEE84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5D60C0EE-11CD-4CF9-B2B0-8647E8D89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35A8B15-54FB-4E2E-BEB2-8AA0F1C47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61D949D-E4E9-4391-A441-FCE490E00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B9EEEF2-0885-42CE-90A1-E8172EEE0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1F25EA6-4B50-4095-922A-3123B4CE6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347A62A-573C-4100-B530-4F126E60C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AA334DF-B335-43DD-A682-D5078CF3C2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66B5B33-7A34-4E49-9462-518D61AE3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539A2A2-C3A3-4793-9266-3FA85FFE3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642DE27-4A33-4C83-8683-8B60BF453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3393C46-4C18-43E1-A3BA-8F7B2B272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DAFF1E46-D7F2-4C03-BABD-AA7FF3628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29308DE-D4D2-4DB6-8FB6-8989CE4F6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3C7C272-3AF2-4787-AB0F-8A4936CCD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0310A52-B4CF-4D09-9C04-9C02526D3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0793293-6639-4B98-AC5D-FFB09DAA5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AE83738-E410-4614-A7DD-14AFF1014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BF601C6-9C1C-4256-8260-75642F416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4A465771-089D-49DA-AEEB-B5E13C989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B3D68A0-140D-4C40-9B83-7A2262ED1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3DE249BD-E7E7-4AEF-927E-2C2303CE4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89C07B7-528C-4F59-B957-7CE9A4F74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EBB6F48-7529-4393-A6DB-6951B8AA6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89D01A2D-44F4-4D22-A85D-441F8D45F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9B18CBD-8E0E-41A9-814C-B26621C55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8CC2281-A971-42CC-9BFB-530323E67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95F2591E-474A-40C0-BB25-D8B8C91B3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8D4C971-090C-450D-ACFD-50050FCD8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FB8A7D9-7E9A-4D67-AA7E-35857B4E4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3B0E14A4-5E8F-4BE5-AC1B-B15DB65FC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E131C16-B015-4C3A-A17F-91B1A7D8F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FFAF86F-E70C-46AE-98E7-E8A37E29E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28DA093-AC12-4907-96A4-D255F69EB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AEB0710F-A702-4C5E-8D52-3D73F6CA7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FC067314-CA70-4D07-95F4-4070B80CC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83DE714-1A81-43B2-ABE7-4B5226865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567C2475-A4C7-4195-A4DC-9405F41A2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2BD6728-099A-4D25-A2CF-9B79EB21F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36AEAAA2-DF75-422E-9A4E-CBFE10723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89869F8A-EA30-4DE1-8BF3-7CBE07D11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217BBB0-2CB4-4472-A041-6E5E50B07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8D93A4E-0FF0-4E6D-9F49-51AC88206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D2BBE0DD-0BDF-4AA2-B163-AB4815117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93128FBF-3BD9-4EFC-A388-2BEE5294C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53AD557-47F5-416C-9092-F86DA90508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E9973409-ECA8-422A-8CE3-D850324D5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7F758CE-D72C-45C8-B4DC-FA1456277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104E62E-1AE8-4AB8-B5D7-564CE719E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0738</c:v>
                </c:pt>
                <c:pt idx="1">
                  <c:v>0.0016</c:v>
                </c:pt>
                <c:pt idx="2">
                  <c:v>0.1424</c:v>
                </c:pt>
                <c:pt idx="3">
                  <c:v>0.1569</c:v>
                </c:pt>
                <c:pt idx="4">
                  <c:v>0.061</c:v>
                </c:pt>
              </c:numCache>
            </c:numRef>
          </c:xVal>
          <c:yVal>
            <c:numRef>
              <c:f>Sheet1!$B$2:$B$6</c:f>
              <c:numCache>
                <c:formatCode>General</c:formatCode>
                <c:ptCount val="5"/>
                <c:pt idx="0">
                  <c:v>0.5209</c:v>
                </c:pt>
                <c:pt idx="1">
                  <c:v>0.2561</c:v>
                </c:pt>
                <c:pt idx="2">
                  <c:v>0.4895</c:v>
                </c:pt>
                <c:pt idx="3">
                  <c:v>0.4652</c:v>
                </c:pt>
                <c:pt idx="4">
                  <c:v>0.4806</c:v>
                </c:pt>
              </c:numCache>
            </c:numRef>
          </c:yVal>
          <c:bubbleSize>
            <c:numRef>
              <c:f>Sheet1!$C$2:$C$6</c:f>
              <c:numCache>
                <c:formatCode>General</c:formatCode>
                <c:ptCount val="5"/>
                <c:pt idx="0">
                  <c:v>500.30434782608694</c:v>
                </c:pt>
                <c:pt idx="1">
                  <c:v>1071.767857142857</c:v>
                </c:pt>
                <c:pt idx="2">
                  <c:v>391.6666666666667</c:v>
                </c:pt>
                <c:pt idx="3">
                  <c:v>392.1111111111111</c:v>
                </c:pt>
                <c:pt idx="4">
                  <c:v>517.75</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41D98E4-EE52-4B83-BC1D-3FFE5446B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FC0596D-F437-4F23-BA6C-A48FD3F73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214A1A0-F429-4818-A7BA-DE804EF4E3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42A703D-5206-48C8-86F4-32EFD5F1D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D0CF796-18DF-4AE0-9D12-29AA5C143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494086A-36B1-4602-97B0-BE20FA7E3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83C6945-751F-4A23-81E6-8FBE13D67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48A8A53-8976-4BC6-9C29-3D7F3BE14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3809</c:v>
                </c:pt>
                <c:pt idx="1">
                  <c:v>45.7135</c:v>
                </c:pt>
                <c:pt idx="2">
                  <c:v>21.971</c:v>
                </c:pt>
              </c:numCache>
            </c:numRef>
          </c:xVal>
          <c:yVal>
            <c:numRef>
              <c:f>Sheet1!$B$2:$B$4</c:f>
              <c:numCache>
                <c:formatCode>General</c:formatCode>
                <c:ptCount val="3"/>
                <c:pt idx="0">
                  <c:v>0.4964</c:v>
                </c:pt>
                <c:pt idx="1">
                  <c:v>0.3985</c:v>
                </c:pt>
                <c:pt idx="2">
                  <c:v>0.5219</c:v>
                </c:pt>
              </c:numCache>
            </c:numRef>
          </c:yVal>
          <c:bubbleSize>
            <c:numRef>
              <c:f>Sheet1!$C$2:$C$4</c:f>
              <c:numCache>
                <c:formatCode>General</c:formatCode>
                <c:ptCount val="3"/>
                <c:pt idx="0">
                  <c:v>655621.0545000003</c:v>
                </c:pt>
                <c:pt idx="1">
                  <c:v>8278718.180400005</c:v>
                </c:pt>
                <c:pt idx="2">
                  <c:v>77953.17040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4.8562"/>
          <c:min val="9.1047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668933953136127"/>
        <c:crossBetween val="midCat"/>
      </c:valAx>
      <c:valAx>
        <c:axId val="1011451359"/>
        <c:scaling>
          <c:orientation val="minMax"/>
          <c:max val="0.98628"/>
          <c:min val="0.078800000000000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3.0105274966197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FF8080"/>
              </a:solidFill>
            </c:spPr>
            <c:extLst>
              <c:ext xmlns:c16="http://schemas.microsoft.com/office/drawing/2014/chart" uri="{C3380CC4-5D6E-409C-BE32-E72D297353CC}">
                <c16:uniqueId val="{00000011-78D1-41D4-ABFA-320BD44357BD}"/>
              </c:ext>
            </c:extLst>
          </c:dPt>
          <c:dPt>
            <c:idx val="9"/>
            <c:invertIfNegative val="1"/>
            <c:bubble3D val="0"/>
            <c:spPr>
              <a:solidFill>
                <a:srgbClr val="E6E5E5"/>
              </a:solidFill>
            </c:spPr>
            <c:extLst>
              <c:ext xmlns:c16="http://schemas.microsoft.com/office/drawing/2014/chart" uri="{C3380CC4-5D6E-409C-BE32-E72D297353CC}">
                <c16:uniqueId val="{00000013-78D1-41D4-ABFA-320BD44357BD}"/>
              </c:ext>
            </c:extLst>
          </c:dPt>
          <c:dPt>
            <c:idx val="10"/>
            <c:invertIfNegative val="1"/>
            <c:bubble3D val="0"/>
            <c:spPr>
              <a:solidFill>
                <a:srgbClr val="FF8080"/>
              </a:solidFill>
            </c:spPr>
            <c:extLst>
              <c:ext xmlns:c16="http://schemas.microsoft.com/office/drawing/2014/chart" uri="{C3380CC4-5D6E-409C-BE32-E72D297353CC}">
                <c16:uniqueId val="{00000015-78D1-41D4-ABFA-320BD44357BD}"/>
              </c:ext>
            </c:extLst>
          </c:dPt>
          <c:dPt>
            <c:idx val="11"/>
            <c:invertIfNegative val="1"/>
            <c:bubble3D val="0"/>
            <c:spPr>
              <a:solidFill>
                <a:srgbClr val="006C6D"/>
              </a:solidFill>
            </c:spPr>
            <c:extLst>
              <c:ext xmlns:c16="http://schemas.microsoft.com/office/drawing/2014/chart" uri="{C3380CC4-5D6E-409C-BE32-E72D297353CC}">
                <c16:uniqueId val="{00000017-78D1-41D4-ABFA-320BD44357BD}"/>
              </c:ext>
            </c:extLst>
          </c:dPt>
          <c:dPt>
            <c:idx val="12"/>
            <c:spPr>
              <a:solidFill>
                <a:srgbClr val="006C6D"/>
              </a:solidFill>
            </c:spPr>
          </c:dPt>
          <c:dPt>
            <c:idx val="13"/>
            <c:spPr>
              <a:solidFill>
                <a:srgbClr val="7ECAC4"/>
              </a:solidFill>
            </c:spPr>
          </c:dPt>
          <c:dPt>
            <c:idx val="14"/>
            <c:spPr>
              <a:solidFill>
                <a:srgbClr val="FF8080"/>
              </a:solidFill>
            </c:spPr>
          </c:dPt>
          <c:dPt>
            <c:idx val="15"/>
            <c:spPr>
              <a:solidFill>
                <a:srgbClr val="006C6D"/>
              </a:solidFill>
            </c:spPr>
          </c:dPt>
          <c:dLbls>
            <c:dLbl>
              <c:idx val="0"/>
              <c:tx>
                <c:rich>
                  <a:bodyPr/>
                  <a:lstStyle/>
                  <a:p>
                    <a:fld id="{CAE7DD2E-13D2-483B-90B7-C1343A48D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B7EA52A-2FF4-4440-A4C4-72DD8F2D4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250FA1F-9631-4493-8169-98B770C44A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8DCB7B6-6AED-4311-8766-58F9C0E83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00D8EAD-2C16-4406-93CC-CDE3599CA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90D65E7-B9A8-4F99-B02C-435B4BCFA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8E682F3-06CD-465B-94A1-61007CFEE3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397378E-F4E0-4996-A6E7-F7824D16D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2.01</c:v>
                </c:pt>
                <c:pt idx="1">
                  <c:v>9.6656</c:v>
                </c:pt>
                <c:pt idx="2">
                  <c:v>12.5802</c:v>
                </c:pt>
                <c:pt idx="3">
                  <c:v>10.7289</c:v>
                </c:pt>
                <c:pt idx="4">
                  <c:v>13.3978</c:v>
                </c:pt>
                <c:pt idx="5">
                  <c:v>18.7679</c:v>
                </c:pt>
                <c:pt idx="6">
                  <c:v>43.802</c:v>
                </c:pt>
                <c:pt idx="7">
                  <c:v>24.6859</c:v>
                </c:pt>
                <c:pt idx="8">
                  <c:v>62.8453</c:v>
                </c:pt>
                <c:pt idx="9">
                  <c:v>43.8011</c:v>
                </c:pt>
                <c:pt idx="10">
                  <c:v>88.02</c:v>
                </c:pt>
                <c:pt idx="11">
                  <c:v>178.2736</c:v>
                </c:pt>
                <c:pt idx="12">
                  <c:v>40.0653</c:v>
                </c:pt>
                <c:pt idx="13">
                  <c:v>37.0197</c:v>
                </c:pt>
                <c:pt idx="14">
                  <c:v>33.459</c:v>
                </c:pt>
                <c:pt idx="15">
                  <c:v>52.847</c:v>
                </c:pt>
              </c:numCache>
            </c:numRef>
          </c:xVal>
          <c:yVal>
            <c:numRef>
              <c:f>Sheet1!$B$2:$B$17</c:f>
              <c:numCache>
                <c:formatCode>General</c:formatCode>
                <c:ptCount val="16"/>
                <c:pt idx="0">
                  <c:v>0.4406</c:v>
                </c:pt>
                <c:pt idx="1">
                  <c:v>0.5428</c:v>
                </c:pt>
                <c:pt idx="2">
                  <c:v>0.5097</c:v>
                </c:pt>
                <c:pt idx="3">
                  <c:v>0.4656</c:v>
                </c:pt>
                <c:pt idx="4">
                  <c:v>0.5117</c:v>
                </c:pt>
                <c:pt idx="5">
                  <c:v>0.46</c:v>
                </c:pt>
                <c:pt idx="6">
                  <c:v>0.4216</c:v>
                </c:pt>
                <c:pt idx="7">
                  <c:v>0.5313</c:v>
                </c:pt>
                <c:pt idx="8">
                  <c:v>0.4038</c:v>
                </c:pt>
                <c:pt idx="9">
                  <c:v>0.3903</c:v>
                </c:pt>
                <c:pt idx="10">
                  <c:v>0.4014</c:v>
                </c:pt>
                <c:pt idx="11">
                  <c:v>0.3713</c:v>
                </c:pt>
                <c:pt idx="12">
                  <c:v>0.4353</c:v>
                </c:pt>
                <c:pt idx="13">
                  <c:v>0.4302</c:v>
                </c:pt>
                <c:pt idx="14">
                  <c:v>0.437</c:v>
                </c:pt>
                <c:pt idx="15">
                  <c:v>0.4273</c:v>
                </c:pt>
              </c:numCache>
            </c:numRef>
          </c:yVal>
          <c:bubbleSize>
            <c:numRef>
              <c:f>Sheet1!$C$2:$C$17</c:f>
              <c:numCache>
                <c:formatCode>General</c:formatCode>
                <c:ptCount val="16"/>
                <c:pt idx="0">
                  <c:v>30877.792600000004</c:v>
                </c:pt>
                <c:pt idx="1">
                  <c:v>156409.34919999994</c:v>
                </c:pt>
                <c:pt idx="2">
                  <c:v>36205.9568</c:v>
                </c:pt>
                <c:pt idx="3">
                  <c:v>4280.820199999998</c:v>
                </c:pt>
                <c:pt idx="4">
                  <c:v>30814.8701</c:v>
                </c:pt>
                <c:pt idx="5">
                  <c:v>17829.536999999997</c:v>
                </c:pt>
                <c:pt idx="6">
                  <c:v>11519.9261</c:v>
                </c:pt>
                <c:pt idx="7">
                  <c:v>43052.16360000001</c:v>
                </c:pt>
                <c:pt idx="8">
                  <c:v>381785.0080000001</c:v>
                </c:pt>
                <c:pt idx="9">
                  <c:v>3374614.5030000005</c:v>
                </c:pt>
                <c:pt idx="10">
                  <c:v>774047.7883000006</c:v>
                </c:pt>
                <c:pt idx="11">
                  <c:v>263844.9471</c:v>
                </c:pt>
                <c:pt idx="12">
                  <c:v>16306.5788</c:v>
                </c:pt>
                <c:pt idx="13">
                  <c:v>144376.7062</c:v>
                </c:pt>
                <c:pt idx="14">
                  <c:v>153877.9274</c:v>
                </c:pt>
                <c:pt idx="15">
                  <c:v>14427.217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3.92831999999999"/>
          <c:min val="7.7324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210960650804406"/>
        <c:crossBetween val="midCat"/>
      </c:valAx>
      <c:valAx>
        <c:axId val="1011451359"/>
        <c:scaling>
          <c:orientation val="minMax"/>
          <c:max val="1.01136"/>
          <c:min val="0.05704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55.6594141192837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7ECAC4"/>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E6E5E5"/>
              </a:solidFill>
            </c:spPr>
            <c:extLst>
              <c:ext xmlns:c16="http://schemas.microsoft.com/office/drawing/2014/chart" uri="{C3380CC4-5D6E-409C-BE32-E72D297353CC}">
                <c16:uniqueId val="{00000017-78D1-41D4-ABFA-320BD44357BD}"/>
              </c:ext>
            </c:extLst>
          </c:dPt>
          <c:dPt>
            <c:idx val="12"/>
            <c:spPr>
              <a:solidFill>
                <a:srgbClr val="C00000"/>
              </a:solidFill>
            </c:spPr>
          </c:dPt>
          <c:dPt>
            <c:idx val="13"/>
            <c:spPr>
              <a:solidFill>
                <a:srgbClr val="006C6D"/>
              </a:solidFill>
            </c:spPr>
          </c:dPt>
          <c:dPt>
            <c:idx val="14"/>
            <c:spPr>
              <a:solidFill>
                <a:srgbClr val="FF8080"/>
              </a:solidFill>
            </c:spPr>
          </c:dPt>
          <c:dPt>
            <c:idx val="15"/>
            <c:spPr>
              <a:solidFill>
                <a:srgbClr val="006C6D"/>
              </a:solidFill>
            </c:spPr>
          </c:dPt>
          <c:dLbls>
            <c:dLbl>
              <c:idx val="0"/>
              <c:tx>
                <c:rich>
                  <a:bodyPr/>
                  <a:lstStyle/>
                  <a:p>
                    <a:fld id="{BCB05A08-7850-4ED3-A9BA-BC9B4750F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3DD8CDA-01AC-4D06-A4A9-C72ED5DB0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93B5F8F-8DF6-4418-ADA6-F87B707E09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7BF33ED-5030-43A9-8663-F08DABC19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CDF201A-8475-4D9E-BDA1-834A49911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CEEBEA5-B104-49B2-9A79-F528044DF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3A03A13-A73C-45D5-AA45-EFE99586A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454FDC8-8BDD-4A18-9705-0338F9D06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1.2853</c:v>
                </c:pt>
                <c:pt idx="1">
                  <c:v>9.2988</c:v>
                </c:pt>
                <c:pt idx="2">
                  <c:v>12.215</c:v>
                </c:pt>
                <c:pt idx="3">
                  <c:v>10.6531</c:v>
                </c:pt>
                <c:pt idx="4">
                  <c:v>13.2141</c:v>
                </c:pt>
                <c:pt idx="5">
                  <c:v>14.4072</c:v>
                </c:pt>
                <c:pt idx="6">
                  <c:v>38.2923</c:v>
                </c:pt>
                <c:pt idx="7">
                  <c:v>24.1664</c:v>
                </c:pt>
                <c:pt idx="8">
                  <c:v>61.76</c:v>
                </c:pt>
                <c:pt idx="9">
                  <c:v>45.0224</c:v>
                </c:pt>
                <c:pt idx="10">
                  <c:v>87.6195</c:v>
                </c:pt>
                <c:pt idx="11">
                  <c:v>144.6712</c:v>
                </c:pt>
                <c:pt idx="12">
                  <c:v>39.9313</c:v>
                </c:pt>
                <c:pt idx="13">
                  <c:v>36.6622</c:v>
                </c:pt>
                <c:pt idx="14">
                  <c:v>33.2432</c:v>
                </c:pt>
                <c:pt idx="15">
                  <c:v>49.7721</c:v>
                </c:pt>
              </c:numCache>
            </c:numRef>
          </c:xVal>
          <c:yVal>
            <c:numRef>
              <c:f>Sheet1!$B$2:$B$17</c:f>
              <c:numCache>
                <c:formatCode>General</c:formatCode>
                <c:ptCount val="16"/>
                <c:pt idx="0">
                  <c:v>0.4642</c:v>
                </c:pt>
                <c:pt idx="1">
                  <c:v>0.5382</c:v>
                </c:pt>
                <c:pt idx="2">
                  <c:v>0.4772</c:v>
                </c:pt>
                <c:pt idx="3">
                  <c:v>0.4658</c:v>
                </c:pt>
                <c:pt idx="4">
                  <c:v>0.5121</c:v>
                </c:pt>
                <c:pt idx="5">
                  <c:v>0.4148</c:v>
                </c:pt>
                <c:pt idx="6">
                  <c:v>0.4308</c:v>
                </c:pt>
                <c:pt idx="7">
                  <c:v>0.5284</c:v>
                </c:pt>
                <c:pt idx="8">
                  <c:v>0.407</c:v>
                </c:pt>
                <c:pt idx="9">
                  <c:v>0.3954</c:v>
                </c:pt>
                <c:pt idx="10">
                  <c:v>0.4</c:v>
                </c:pt>
                <c:pt idx="11">
                  <c:v>0.3744</c:v>
                </c:pt>
                <c:pt idx="12">
                  <c:v>0.434</c:v>
                </c:pt>
                <c:pt idx="13">
                  <c:v>0.435</c:v>
                </c:pt>
                <c:pt idx="14">
                  <c:v>0.4386</c:v>
                </c:pt>
                <c:pt idx="15">
                  <c:v>0.4153</c:v>
                </c:pt>
              </c:numCache>
            </c:numRef>
          </c:yVal>
          <c:bubbleSize>
            <c:numRef>
              <c:f>Sheet1!$C$2:$C$17</c:f>
              <c:numCache>
                <c:formatCode>General</c:formatCode>
                <c:ptCount val="16"/>
                <c:pt idx="0">
                  <c:v>28100.324899999992</c:v>
                </c:pt>
                <c:pt idx="1">
                  <c:v>70335.78250000003</c:v>
                </c:pt>
                <c:pt idx="2">
                  <c:v>34030.9714</c:v>
                </c:pt>
                <c:pt idx="3">
                  <c:v>2056.0414</c:v>
                </c:pt>
                <c:pt idx="4">
                  <c:v>16504.3905</c:v>
                </c:pt>
                <c:pt idx="5">
                  <c:v>28007.5555</c:v>
                </c:pt>
                <c:pt idx="6">
                  <c:v>10760.1368</c:v>
                </c:pt>
                <c:pt idx="7">
                  <c:v>25616.3349</c:v>
                </c:pt>
                <c:pt idx="8">
                  <c:v>195470.49240000002</c:v>
                </c:pt>
                <c:pt idx="9">
                  <c:v>1617744.0438999997</c:v>
                </c:pt>
                <c:pt idx="10">
                  <c:v>474284.20769999974</c:v>
                </c:pt>
                <c:pt idx="11">
                  <c:v>123115.18150000004</c:v>
                </c:pt>
                <c:pt idx="12">
                  <c:v>12218.965799999998</c:v>
                </c:pt>
                <c:pt idx="13">
                  <c:v>86302.85560000001</c:v>
                </c:pt>
                <c:pt idx="14">
                  <c:v>86332.5392</c:v>
                </c:pt>
                <c:pt idx="15">
                  <c:v>9954.419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73.60544"/>
          <c:min val="7.439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633423739024943"/>
        <c:crossBetween val="midCat"/>
      </c:valAx>
      <c:valAx>
        <c:axId val="1011451359"/>
        <c:scaling>
          <c:orientation val="minMax"/>
          <c:max val="1.00584"/>
          <c:min val="0.05952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54.7191222482230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FF8080"/>
              </a:solidFill>
            </c:spPr>
            <c:extLst>
              <c:ext xmlns:c16="http://schemas.microsoft.com/office/drawing/2014/chart" uri="{C3380CC4-5D6E-409C-BE32-E72D297353CC}">
                <c16:uniqueId val="{00000017-78D1-41D4-ABFA-320BD44357BD}"/>
              </c:ext>
            </c:extLst>
          </c:dPt>
          <c:dPt>
            <c:idx val="12"/>
            <c:spPr>
              <a:solidFill>
                <a:srgbClr val="C00000"/>
              </a:solidFill>
            </c:spPr>
          </c:dPt>
          <c:dPt>
            <c:idx val="13"/>
            <c:spPr>
              <a:solidFill>
                <a:srgbClr val="7ECAC4"/>
              </a:solidFill>
            </c:spPr>
          </c:dPt>
          <c:dPt>
            <c:idx val="14"/>
            <c:spPr>
              <a:solidFill>
                <a:srgbClr val="E6E5E5"/>
              </a:solidFill>
            </c:spPr>
          </c:dPt>
          <c:dPt>
            <c:idx val="15"/>
            <c:spPr>
              <a:solidFill>
                <a:srgbClr val="7ECAC4"/>
              </a:solidFill>
            </c:spPr>
          </c:dPt>
          <c:dLbls>
            <c:dLbl>
              <c:idx val="0"/>
              <c:tx>
                <c:rich>
                  <a:bodyPr/>
                  <a:lstStyle/>
                  <a:p>
                    <a:fld id="{00B61C6B-1D35-48C2-AD94-ECD505760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4837770-749F-4D2C-BB7E-9787A7150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178F81E-A589-4C71-B6E9-4C30BC0C4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ECC9BF2-E2D9-4DE3-A750-7A29EEE754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7A057FC-850D-4E4C-B886-95E737D52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E5BC5E2-D579-4F33-8917-09D484021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EC6703E-EC9F-4646-8453-7C7F0CBC1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0E9A88D-4E98-4E4B-A685-AD4165CCD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1.5302</c:v>
                </c:pt>
                <c:pt idx="1">
                  <c:v>9.6984</c:v>
                </c:pt>
                <c:pt idx="2">
                  <c:v>12.8876</c:v>
                </c:pt>
                <c:pt idx="3">
                  <c:v>10.7799</c:v>
                </c:pt>
                <c:pt idx="4">
                  <c:v>13.4873</c:v>
                </c:pt>
                <c:pt idx="5">
                  <c:v>15.7431</c:v>
                </c:pt>
                <c:pt idx="6">
                  <c:v>40.131</c:v>
                </c:pt>
                <c:pt idx="7">
                  <c:v>24.7569</c:v>
                </c:pt>
                <c:pt idx="8">
                  <c:v>62.8457</c:v>
                </c:pt>
                <c:pt idx="9">
                  <c:v>44.5471</c:v>
                </c:pt>
                <c:pt idx="10">
                  <c:v>86.3296</c:v>
                </c:pt>
                <c:pt idx="11">
                  <c:v>157.7026</c:v>
                </c:pt>
                <c:pt idx="12">
                  <c:v>43.0292</c:v>
                </c:pt>
                <c:pt idx="13">
                  <c:v>37.1939</c:v>
                </c:pt>
                <c:pt idx="14">
                  <c:v>33.4393</c:v>
                </c:pt>
                <c:pt idx="15">
                  <c:v>50.6093</c:v>
                </c:pt>
              </c:numCache>
            </c:numRef>
          </c:xVal>
          <c:yVal>
            <c:numRef>
              <c:f>Sheet1!$B$2:$B$17</c:f>
              <c:numCache>
                <c:formatCode>General</c:formatCode>
                <c:ptCount val="16"/>
                <c:pt idx="0">
                  <c:v>0.5094</c:v>
                </c:pt>
                <c:pt idx="1">
                  <c:v>0.5433</c:v>
                </c:pt>
                <c:pt idx="2">
                  <c:v>0.5111</c:v>
                </c:pt>
                <c:pt idx="3">
                  <c:v>0.4653</c:v>
                </c:pt>
                <c:pt idx="4">
                  <c:v>0.5109</c:v>
                </c:pt>
                <c:pt idx="5">
                  <c:v>0.4152</c:v>
                </c:pt>
                <c:pt idx="6">
                  <c:v>0.4278</c:v>
                </c:pt>
                <c:pt idx="7">
                  <c:v>0.5316</c:v>
                </c:pt>
                <c:pt idx="8">
                  <c:v>0.4085</c:v>
                </c:pt>
                <c:pt idx="9">
                  <c:v>0.395</c:v>
                </c:pt>
                <c:pt idx="10">
                  <c:v>0.4066</c:v>
                </c:pt>
                <c:pt idx="11">
                  <c:v>0.3701</c:v>
                </c:pt>
                <c:pt idx="12">
                  <c:v>0.4323</c:v>
                </c:pt>
                <c:pt idx="13">
                  <c:v>0.4293</c:v>
                </c:pt>
                <c:pt idx="14">
                  <c:v>0.4389</c:v>
                </c:pt>
                <c:pt idx="15">
                  <c:v>0.4194</c:v>
                </c:pt>
              </c:numCache>
            </c:numRef>
          </c:yVal>
          <c:bubbleSize>
            <c:numRef>
              <c:f>Sheet1!$C$2:$C$17</c:f>
              <c:numCache>
                <c:formatCode>General</c:formatCode>
                <c:ptCount val="16"/>
                <c:pt idx="0">
                  <c:v>30624.288000000004</c:v>
                </c:pt>
                <c:pt idx="1">
                  <c:v>155533.24069999997</c:v>
                </c:pt>
                <c:pt idx="2">
                  <c:v>72995.39140000001</c:v>
                </c:pt>
                <c:pt idx="3">
                  <c:v>6220.0253999999995</c:v>
                </c:pt>
                <c:pt idx="4">
                  <c:v>43955.185300000005</c:v>
                </c:pt>
                <c:pt idx="5">
                  <c:v>61240.47749999999</c:v>
                </c:pt>
                <c:pt idx="6">
                  <c:v>11156.4287</c:v>
                </c:pt>
                <c:pt idx="7">
                  <c:v>53920.4836</c:v>
                </c:pt>
                <c:pt idx="8">
                  <c:v>385683.8145</c:v>
                </c:pt>
                <c:pt idx="9">
                  <c:v>4090981.8744999985</c:v>
                </c:pt>
                <c:pt idx="10">
                  <c:v>793455.1462000004</c:v>
                </c:pt>
                <c:pt idx="11">
                  <c:v>309727.8476</c:v>
                </c:pt>
                <c:pt idx="12">
                  <c:v>37392.3734</c:v>
                </c:pt>
                <c:pt idx="13">
                  <c:v>237222.5493</c:v>
                </c:pt>
                <c:pt idx="14">
                  <c:v>291791.24129999994</c:v>
                </c:pt>
                <c:pt idx="15">
                  <c:v>39424.639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89.24311999999998"/>
          <c:min val="7.7587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701354967186143"/>
        <c:crossBetween val="midCat"/>
      </c:valAx>
      <c:valAx>
        <c:axId val="1011451359"/>
        <c:scaling>
          <c:orientation val="minMax"/>
          <c:max val="1.01196"/>
          <c:min val="0.056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53.19435801666515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47AD6F2-D19E-4045-B84B-5E9BED66D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8DCEF12-086A-4A52-A6E3-2EEAB6E3F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70814AB-7307-4A7A-8B6C-B96CD8E10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B3DF82C-C023-4225-B0D9-9348B7419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039422A-DF71-4FF5-B659-24BC52568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5860C91-D542-4BAF-B9D4-04EBAC9FB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32F58E3-C164-4CB2-A140-618682170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2E329AC-F049-44C1-82B7-696035A6C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7.4641</c:v>
                </c:pt>
              </c:numCache>
            </c:numRef>
          </c:xVal>
          <c:yVal>
            <c:numRef>
              <c:f>Sheet1!$B$2:$B$2</c:f>
              <c:numCache>
                <c:formatCode>General</c:formatCode>
                <c:ptCount val="1"/>
                <c:pt idx="0">
                  <c:v>0.399</c:v>
                </c:pt>
              </c:numCache>
            </c:numRef>
          </c:yVal>
          <c:bubbleSize>
            <c:numRef>
              <c:f>Sheet1!$C$2:$C$2</c:f>
              <c:numCache>
                <c:formatCode>General</c:formatCode>
                <c:ptCount val="1"/>
                <c:pt idx="0">
                  <c:v>51645324.3613998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56.956920000000004"/>
          <c:min val="37.9712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99"/>
        <c:crossBetween val="midCat"/>
      </c:valAx>
      <c:valAx>
        <c:axId val="1011451359"/>
        <c:scaling>
          <c:orientation val="minMax"/>
          <c:max val="0.8388000000000001"/>
          <c:min val="0.07920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464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FF808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FF8080"/>
              </a:solidFill>
            </c:spPr>
            <c:extLst>
              <c:ext xmlns:c16="http://schemas.microsoft.com/office/drawing/2014/chart" uri="{C3380CC4-5D6E-409C-BE32-E72D297353CC}">
                <c16:uniqueId val="{00000017-78D1-41D4-ABFA-320BD44357BD}"/>
              </c:ext>
            </c:extLst>
          </c:dPt>
          <c:dPt>
            <c:idx val="12"/>
            <c:spPr>
              <a:solidFill>
                <a:srgbClr val="006C6D"/>
              </a:solidFill>
            </c:spPr>
          </c:dPt>
          <c:dPt>
            <c:idx val="13"/>
            <c:spPr>
              <a:solidFill>
                <a:srgbClr val="E6E5E5"/>
              </a:solidFill>
            </c:spPr>
          </c:dPt>
          <c:dPt>
            <c:idx val="14"/>
            <c:spPr>
              <a:solidFill>
                <a:srgbClr val="C00000"/>
              </a:solidFill>
            </c:spPr>
          </c:dPt>
          <c:dPt>
            <c:idx val="15"/>
            <c:spPr>
              <a:solidFill>
                <a:srgbClr val="006C6D"/>
              </a:solidFill>
            </c:spPr>
          </c:dPt>
          <c:dLbls>
            <c:dLbl>
              <c:idx val="0"/>
              <c:tx>
                <c:rich>
                  <a:bodyPr/>
                  <a:lstStyle/>
                  <a:p>
                    <a:fld id="{3521D84E-EB28-4D08-B3BD-45D1C21AB3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DDC424B-9997-457B-92B9-590E259A8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265ACD0-BD49-4EC0-8B42-732320E03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7D5A851-5C95-46FA-B4EC-CC4C1C870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18C8A75-A64F-4423-9935-E956D7F6D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94C9D83-800E-477D-BD51-5E1BD2D69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840C0B4-AF9A-4912-BEBF-7E4C7483F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D6CC994-5BC7-42BA-98F1-A55FECC2E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0.1078</c:v>
                </c:pt>
                <c:pt idx="1">
                  <c:v>9.5434</c:v>
                </c:pt>
                <c:pt idx="2">
                  <c:v>12.4284</c:v>
                </c:pt>
                <c:pt idx="3">
                  <c:v>10.867</c:v>
                </c:pt>
                <c:pt idx="4">
                  <c:v>13.5966</c:v>
                </c:pt>
                <c:pt idx="5">
                  <c:v>18.4093</c:v>
                </c:pt>
                <c:pt idx="6">
                  <c:v>39.4657</c:v>
                </c:pt>
                <c:pt idx="7">
                  <c:v>22.4331</c:v>
                </c:pt>
                <c:pt idx="8">
                  <c:v>56.8198</c:v>
                </c:pt>
                <c:pt idx="9">
                  <c:v>42.4904</c:v>
                </c:pt>
                <c:pt idx="10">
                  <c:v>74.59</c:v>
                </c:pt>
                <c:pt idx="11">
                  <c:v>133.1331</c:v>
                </c:pt>
                <c:pt idx="12">
                  <c:v>39.5691</c:v>
                </c:pt>
                <c:pt idx="13">
                  <c:v>36.6076</c:v>
                </c:pt>
                <c:pt idx="14">
                  <c:v>33.4316</c:v>
                </c:pt>
                <c:pt idx="15">
                  <c:v>48.5682</c:v>
                </c:pt>
              </c:numCache>
            </c:numRef>
          </c:xVal>
          <c:yVal>
            <c:numRef>
              <c:f>Sheet1!$B$2:$B$17</c:f>
              <c:numCache>
                <c:formatCode>General</c:formatCode>
                <c:ptCount val="16"/>
                <c:pt idx="0">
                  <c:v>0.5068</c:v>
                </c:pt>
                <c:pt idx="1">
                  <c:v>0.5444</c:v>
                </c:pt>
                <c:pt idx="2">
                  <c:v>0.4852</c:v>
                </c:pt>
                <c:pt idx="3">
                  <c:v>0.4642</c:v>
                </c:pt>
                <c:pt idx="4">
                  <c:v>0.4992</c:v>
                </c:pt>
                <c:pt idx="5">
                  <c:v>0.4565</c:v>
                </c:pt>
                <c:pt idx="6">
                  <c:v>0.4308</c:v>
                </c:pt>
                <c:pt idx="7">
                  <c:v>0.5241</c:v>
                </c:pt>
                <c:pt idx="8">
                  <c:v>0.4053</c:v>
                </c:pt>
                <c:pt idx="9">
                  <c:v>0.3915</c:v>
                </c:pt>
                <c:pt idx="10">
                  <c:v>0.3999</c:v>
                </c:pt>
                <c:pt idx="11">
                  <c:v>0.3796</c:v>
                </c:pt>
                <c:pt idx="12">
                  <c:v>0.4342</c:v>
                </c:pt>
                <c:pt idx="13">
                  <c:v>0.4328</c:v>
                </c:pt>
                <c:pt idx="14">
                  <c:v>0.4378</c:v>
                </c:pt>
                <c:pt idx="15">
                  <c:v>0.423</c:v>
                </c:pt>
              </c:numCache>
            </c:numRef>
          </c:yVal>
          <c:bubbleSize>
            <c:numRef>
              <c:f>Sheet1!$C$2:$C$17</c:f>
              <c:numCache>
                <c:formatCode>General</c:formatCode>
                <c:ptCount val="16"/>
                <c:pt idx="0">
                  <c:v>76273.47399999997</c:v>
                </c:pt>
                <c:pt idx="1">
                  <c:v>241667.20349999995</c:v>
                </c:pt>
                <c:pt idx="2">
                  <c:v>176148.40679999994</c:v>
                </c:pt>
                <c:pt idx="3">
                  <c:v>12736.140099999999</c:v>
                </c:pt>
                <c:pt idx="4">
                  <c:v>100628.11640000001</c:v>
                </c:pt>
                <c:pt idx="5">
                  <c:v>61450.26809999999</c:v>
                </c:pt>
                <c:pt idx="6">
                  <c:v>30230.719999999998</c:v>
                </c:pt>
                <c:pt idx="7">
                  <c:v>97987.69450000003</c:v>
                </c:pt>
                <c:pt idx="8">
                  <c:v>685076.3433000002</c:v>
                </c:pt>
                <c:pt idx="9">
                  <c:v>6679155.485500001</c:v>
                </c:pt>
                <c:pt idx="10">
                  <c:v>1434738.1570000006</c:v>
                </c:pt>
                <c:pt idx="11">
                  <c:v>356796.6321</c:v>
                </c:pt>
                <c:pt idx="12">
                  <c:v>82976.40000000001</c:v>
                </c:pt>
                <c:pt idx="13">
                  <c:v>345978.7900000001</c:v>
                </c:pt>
                <c:pt idx="14">
                  <c:v>463562.03690000006</c:v>
                </c:pt>
                <c:pt idx="15">
                  <c:v>34823.37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9.75972000000002"/>
          <c:min val="7.63472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52718854017004"/>
        <c:crossBetween val="midCat"/>
      </c:valAx>
      <c:valAx>
        <c:axId val="1011451359"/>
        <c:scaling>
          <c:orientation val="minMax"/>
          <c:max val="1.01328"/>
          <c:min val="0.0636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9473137309183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E6E5E5"/>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FF8080"/>
              </a:solidFill>
            </c:spPr>
            <c:extLst>
              <c:ext xmlns:c16="http://schemas.microsoft.com/office/drawing/2014/chart" uri="{C3380CC4-5D6E-409C-BE32-E72D297353CC}">
                <c16:uniqueId val="{00000017-78D1-41D4-ABFA-320BD44357BD}"/>
              </c:ext>
            </c:extLst>
          </c:dPt>
          <c:dPt>
            <c:idx val="12"/>
            <c:spPr>
              <a:solidFill>
                <a:srgbClr val="FF8080"/>
              </a:solidFill>
            </c:spPr>
          </c:dPt>
          <c:dPt>
            <c:idx val="13"/>
            <c:spPr>
              <a:solidFill>
                <a:srgbClr val="7ECAC4"/>
              </a:solidFill>
            </c:spPr>
          </c:dPt>
          <c:dPt>
            <c:idx val="14"/>
            <c:spPr>
              <a:solidFill>
                <a:srgbClr val="FF8080"/>
              </a:solidFill>
            </c:spPr>
          </c:dPt>
          <c:dPt>
            <c:idx val="15"/>
            <c:spPr>
              <a:solidFill>
                <a:srgbClr val="006C6D"/>
              </a:solidFill>
            </c:spPr>
          </c:dPt>
          <c:dLbls>
            <c:dLbl>
              <c:idx val="0"/>
              <c:tx>
                <c:rich>
                  <a:bodyPr/>
                  <a:lstStyle/>
                  <a:p>
                    <a:fld id="{FBA1A72C-FF0B-4F20-82FE-A0EE166D5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7BA99B4-73D7-43C5-A78C-3152984DC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D23B7C6-3EF0-4867-9384-139CA37A9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537CD3A-2FC2-472B-92F5-FDF1276D0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1CA3541-887E-4B2A-858F-ECEF115AC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642501A-3BA4-4A01-8801-F94F0DF7B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7DD5813-9B45-4CBF-90A2-80CCCD9A6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7B47AC0-4978-44A2-BB4E-34A3B6838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0.4793</c:v>
                </c:pt>
                <c:pt idx="1">
                  <c:v>9.5541</c:v>
                </c:pt>
                <c:pt idx="2">
                  <c:v>12.5326</c:v>
                </c:pt>
                <c:pt idx="3">
                  <c:v>10.9373</c:v>
                </c:pt>
                <c:pt idx="4">
                  <c:v>13.5227</c:v>
                </c:pt>
                <c:pt idx="5">
                  <c:v>16.5011</c:v>
                </c:pt>
                <c:pt idx="6">
                  <c:v>38.6933</c:v>
                </c:pt>
                <c:pt idx="7">
                  <c:v>24.1621</c:v>
                </c:pt>
                <c:pt idx="8">
                  <c:v>61.4544</c:v>
                </c:pt>
                <c:pt idx="9">
                  <c:v>43.4944</c:v>
                </c:pt>
                <c:pt idx="10">
                  <c:v>80.2157</c:v>
                </c:pt>
                <c:pt idx="11">
                  <c:v>143.5841</c:v>
                </c:pt>
                <c:pt idx="12">
                  <c:v>39.7845</c:v>
                </c:pt>
                <c:pt idx="13">
                  <c:v>36.8</c:v>
                </c:pt>
                <c:pt idx="14">
                  <c:v>33.4063</c:v>
                </c:pt>
                <c:pt idx="15">
                  <c:v>49.9801</c:v>
                </c:pt>
              </c:numCache>
            </c:numRef>
          </c:xVal>
          <c:yVal>
            <c:numRef>
              <c:f>Sheet1!$B$2:$B$17</c:f>
              <c:numCache>
                <c:formatCode>General</c:formatCode>
                <c:ptCount val="16"/>
                <c:pt idx="0">
                  <c:v>0.501</c:v>
                </c:pt>
                <c:pt idx="1">
                  <c:v>0.5434</c:v>
                </c:pt>
                <c:pt idx="2">
                  <c:v>0.4898</c:v>
                </c:pt>
                <c:pt idx="3">
                  <c:v>0.4669</c:v>
                </c:pt>
                <c:pt idx="4">
                  <c:v>0.5047</c:v>
                </c:pt>
                <c:pt idx="5">
                  <c:v>0.435</c:v>
                </c:pt>
                <c:pt idx="6">
                  <c:v>0.4302</c:v>
                </c:pt>
                <c:pt idx="7">
                  <c:v>0.5299</c:v>
                </c:pt>
                <c:pt idx="8">
                  <c:v>0.4057</c:v>
                </c:pt>
                <c:pt idx="9">
                  <c:v>0.3938</c:v>
                </c:pt>
                <c:pt idx="10">
                  <c:v>0.4032</c:v>
                </c:pt>
                <c:pt idx="11">
                  <c:v>0.3777</c:v>
                </c:pt>
                <c:pt idx="12">
                  <c:v>0.4344</c:v>
                </c:pt>
                <c:pt idx="13">
                  <c:v>0.4298</c:v>
                </c:pt>
                <c:pt idx="14">
                  <c:v>0.4373</c:v>
                </c:pt>
                <c:pt idx="15">
                  <c:v>0.4216</c:v>
                </c:pt>
              </c:numCache>
            </c:numRef>
          </c:yVal>
          <c:bubbleSize>
            <c:numRef>
              <c:f>Sheet1!$C$2:$C$17</c:f>
              <c:numCache>
                <c:formatCode>General</c:formatCode>
                <c:ptCount val="16"/>
                <c:pt idx="0">
                  <c:v>341802.97379999975</c:v>
                </c:pt>
                <c:pt idx="1">
                  <c:v>1357968.8567000015</c:v>
                </c:pt>
                <c:pt idx="2">
                  <c:v>867896.4605000011</c:v>
                </c:pt>
                <c:pt idx="3">
                  <c:v>56163.06599999998</c:v>
                </c:pt>
                <c:pt idx="4">
                  <c:v>421421.6818</c:v>
                </c:pt>
                <c:pt idx="5">
                  <c:v>390317.6685</c:v>
                </c:pt>
                <c:pt idx="6">
                  <c:v>109192.48080000006</c:v>
                </c:pt>
                <c:pt idx="7">
                  <c:v>534538.0574000003</c:v>
                </c:pt>
                <c:pt idx="8">
                  <c:v>3466888.5815999922</c:v>
                </c:pt>
                <c:pt idx="9">
                  <c:v>34673939.291599974</c:v>
                </c:pt>
                <c:pt idx="10">
                  <c:v>6554587.262800023</c:v>
                </c:pt>
                <c:pt idx="11">
                  <c:v>1994095.5426000014</c:v>
                </c:pt>
                <c:pt idx="12">
                  <c:v>313382.68779999996</c:v>
                </c:pt>
                <c:pt idx="13">
                  <c:v>1891999.9074000018</c:v>
                </c:pt>
                <c:pt idx="14">
                  <c:v>2409430.964699998</c:v>
                </c:pt>
                <c:pt idx="15">
                  <c:v>231807.6420999997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72.30092"/>
          <c:min val="7.64328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6918894105535"/>
        <c:crossBetween val="midCat"/>
      </c:valAx>
      <c:valAx>
        <c:axId val="1011451359"/>
        <c:scaling>
          <c:orientation val="minMax"/>
          <c:max val="1.0120799999999999"/>
          <c:min val="0.06215999999999999"/>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9.71238065545191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E6E5E5"/>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FF8080"/>
              </a:solidFill>
            </c:spPr>
            <c:extLst>
              <c:ext xmlns:c16="http://schemas.microsoft.com/office/drawing/2014/chart" uri="{C3380CC4-5D6E-409C-BE32-E72D297353CC}">
                <c16:uniqueId val="{00000017-78D1-41D4-ABFA-320BD44357BD}"/>
              </c:ext>
            </c:extLst>
          </c:dPt>
          <c:dPt>
            <c:idx val="12"/>
            <c:spPr>
              <a:solidFill>
                <a:srgbClr val="E6E5E5"/>
              </a:solidFill>
            </c:spPr>
          </c:dPt>
          <c:dPt>
            <c:idx val="13"/>
            <c:spPr>
              <a:solidFill>
                <a:srgbClr val="7ECAC4"/>
              </a:solidFill>
            </c:spPr>
          </c:dPt>
          <c:dPt>
            <c:idx val="14"/>
            <c:spPr>
              <a:solidFill>
                <a:srgbClr val="FF8080"/>
              </a:solidFill>
            </c:spPr>
          </c:dPt>
          <c:dPt>
            <c:idx val="15"/>
            <c:spPr>
              <a:solidFill>
                <a:srgbClr val="7ECAC4"/>
              </a:solidFill>
            </c:spPr>
          </c:dPt>
          <c:dLbls>
            <c:dLbl>
              <c:idx val="0"/>
              <c:tx>
                <c:rich>
                  <a:bodyPr/>
                  <a:lstStyle/>
                  <a:p>
                    <a:fld id="{E54D231E-ECF2-4FF9-9729-F0185A191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6569B55-FEAA-487E-821D-943960CFC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9455DBE-844C-4DAA-8925-0D643F922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F4680DF-B2BC-4BD3-B3FD-EFC7EBE6A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80722A7-C581-4135-BA7A-6489A36812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3B9771F-F6E9-429E-8FD3-0693528A5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0858D6C-FC27-49BA-B3BF-3FC10E3E3A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4A9A416-DC1A-49CC-8073-8AA415E9A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0.3321</c:v>
                </c:pt>
                <c:pt idx="1">
                  <c:v>9.5681</c:v>
                </c:pt>
                <c:pt idx="2">
                  <c:v>12.635</c:v>
                </c:pt>
                <c:pt idx="3">
                  <c:v>11.0234</c:v>
                </c:pt>
                <c:pt idx="4">
                  <c:v>13.4406</c:v>
                </c:pt>
                <c:pt idx="5">
                  <c:v>16.9683</c:v>
                </c:pt>
                <c:pt idx="6">
                  <c:v>38.1515</c:v>
                </c:pt>
                <c:pt idx="7">
                  <c:v>24.3825</c:v>
                </c:pt>
                <c:pt idx="8">
                  <c:v>61.4215</c:v>
                </c:pt>
                <c:pt idx="9">
                  <c:v>43.2198</c:v>
                </c:pt>
                <c:pt idx="10">
                  <c:v>76.9914</c:v>
                </c:pt>
                <c:pt idx="11">
                  <c:v>132.2875</c:v>
                </c:pt>
                <c:pt idx="12">
                  <c:v>39.301</c:v>
                </c:pt>
                <c:pt idx="13">
                  <c:v>36.6601</c:v>
                </c:pt>
                <c:pt idx="14">
                  <c:v>33.4319</c:v>
                </c:pt>
                <c:pt idx="15">
                  <c:v>48.7046</c:v>
                </c:pt>
              </c:numCache>
            </c:numRef>
          </c:xVal>
          <c:yVal>
            <c:numRef>
              <c:f>Sheet1!$B$2:$B$17</c:f>
              <c:numCache>
                <c:formatCode>General</c:formatCode>
                <c:ptCount val="16"/>
                <c:pt idx="0">
                  <c:v>0.5151</c:v>
                </c:pt>
                <c:pt idx="1">
                  <c:v>0.545</c:v>
                </c:pt>
                <c:pt idx="2">
                  <c:v>0.4917</c:v>
                </c:pt>
                <c:pt idx="3">
                  <c:v>0.4673</c:v>
                </c:pt>
                <c:pt idx="4">
                  <c:v>0.5105</c:v>
                </c:pt>
                <c:pt idx="5">
                  <c:v>0.4409</c:v>
                </c:pt>
                <c:pt idx="6">
                  <c:v>0.4327</c:v>
                </c:pt>
                <c:pt idx="7">
                  <c:v>0.5297</c:v>
                </c:pt>
                <c:pt idx="8">
                  <c:v>0.4058</c:v>
                </c:pt>
                <c:pt idx="9">
                  <c:v>0.3945</c:v>
                </c:pt>
                <c:pt idx="10">
                  <c:v>0.4065</c:v>
                </c:pt>
                <c:pt idx="11">
                  <c:v>0.3835</c:v>
                </c:pt>
                <c:pt idx="12">
                  <c:v>0.4354</c:v>
                </c:pt>
                <c:pt idx="13">
                  <c:v>0.4301</c:v>
                </c:pt>
                <c:pt idx="14">
                  <c:v>0.4368</c:v>
                </c:pt>
                <c:pt idx="15">
                  <c:v>0.4229</c:v>
                </c:pt>
              </c:numCache>
            </c:numRef>
          </c:yVal>
          <c:bubbleSize>
            <c:numRef>
              <c:f>Sheet1!$C$2:$C$17</c:f>
              <c:numCache>
                <c:formatCode>General</c:formatCode>
                <c:ptCount val="16"/>
                <c:pt idx="0">
                  <c:v>140527.22969999997</c:v>
                </c:pt>
                <c:pt idx="1">
                  <c:v>666941.9177999998</c:v>
                </c:pt>
                <c:pt idx="2">
                  <c:v>443097.24159999995</c:v>
                </c:pt>
                <c:pt idx="3">
                  <c:v>27293.93</c:v>
                </c:pt>
                <c:pt idx="4">
                  <c:v>183020.3786</c:v>
                </c:pt>
                <c:pt idx="5">
                  <c:v>170870.41780000005</c:v>
                </c:pt>
                <c:pt idx="6">
                  <c:v>38265.994</c:v>
                </c:pt>
                <c:pt idx="7">
                  <c:v>258039.53329999995</c:v>
                </c:pt>
                <c:pt idx="8">
                  <c:v>1478169.3159999996</c:v>
                </c:pt>
                <c:pt idx="9">
                  <c:v>15552351.419800006</c:v>
                </c:pt>
                <c:pt idx="10">
                  <c:v>2241374.9552</c:v>
                </c:pt>
                <c:pt idx="11">
                  <c:v>726787.3473999999</c:v>
                </c:pt>
                <c:pt idx="12">
                  <c:v>134802.31630000003</c:v>
                </c:pt>
                <c:pt idx="13">
                  <c:v>870897.8184000002</c:v>
                </c:pt>
                <c:pt idx="14">
                  <c:v>1189408.0181</c:v>
                </c:pt>
                <c:pt idx="15">
                  <c:v>96824.76199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58.74499999999998"/>
          <c:min val="7.6544799999999995"/>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90784274379668"/>
        <c:crossBetween val="midCat"/>
      </c:valAx>
      <c:valAx>
        <c:axId val="1011451359"/>
        <c:scaling>
          <c:orientation val="minMax"/>
          <c:max val="1.014"/>
          <c:min val="0.06680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0802422073831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E6E5E5"/>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C00000"/>
              </a:solidFill>
            </c:spPr>
            <c:extLst>
              <c:ext xmlns:c16="http://schemas.microsoft.com/office/drawing/2014/chart" uri="{C3380CC4-5D6E-409C-BE32-E72D297353CC}">
                <c16:uniqueId val="{00000017-78D1-41D4-ABFA-320BD44357BD}"/>
              </c:ext>
            </c:extLst>
          </c:dPt>
          <c:dPt>
            <c:idx val="12"/>
            <c:spPr>
              <a:solidFill>
                <a:srgbClr val="FF8080"/>
              </a:solidFill>
            </c:spPr>
          </c:dPt>
          <c:dPt>
            <c:idx val="13"/>
            <c:spPr>
              <a:solidFill>
                <a:srgbClr val="7ECAC4"/>
              </a:solidFill>
            </c:spPr>
          </c:dPt>
          <c:dPt>
            <c:idx val="14"/>
            <c:spPr>
              <a:solidFill>
                <a:srgbClr val="FF8080"/>
              </a:solidFill>
            </c:spPr>
          </c:dPt>
          <c:dPt>
            <c:idx val="15"/>
            <c:spPr>
              <a:solidFill>
                <a:srgbClr val="FF8080"/>
              </a:solidFill>
            </c:spPr>
          </c:dPt>
          <c:dLbls>
            <c:dLbl>
              <c:idx val="0"/>
              <c:tx>
                <c:rich>
                  <a:bodyPr/>
                  <a:lstStyle/>
                  <a:p>
                    <a:fld id="{0A4EDBC6-9537-4F3E-A2EA-E477075E7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830015E-1DAE-4448-A633-DA2BAE211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ED3B0E6-DD0B-4179-A19A-B7445B433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4ED43A6-C05D-4F02-96D0-537A747F7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FF56F43-2E4F-40BF-80FC-DB96ACC8A3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E88C4E0-D77F-4826-9C83-28B39BEF1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7E81ABE-F359-4402-9A36-92418C24F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31AFEA6-CBA9-4FC6-8965-7087A1CE0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9.636</c:v>
                </c:pt>
                <c:pt idx="1">
                  <c:v>9.4971</c:v>
                </c:pt>
                <c:pt idx="2">
                  <c:v>12.4745</c:v>
                </c:pt>
                <c:pt idx="3">
                  <c:v>11.0271</c:v>
                </c:pt>
                <c:pt idx="4">
                  <c:v>13.4372</c:v>
                </c:pt>
                <c:pt idx="5">
                  <c:v>15.5781</c:v>
                </c:pt>
                <c:pt idx="6">
                  <c:v>39.2489</c:v>
                </c:pt>
                <c:pt idx="7">
                  <c:v>24.4305</c:v>
                </c:pt>
                <c:pt idx="8">
                  <c:v>57.8632</c:v>
                </c:pt>
                <c:pt idx="9">
                  <c:v>43.373</c:v>
                </c:pt>
                <c:pt idx="10">
                  <c:v>79.2963</c:v>
                </c:pt>
                <c:pt idx="11">
                  <c:v>136.7195</c:v>
                </c:pt>
                <c:pt idx="12">
                  <c:v>39.3648</c:v>
                </c:pt>
                <c:pt idx="13">
                  <c:v>37.0747</c:v>
                </c:pt>
                <c:pt idx="14">
                  <c:v>33.4182</c:v>
                </c:pt>
                <c:pt idx="15">
                  <c:v>48.2446</c:v>
                </c:pt>
              </c:numCache>
            </c:numRef>
          </c:xVal>
          <c:yVal>
            <c:numRef>
              <c:f>Sheet1!$B$2:$B$17</c:f>
              <c:numCache>
                <c:formatCode>General</c:formatCode>
                <c:ptCount val="16"/>
                <c:pt idx="0">
                  <c:v>0.5217</c:v>
                </c:pt>
                <c:pt idx="1">
                  <c:v>0.5455</c:v>
                </c:pt>
                <c:pt idx="2">
                  <c:v>0.4848</c:v>
                </c:pt>
                <c:pt idx="3">
                  <c:v>0.4673</c:v>
                </c:pt>
                <c:pt idx="4">
                  <c:v>0.5104</c:v>
                </c:pt>
                <c:pt idx="5">
                  <c:v>0.4265</c:v>
                </c:pt>
                <c:pt idx="6">
                  <c:v>0.4296</c:v>
                </c:pt>
                <c:pt idx="7">
                  <c:v>0.5278</c:v>
                </c:pt>
                <c:pt idx="8">
                  <c:v>0.4065</c:v>
                </c:pt>
                <c:pt idx="9">
                  <c:v>0.3935</c:v>
                </c:pt>
                <c:pt idx="10">
                  <c:v>0.4043</c:v>
                </c:pt>
                <c:pt idx="11">
                  <c:v>0.3764</c:v>
                </c:pt>
                <c:pt idx="12">
                  <c:v>0.4341</c:v>
                </c:pt>
                <c:pt idx="13">
                  <c:v>0.4277</c:v>
                </c:pt>
                <c:pt idx="14">
                  <c:v>0.4374</c:v>
                </c:pt>
                <c:pt idx="15">
                  <c:v>0.4228</c:v>
                </c:pt>
              </c:numCache>
            </c:numRef>
          </c:yVal>
          <c:bubbleSize>
            <c:numRef>
              <c:f>Sheet1!$C$2:$C$17</c:f>
              <c:numCache>
                <c:formatCode>General</c:formatCode>
                <c:ptCount val="16"/>
                <c:pt idx="0">
                  <c:v>49240.15710000001</c:v>
                </c:pt>
                <c:pt idx="1">
                  <c:v>188726.6874</c:v>
                </c:pt>
                <c:pt idx="2">
                  <c:v>144417.72819999998</c:v>
                </c:pt>
                <c:pt idx="3">
                  <c:v>8579.0638</c:v>
                </c:pt>
                <c:pt idx="4">
                  <c:v>58868.4991</c:v>
                </c:pt>
                <c:pt idx="5">
                  <c:v>78529.4044</c:v>
                </c:pt>
                <c:pt idx="6">
                  <c:v>14875.328700000002</c:v>
                </c:pt>
                <c:pt idx="7">
                  <c:v>78030.997</c:v>
                </c:pt>
                <c:pt idx="8">
                  <c:v>451795.6440000001</c:v>
                </c:pt>
                <c:pt idx="9">
                  <c:v>5142130.940799997</c:v>
                </c:pt>
                <c:pt idx="10">
                  <c:v>805888.1331000007</c:v>
                </c:pt>
                <c:pt idx="11">
                  <c:v>257032.70220000006</c:v>
                </c:pt>
                <c:pt idx="12">
                  <c:v>42356.5402</c:v>
                </c:pt>
                <c:pt idx="13">
                  <c:v>281100.50740000006</c:v>
                </c:pt>
                <c:pt idx="14">
                  <c:v>354400.3854</c:v>
                </c:pt>
                <c:pt idx="15">
                  <c:v>36279.961599999995</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64.0634"/>
          <c:min val="7.5976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694344970671065"/>
        <c:crossBetween val="midCat"/>
      </c:valAx>
      <c:valAx>
        <c:axId val="1011451359"/>
        <c:scaling>
          <c:orientation val="minMax"/>
          <c:max val="1.0146"/>
          <c:min val="0.06112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8673109700263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E6E5E5"/>
              </a:solidFill>
            </c:spPr>
            <c:extLst>
              <c:ext xmlns:c16="http://schemas.microsoft.com/office/drawing/2014/chart" uri="{C3380CC4-5D6E-409C-BE32-E72D297353CC}">
                <c16:uniqueId val="{00000017-78D1-41D4-ABFA-320BD44357BD}"/>
              </c:ext>
            </c:extLst>
          </c:dPt>
          <c:dPt>
            <c:idx val="12"/>
            <c:spPr>
              <a:solidFill>
                <a:srgbClr val="C00000"/>
              </a:solidFill>
            </c:spPr>
          </c:dPt>
          <c:dPt>
            <c:idx val="13"/>
            <c:spPr>
              <a:solidFill>
                <a:srgbClr val="006C6D"/>
              </a:solidFill>
            </c:spPr>
          </c:dPt>
          <c:dPt>
            <c:idx val="14"/>
            <c:spPr>
              <a:solidFill>
                <a:srgbClr val="FF8080"/>
              </a:solidFill>
            </c:spPr>
          </c:dPt>
          <c:dPt>
            <c:idx val="15"/>
            <c:spPr>
              <a:solidFill>
                <a:srgbClr val="006C6D"/>
              </a:solidFill>
            </c:spPr>
          </c:dPt>
          <c:dLbls>
            <c:dLbl>
              <c:idx val="0"/>
              <c:tx>
                <c:rich>
                  <a:bodyPr/>
                  <a:lstStyle/>
                  <a:p>
                    <a:fld id="{C5C7DEF1-3439-4360-9730-CCDCF0DF7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9607DE0-1AEE-4F2F-A312-AC6EE1C82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6C2C13A-7201-4A1C-8EA7-2122DC344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A04C199-842C-4F08-990C-4D18D5E50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80A657D-364F-4D1E-92CD-B3081BC68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7F10A2C-CC8E-4570-8DD7-AFED8D4CD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01773A8-8FC9-440C-AAD7-20D0CC0D8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366F5C5-7BF2-4CBC-8CDE-E801860C0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1.2761</c:v>
                </c:pt>
                <c:pt idx="1">
                  <c:v>9.6295</c:v>
                </c:pt>
                <c:pt idx="2">
                  <c:v>12.8568</c:v>
                </c:pt>
                <c:pt idx="3">
                  <c:v>10.9679</c:v>
                </c:pt>
                <c:pt idx="4">
                  <c:v>13.4221</c:v>
                </c:pt>
                <c:pt idx="5">
                  <c:v>18.7984</c:v>
                </c:pt>
                <c:pt idx="6">
                  <c:v>39.9379</c:v>
                </c:pt>
                <c:pt idx="7">
                  <c:v>25.8913</c:v>
                </c:pt>
                <c:pt idx="8">
                  <c:v>70.8726</c:v>
                </c:pt>
                <c:pt idx="9">
                  <c:v>44.7143</c:v>
                </c:pt>
                <c:pt idx="10">
                  <c:v>85.446</c:v>
                </c:pt>
                <c:pt idx="11">
                  <c:v>168.7835</c:v>
                </c:pt>
                <c:pt idx="12">
                  <c:v>41.8553</c:v>
                </c:pt>
                <c:pt idx="13">
                  <c:v>37.2841</c:v>
                </c:pt>
                <c:pt idx="14">
                  <c:v>33.4393</c:v>
                </c:pt>
                <c:pt idx="15">
                  <c:v>52.8517</c:v>
                </c:pt>
              </c:numCache>
            </c:numRef>
          </c:xVal>
          <c:yVal>
            <c:numRef>
              <c:f>Sheet1!$B$2:$B$17</c:f>
              <c:numCache>
                <c:formatCode>General</c:formatCode>
                <c:ptCount val="16"/>
                <c:pt idx="0">
                  <c:v>0.4732</c:v>
                </c:pt>
                <c:pt idx="1">
                  <c:v>0.5391</c:v>
                </c:pt>
                <c:pt idx="2">
                  <c:v>0.5108</c:v>
                </c:pt>
                <c:pt idx="3">
                  <c:v>0.4663</c:v>
                </c:pt>
                <c:pt idx="4">
                  <c:v>0.511</c:v>
                </c:pt>
                <c:pt idx="5">
                  <c:v>0.459</c:v>
                </c:pt>
                <c:pt idx="6">
                  <c:v>0.4288</c:v>
                </c:pt>
                <c:pt idx="7">
                  <c:v>0.5354</c:v>
                </c:pt>
                <c:pt idx="8">
                  <c:v>0.4046</c:v>
                </c:pt>
                <c:pt idx="9">
                  <c:v>0.3945</c:v>
                </c:pt>
                <c:pt idx="10">
                  <c:v>0.4015</c:v>
                </c:pt>
                <c:pt idx="11">
                  <c:v>0.3766</c:v>
                </c:pt>
                <c:pt idx="12">
                  <c:v>0.4332</c:v>
                </c:pt>
                <c:pt idx="13">
                  <c:v>0.4272</c:v>
                </c:pt>
                <c:pt idx="14">
                  <c:v>0.4374</c:v>
                </c:pt>
                <c:pt idx="15">
                  <c:v>0.419</c:v>
                </c:pt>
              </c:numCache>
            </c:numRef>
          </c:yVal>
          <c:bubbleSize>
            <c:numRef>
              <c:f>Sheet1!$C$2:$C$17</c:f>
              <c:numCache>
                <c:formatCode>General</c:formatCode>
                <c:ptCount val="16"/>
                <c:pt idx="0">
                  <c:v>77342.9996</c:v>
                </c:pt>
                <c:pt idx="1">
                  <c:v>402704.71079999994</c:v>
                </c:pt>
                <c:pt idx="2">
                  <c:v>167344.3332</c:v>
                </c:pt>
                <c:pt idx="3">
                  <c:v>11450.4441</c:v>
                </c:pt>
                <c:pt idx="4">
                  <c:v>97350.1388</c:v>
                </c:pt>
                <c:pt idx="5">
                  <c:v>63745.2868</c:v>
                </c:pt>
                <c:pt idx="6">
                  <c:v>29034.832799999996</c:v>
                </c:pt>
                <c:pt idx="7">
                  <c:v>166299.5679</c:v>
                </c:pt>
                <c:pt idx="8">
                  <c:v>1227443.1362999983</c:v>
                </c:pt>
                <c:pt idx="9">
                  <c:v>9822170.222800002</c:v>
                </c:pt>
                <c:pt idx="10">
                  <c:v>2246888.1462000012</c:v>
                </c:pt>
                <c:pt idx="11">
                  <c:v>821300.4532999998</c:v>
                </c:pt>
                <c:pt idx="12">
                  <c:v>93839.6678</c:v>
                </c:pt>
                <c:pt idx="13">
                  <c:v>540693.6834</c:v>
                </c:pt>
                <c:pt idx="14">
                  <c:v>632103.5029</c:v>
                </c:pt>
                <c:pt idx="15">
                  <c:v>77586.36099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02.5402"/>
          <c:min val="7.7036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59240304622233"/>
        <c:crossBetween val="midCat"/>
      </c:valAx>
      <c:valAx>
        <c:axId val="1011451359"/>
        <c:scaling>
          <c:orientation val="minMax"/>
          <c:max val="1.0069199999999998"/>
          <c:min val="0.0612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55.9020728101524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B12EBCD-53A7-4C84-AB2E-19E304BCF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5E47617-86A0-4883-B898-3E2802CC9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E73B36C-E36E-4CB7-9735-2453F71C2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548542D-DCE9-477F-9C19-98A36941E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F8E5890-4399-4B1C-A08A-B53E5272B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5214D66-9FC7-43B7-9FD2-C95B5AB51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4D6BBCF-9AF2-4169-8DB3-6819FA66B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6270599-0669-48F1-8F44-3F5AA0D50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43.5841</c:v>
                </c:pt>
              </c:numCache>
            </c:numRef>
          </c:xVal>
          <c:yVal>
            <c:numRef>
              <c:f>Sheet1!$B$2:$B$2</c:f>
              <c:numCache>
                <c:formatCode>General</c:formatCode>
                <c:ptCount val="1"/>
                <c:pt idx="0">
                  <c:v>0.3777</c:v>
                </c:pt>
              </c:numCache>
            </c:numRef>
          </c:yVal>
          <c:bubbleSize>
            <c:numRef>
              <c:f>Sheet1!$C$2:$C$2</c:f>
              <c:numCache>
                <c:formatCode>General</c:formatCode>
                <c:ptCount val="1"/>
                <c:pt idx="0">
                  <c:v>1994095.5426000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72.30092"/>
          <c:min val="114.86728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777"/>
        <c:crossBetween val="midCat"/>
      </c:valAx>
      <c:valAx>
        <c:axId val="1011451359"/>
        <c:scaling>
          <c:orientation val="minMax"/>
          <c:max val="0.81324"/>
          <c:min val="0.06215999999999999"/>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3.584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E6E5E5"/>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C00000"/>
              </a:solidFill>
            </c:spPr>
            <c:extLst>
              <c:ext xmlns:c16="http://schemas.microsoft.com/office/drawing/2014/chart" uri="{C3380CC4-5D6E-409C-BE32-E72D297353CC}">
                <c16:uniqueId val="{00000017-78D1-41D4-ABFA-320BD44357BD}"/>
              </c:ext>
            </c:extLst>
          </c:dPt>
          <c:dPt>
            <c:idx val="12"/>
            <c:spPr>
              <a:solidFill>
                <a:srgbClr val="006C6D"/>
              </a:solidFill>
            </c:spPr>
          </c:dPt>
          <c:dPt>
            <c:idx val="13"/>
            <c:spPr>
              <a:solidFill>
                <a:srgbClr val="7ECAC4"/>
              </a:solidFill>
            </c:spPr>
          </c:dPt>
          <c:dPt>
            <c:idx val="14"/>
            <c:spPr>
              <a:solidFill>
                <a:srgbClr val="FF8080"/>
              </a:solidFill>
            </c:spPr>
          </c:dPt>
          <c:dPt>
            <c:idx val="15"/>
            <c:spPr>
              <a:solidFill>
                <a:srgbClr val="006C6D"/>
              </a:solidFill>
            </c:spPr>
          </c:dPt>
          <c:dLbls>
            <c:dLbl>
              <c:idx val="0"/>
              <c:tx>
                <c:rich>
                  <a:bodyPr/>
                  <a:lstStyle/>
                  <a:p>
                    <a:fld id="{9F850F19-161D-4DD1-847A-E2FA81AF2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D4B2CD3-4673-44E8-BBF5-55D2D1503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14D5586-1A5E-4E11-8C76-F7054868F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B196F46-1B60-4B22-B639-B73FF0FEE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D6FAF44-62D7-4157-88EB-C96E299C4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760999D-FE88-4557-9DA2-20044F793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13D687E-C916-4F1B-8986-ED177B69D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B105836-3501-41C6-959A-2BA8ECA99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0.8212</c:v>
                </c:pt>
                <c:pt idx="1">
                  <c:v>9.5114</c:v>
                </c:pt>
                <c:pt idx="2">
                  <c:v>12.5153</c:v>
                </c:pt>
                <c:pt idx="3">
                  <c:v>10.8842</c:v>
                </c:pt>
                <c:pt idx="4">
                  <c:v>13.8226</c:v>
                </c:pt>
                <c:pt idx="5">
                  <c:v>15.6255</c:v>
                </c:pt>
                <c:pt idx="6">
                  <c:v>39.9918</c:v>
                </c:pt>
                <c:pt idx="7">
                  <c:v>23.1118</c:v>
                </c:pt>
                <c:pt idx="8">
                  <c:v>57.4991</c:v>
                </c:pt>
                <c:pt idx="9">
                  <c:v>43.1859</c:v>
                </c:pt>
                <c:pt idx="10">
                  <c:v>79.1485</c:v>
                </c:pt>
                <c:pt idx="11">
                  <c:v>134.4618</c:v>
                </c:pt>
                <c:pt idx="12">
                  <c:v>39.5757</c:v>
                </c:pt>
                <c:pt idx="13">
                  <c:v>36.5428</c:v>
                </c:pt>
                <c:pt idx="14">
                  <c:v>33.3992</c:v>
                </c:pt>
                <c:pt idx="15">
                  <c:v>50.1974</c:v>
                </c:pt>
              </c:numCache>
            </c:numRef>
          </c:xVal>
          <c:yVal>
            <c:numRef>
              <c:f>Sheet1!$B$2:$B$17</c:f>
              <c:numCache>
                <c:formatCode>General</c:formatCode>
                <c:ptCount val="16"/>
                <c:pt idx="0">
                  <c:v>0.5025</c:v>
                </c:pt>
                <c:pt idx="1">
                  <c:v>0.5453</c:v>
                </c:pt>
                <c:pt idx="2">
                  <c:v>0.49</c:v>
                </c:pt>
                <c:pt idx="3">
                  <c:v>0.4655</c:v>
                </c:pt>
                <c:pt idx="4">
                  <c:v>0.487</c:v>
                </c:pt>
                <c:pt idx="5">
                  <c:v>0.4216</c:v>
                </c:pt>
                <c:pt idx="6">
                  <c:v>0.4303</c:v>
                </c:pt>
                <c:pt idx="7">
                  <c:v>0.5236</c:v>
                </c:pt>
                <c:pt idx="8">
                  <c:v>0.4065</c:v>
                </c:pt>
                <c:pt idx="9">
                  <c:v>0.3948</c:v>
                </c:pt>
                <c:pt idx="10">
                  <c:v>0.4042</c:v>
                </c:pt>
                <c:pt idx="11">
                  <c:v>0.3808</c:v>
                </c:pt>
                <c:pt idx="12">
                  <c:v>0.4345</c:v>
                </c:pt>
                <c:pt idx="13">
                  <c:v>0.4323</c:v>
                </c:pt>
                <c:pt idx="14">
                  <c:v>0.4374</c:v>
                </c:pt>
                <c:pt idx="15">
                  <c:v>0.4224</c:v>
                </c:pt>
              </c:numCache>
            </c:numRef>
          </c:yVal>
          <c:bubbleSize>
            <c:numRef>
              <c:f>Sheet1!$C$2:$C$17</c:f>
              <c:numCache>
                <c:formatCode>General</c:formatCode>
                <c:ptCount val="16"/>
                <c:pt idx="0">
                  <c:v>66236.6455</c:v>
                </c:pt>
                <c:pt idx="1">
                  <c:v>237023.93499999997</c:v>
                </c:pt>
                <c:pt idx="2">
                  <c:v>160521.04869999993</c:v>
                </c:pt>
                <c:pt idx="3">
                  <c:v>9708.7252</c:v>
                </c:pt>
                <c:pt idx="4">
                  <c:v>97974.25940000001</c:v>
                </c:pt>
                <c:pt idx="5">
                  <c:v>94284.05279999998</c:v>
                </c:pt>
                <c:pt idx="6">
                  <c:v>22515.397699999998</c:v>
                </c:pt>
                <c:pt idx="7">
                  <c:v>88841.78550000001</c:v>
                </c:pt>
                <c:pt idx="8">
                  <c:v>543826.324</c:v>
                </c:pt>
                <c:pt idx="9">
                  <c:v>6236088.162099996</c:v>
                </c:pt>
                <c:pt idx="10">
                  <c:v>1110690.350800001</c:v>
                </c:pt>
                <c:pt idx="11">
                  <c:v>286538.1488999999</c:v>
                </c:pt>
                <c:pt idx="12">
                  <c:v>60907.0033</c:v>
                </c:pt>
                <c:pt idx="13">
                  <c:v>361262.09209999995</c:v>
                </c:pt>
                <c:pt idx="14">
                  <c:v>469859.9463</c:v>
                </c:pt>
                <c:pt idx="15">
                  <c:v>35389.185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61.35416"/>
          <c:min val="7.60912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81910393503081"/>
        <c:crossBetween val="midCat"/>
      </c:valAx>
      <c:valAx>
        <c:axId val="1011451359"/>
        <c:scaling>
          <c:orientation val="minMax"/>
          <c:max val="1.01436"/>
          <c:min val="0.06464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7.66067487364700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FF8080"/>
              </a:solidFill>
            </c:spPr>
            <c:extLst>
              <c:ext xmlns:c16="http://schemas.microsoft.com/office/drawing/2014/chart" uri="{C3380CC4-5D6E-409C-BE32-E72D297353CC}">
                <c16:uniqueId val="{00000011-78D1-41D4-ABFA-320BD44357BD}"/>
              </c:ext>
            </c:extLst>
          </c:dPt>
          <c:dPt>
            <c:idx val="9"/>
            <c:invertIfNegative val="1"/>
            <c:bubble3D val="0"/>
            <c:spPr>
              <a:solidFill>
                <a:srgbClr val="FF8080"/>
              </a:solidFill>
            </c:spPr>
            <c:extLst>
              <c:ext xmlns:c16="http://schemas.microsoft.com/office/drawing/2014/chart" uri="{C3380CC4-5D6E-409C-BE32-E72D297353CC}">
                <c16:uniqueId val="{00000013-78D1-41D4-ABFA-320BD44357BD}"/>
              </c:ext>
            </c:extLst>
          </c:dPt>
          <c:dPt>
            <c:idx val="10"/>
            <c:invertIfNegative val="1"/>
            <c:bubble3D val="0"/>
            <c:spPr>
              <a:solidFill>
                <a:srgbClr val="C00000"/>
              </a:solidFill>
            </c:spPr>
            <c:extLst>
              <c:ext xmlns:c16="http://schemas.microsoft.com/office/drawing/2014/chart" uri="{C3380CC4-5D6E-409C-BE32-E72D297353CC}">
                <c16:uniqueId val="{00000015-78D1-41D4-ABFA-320BD44357BD}"/>
              </c:ext>
            </c:extLst>
          </c:dPt>
          <c:dPt>
            <c:idx val="11"/>
            <c:invertIfNegative val="1"/>
            <c:bubble3D val="0"/>
            <c:spPr>
              <a:solidFill>
                <a:srgbClr val="E6E5E5"/>
              </a:solidFill>
            </c:spPr>
            <c:extLst>
              <c:ext xmlns:c16="http://schemas.microsoft.com/office/drawing/2014/chart" uri="{C3380CC4-5D6E-409C-BE32-E72D297353CC}">
                <c16:uniqueId val="{00000017-78D1-41D4-ABFA-320BD44357BD}"/>
              </c:ext>
            </c:extLst>
          </c:dPt>
          <c:dPt>
            <c:idx val="12"/>
            <c:spPr>
              <a:solidFill>
                <a:srgbClr val="7ECAC4"/>
              </a:solidFill>
            </c:spPr>
          </c:dPt>
          <c:dPt>
            <c:idx val="13"/>
            <c:spPr>
              <a:solidFill>
                <a:srgbClr val="7ECAC4"/>
              </a:solidFill>
            </c:spPr>
          </c:dPt>
          <c:dPt>
            <c:idx val="14"/>
            <c:spPr>
              <a:solidFill>
                <a:srgbClr val="FF8080"/>
              </a:solidFill>
            </c:spPr>
          </c:dPt>
          <c:dPt>
            <c:idx val="15"/>
            <c:spPr>
              <a:solidFill>
                <a:srgbClr val="E6E5E5"/>
              </a:solidFill>
            </c:spPr>
          </c:dPt>
          <c:dLbls>
            <c:dLbl>
              <c:idx val="0"/>
              <c:tx>
                <c:rich>
                  <a:bodyPr/>
                  <a:lstStyle/>
                  <a:p>
                    <a:fld id="{EAD277B3-3B55-424D-A92F-9F95FBB79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A0DBF42-80A5-4C93-9CC8-18730833A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48D0D66-4550-4AA6-9C9A-156EE10A5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E3DAFF6-7546-41D4-B171-C1218DF9C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A1AAF1C-1BE1-4A44-A5BC-8A2175A9B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54ECC16-25B0-407D-AEC8-83B4073D4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295E4B6-5348-4313-B059-D7E934BF5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F235C7C-558F-4158-8BDA-1F38CB908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0.7991</c:v>
                </c:pt>
                <c:pt idx="1">
                  <c:v>9.6206</c:v>
                </c:pt>
                <c:pt idx="2">
                  <c:v>12.5991</c:v>
                </c:pt>
                <c:pt idx="3">
                  <c:v>11.3579</c:v>
                </c:pt>
                <c:pt idx="4">
                  <c:v>13.4532</c:v>
                </c:pt>
                <c:pt idx="5">
                  <c:v>17.9803</c:v>
                </c:pt>
                <c:pt idx="6">
                  <c:v>37.8625</c:v>
                </c:pt>
                <c:pt idx="7">
                  <c:v>24.2799</c:v>
                </c:pt>
                <c:pt idx="8">
                  <c:v>58.1958</c:v>
                </c:pt>
                <c:pt idx="9">
                  <c:v>43.0932</c:v>
                </c:pt>
                <c:pt idx="10">
                  <c:v>78.5621</c:v>
                </c:pt>
                <c:pt idx="11">
                  <c:v>145.9197</c:v>
                </c:pt>
                <c:pt idx="12">
                  <c:v>39.215</c:v>
                </c:pt>
                <c:pt idx="13">
                  <c:v>36.4826</c:v>
                </c:pt>
                <c:pt idx="14">
                  <c:v>33.4181</c:v>
                </c:pt>
                <c:pt idx="15">
                  <c:v>52.0812</c:v>
                </c:pt>
              </c:numCache>
            </c:numRef>
          </c:xVal>
          <c:yVal>
            <c:numRef>
              <c:f>Sheet1!$B$2:$B$17</c:f>
              <c:numCache>
                <c:formatCode>General</c:formatCode>
                <c:ptCount val="16"/>
                <c:pt idx="0">
                  <c:v>0.5096</c:v>
                </c:pt>
                <c:pt idx="1">
                  <c:v>0.5441</c:v>
                </c:pt>
                <c:pt idx="2">
                  <c:v>0.4949</c:v>
                </c:pt>
                <c:pt idx="3">
                  <c:v>0.4696</c:v>
                </c:pt>
                <c:pt idx="4">
                  <c:v>0.5105</c:v>
                </c:pt>
                <c:pt idx="5">
                  <c:v>0.4528</c:v>
                </c:pt>
                <c:pt idx="6">
                  <c:v>0.4324</c:v>
                </c:pt>
                <c:pt idx="7">
                  <c:v>0.5334</c:v>
                </c:pt>
                <c:pt idx="8">
                  <c:v>0.407</c:v>
                </c:pt>
                <c:pt idx="9">
                  <c:v>0.3936</c:v>
                </c:pt>
                <c:pt idx="10">
                  <c:v>0.4027</c:v>
                </c:pt>
                <c:pt idx="11">
                  <c:v>0.3775</c:v>
                </c:pt>
                <c:pt idx="12">
                  <c:v>0.4356</c:v>
                </c:pt>
                <c:pt idx="13">
                  <c:v>0.4312</c:v>
                </c:pt>
                <c:pt idx="14">
                  <c:v>0.437</c:v>
                </c:pt>
                <c:pt idx="15">
                  <c:v>0.4223</c:v>
                </c:pt>
              </c:numCache>
            </c:numRef>
          </c:yVal>
          <c:bubbleSize>
            <c:numRef>
              <c:f>Sheet1!$C$2:$C$17</c:f>
              <c:numCache>
                <c:formatCode>General</c:formatCode>
                <c:ptCount val="16"/>
                <c:pt idx="0">
                  <c:v>71522.51140000003</c:v>
                </c:pt>
                <c:pt idx="1">
                  <c:v>328697.0985999999</c:v>
                </c:pt>
                <c:pt idx="2">
                  <c:v>202366.69169999997</c:v>
                </c:pt>
                <c:pt idx="3">
                  <c:v>14356.338300000003</c:v>
                </c:pt>
                <c:pt idx="4">
                  <c:v>88737.5578</c:v>
                </c:pt>
                <c:pt idx="5">
                  <c:v>65574.32420000002</c:v>
                </c:pt>
                <c:pt idx="6">
                  <c:v>24534.872499999998</c:v>
                </c:pt>
                <c:pt idx="7">
                  <c:v>124580.40509999999</c:v>
                </c:pt>
                <c:pt idx="8">
                  <c:v>744091.3105999997</c:v>
                </c:pt>
                <c:pt idx="9">
                  <c:v>7802318.162500004</c:v>
                </c:pt>
                <c:pt idx="10">
                  <c:v>1401312.8087000002</c:v>
                </c:pt>
                <c:pt idx="11">
                  <c:v>399965.95870000025</c:v>
                </c:pt>
                <c:pt idx="12">
                  <c:v>67920.3218</c:v>
                </c:pt>
                <c:pt idx="13">
                  <c:v>428415.03739999986</c:v>
                </c:pt>
                <c:pt idx="14">
                  <c:v>534388.5031</c:v>
                </c:pt>
                <c:pt idx="15">
                  <c:v>48383.434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75.10364"/>
          <c:min val="7.6964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751457103291044"/>
        <c:crossBetween val="midCat"/>
      </c:valAx>
      <c:valAx>
        <c:axId val="1011451359"/>
        <c:scaling>
          <c:orientation val="minMax"/>
          <c:max val="1.01292"/>
          <c:min val="0.06200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48.56402783410505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00584273072957546</c:v>
                </c:pt>
                <c:pt idx="1">
                  <c:v>-0.011261288671619839</c:v>
                </c:pt>
                <c:pt idx="2">
                  <c:v>0.005077974758084247</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371</c:v>
                </c:pt>
                <c:pt idx="1">
                  <c:v>0.0118</c:v>
                </c:pt>
                <c:pt idx="2">
                  <c:v>-0.1318</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c:v>
                </c:pt>
                <c:pt idx="1">
                  <c:v>6</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05919064862471554</c:v>
                </c:pt>
                <c:pt idx="1">
                  <c:v>-0.014065043963452152</c:v>
                </c:pt>
                <c:pt idx="2">
                  <c:v>0.011108215789135345</c:v>
                </c:pt>
                <c:pt idx="3">
                  <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0343</c:v>
                </c:pt>
                <c:pt idx="1">
                  <c:v>0.0149</c:v>
                </c:pt>
                <c:pt idx="2">
                  <c:v>-0.1211</c:v>
                </c:pt>
                <c:pt idx="3">
                  <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Mousseux</c:v>
                </c:pt>
                <c:pt idx="1">
                  <c:v>Champagnes</c:v>
                </c:pt>
                <c:pt idx="2">
                  <c:v>Effervescents Sans Alcool</c:v>
                </c:pt>
                <c:pt idx="3">
                  <c:v/>
                </c:pt>
              </c:strCache>
            </c:strRef>
          </c:cat>
          <c:val>
            <c:numRef>
              <c:f>Sheet1!$B$2:$B$5</c:f>
              <c:numCache>
                <c:formatCode>General</c:formatCode>
                <c:ptCount val="4"/>
                <c:pt idx="0">
                  <c:v>0</c:v>
                </c:pt>
                <c:pt idx="1">
                  <c:v>3</c:v>
                </c:pt>
                <c:pt idx="2">
                  <c:v>0</c:v>
                </c:pt>
                <c:pt idx="3">
                  <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16/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7.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3.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xml"/></Relationships>
</file>

<file path=ppt/notesSlides/_rels/notesSlide1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xml"/></Relationships>
</file>

<file path=ppt/notesSlides/_rels/notesSlide1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7.xml"/></Relationships>
</file>

<file path=ppt/notesSlides/_rels/notesSlide1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xml"/></Relationships>
</file>

<file path=ppt/notesSlides/_rels/notesSlide1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xml"/></Relationships>
</file>

<file path=ppt/notesSlides/_rels/notesSlide1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1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xml"/></Relationships>
</file>

<file path=ppt/notesSlides/_rels/notesSlide1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xml"/></Relationships>
</file>

<file path=ppt/notesSlides/_rels/notesSlide1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6.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1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xml"/></Relationships>
</file>

<file path=ppt/notesSlides/_rels/notesSlide1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xml"/></Relationships>
</file>

<file path=ppt/notesSlides/_rels/notesSlide1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2.xml"/></Relationships>
</file>

<file path=ppt/notesSlides/_rels/notesSlide1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xml"/></Relationships>
</file>

<file path=ppt/notesSlides/_rels/notesSlide1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xml"/></Relationships>
</file>

<file path=ppt/notesSlides/_rels/notesSlide1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xml"/></Relationships>
</file>

<file path=ppt/notesSlides/_rels/notesSlide2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2.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5.xml"/></Relationships>
</file>

<file path=ppt/notesSlides/_rels/notesSlide2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7.xml"/></Relationships>
</file>

<file path=ppt/notesSlides/_rels/notesSlide2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xml"/></Relationships>
</file>

<file path=ppt/notesSlides/_rels/notesSlide2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9.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1.xml"/></Relationships>
</file>

<file path=ppt/notesSlides/_rels/notesSlide2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xml"/></Relationships>
</file>

<file path=ppt/notesSlides/_rels/notesSlide2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3.xml"/></Relationships>
</file>

<file path=ppt/notesSlides/_rels/notesSlide2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8.xml"/></Relationships>
</file>

<file path=ppt/notesSlides/_rels/notesSlide2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9.xml"/></Relationships>
</file>

<file path=ppt/notesSlides/_rels/notesSlide2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0.xml"/></Relationships>
</file>

<file path=ppt/notesSlides/_rels/notesSlide2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2.xml"/></Relationships>
</file>

<file path=ppt/notesSlides/_rels/notesSlide2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3.xml"/></Relationships>
</file>

<file path=ppt/notesSlides/_rels/notesSlide2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4.xml"/></Relationships>
</file>

<file path=ppt/notesSlides/_rels/notesSlide2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6.xml"/></Relationships>
</file>

<file path=ppt/notesSlides/_rels/notesSlide2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9.xml"/></Relationships>
</file>

<file path=ppt/notesSlides/_rels/notesSlide2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0.xml"/></Relationships>
</file>

<file path=ppt/notesSlides/_rels/notesSlide2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1.xml"/></Relationships>
</file>

<file path=ppt/notesSlides/_rels/notesSlide2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3.xml"/></Relationships>
</file>

<file path=ppt/notesSlides/_rels/notesSlide2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4.xml"/></Relationships>
</file>

<file path=ppt/notesSlides/_rels/notesSlide2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5.xml"/></Relationships>
</file>

<file path=ppt/notesSlides/_rels/notesSlide2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6.xml"/></Relationships>
</file>

<file path=ppt/notesSlides/_rels/notesSlide2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7.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0.xml"/></Relationships>
</file>

<file path=ppt/notesSlides/_rels/notesSlide2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1.xml"/></Relationships>
</file>

<file path=ppt/notesSlides/_rels/notesSlide2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2.xml"/></Relationships>
</file>

<file path=ppt/notesSlides/_rels/notesSlide2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4.xml"/></Relationships>
</file>

<file path=ppt/notesSlides/_rels/notesSlide2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5.xml"/></Relationships>
</file>

<file path=ppt/notesSlides/_rels/notesSlide2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6.xml"/></Relationships>
</file>

<file path=ppt/notesSlides/_rels/notesSlide2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7.xml"/></Relationships>
</file>

<file path=ppt/notesSlides/_rels/notesSlide2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1.xml"/></Relationships>
</file>

<file path=ppt/notesSlides/_rels/notesSlide2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2.xml"/></Relationships>
</file>

<file path=ppt/notesSlides/_rels/notesSlide2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3.xml"/></Relationships>
</file>

<file path=ppt/notesSlides/_rels/notesSlide2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5.xml"/></Relationships>
</file>

<file path=ppt/notesSlides/_rels/notesSlide2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8.xml"/></Relationships>
</file>

<file path=ppt/notesSlides/_rels/notesSlide2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9.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2.xml"/></Relationships>
</file>

<file path=ppt/notesSlides/_rels/notesSlide2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3.xml"/></Relationships>
</file>

<file path=ppt/notesSlides/_rels/notesSlide2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4.xml"/></Relationships>
</file>

<file path=ppt/notesSlides/_rels/notesSlide2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6.xml"/></Relationships>
</file>

<file path=ppt/notesSlides/_rels/notesSlide2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0.xml"/></Relationships>
</file>

<file path=ppt/notesSlides/_rels/notesSlide2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1.xml"/></Relationships>
</file>

<file path=ppt/notesSlides/_rels/notesSlide2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3.xml"/></Relationships>
</file>

<file path=ppt/notesSlides/_rels/notesSlide2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4.xml"/></Relationships>
</file>

<file path=ppt/notesSlides/_rels/notesSlide2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5.xml"/></Relationships>
</file>

<file path=ppt/notesSlides/_rels/notesSlide2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6.xml"/></Relationships>
</file>

<file path=ppt/notesSlides/_rels/notesSlide2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0.xml"/></Relationships>
</file>

<file path=ppt/notesSlides/_rels/notesSlide2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1.xml"/></Relationships>
</file>

<file path=ppt/notesSlides/_rels/notesSlide2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2.xml"/></Relationships>
</file>

<file path=ppt/notesSlides/_rels/notesSlide2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4.xml"/></Relationships>
</file>

<file path=ppt/notesSlides/_rels/notesSlide2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5.xml"/></Relationships>
</file>

<file path=ppt/notesSlides/_rels/notesSlide2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6.xml"/></Relationships>
</file>

<file path=ppt/notesSlides/_rels/notesSlide2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7.xml"/></Relationships>
</file>

<file path=ppt/notesSlides/_rels/notesSlide2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8.xml"/></Relationships>
</file>

<file path=ppt/notesSlides/_rels/notesSlide2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1.xml"/></Relationships>
</file>

<file path=ppt/notesSlides/_rels/notesSlide2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2.xml"/></Relationships>
</file>

<file path=ppt/notesSlides/_rels/notesSlide2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3.xml"/></Relationships>
</file>

<file path=ppt/notesSlides/_rels/notesSlide2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5.xml"/></Relationships>
</file>

<file path=ppt/notesSlides/_rels/notesSlide2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6.xml"/></Relationships>
</file>

<file path=ppt/notesSlides/_rels/notesSlide2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7.xml"/></Relationships>
</file>

<file path=ppt/notesSlides/_rels/notesSlide2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0.xml"/></Relationships>
</file>

<file path=ppt/notesSlides/_rels/notesSlide3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1.xml"/></Relationships>
</file>

<file path=ppt/notesSlides/_rels/notesSlide3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2.xml"/></Relationships>
</file>

<file path=ppt/notesSlides/_rels/notesSlide3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5.xml"/></Relationships>
</file>

<file path=ppt/notesSlides/_rels/notesSlide3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7.xml"/></Relationships>
</file>

<file path=ppt/notesSlides/_rels/notesSlide3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8.xml"/></Relationships>
</file>

<file path=ppt/notesSlides/_rels/notesSlide3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9.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1.xml"/></Relationships>
</file>

<file path=ppt/notesSlides/_rels/notesSlide3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2.xml"/></Relationships>
</file>

<file path=ppt/notesSlides/_rels/notesSlide3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9.xml"/></Relationships>
</file>

<file path=ppt/notesSlides/_rels/notesSlide3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0.xml"/></Relationships>
</file>

<file path=ppt/notesSlides/_rels/notesSlide3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1.xml"/></Relationships>
</file>

<file path=ppt/notesSlides/_rels/notesSlide3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3.xml"/></Relationships>
</file>

<file path=ppt/notesSlides/_rels/notesSlide3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4.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5.xml"/></Relationships>
</file>

<file path=ppt/notesSlides/_rels/notesSlide3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6.xml"/></Relationships>
</file>

<file path=ppt/notesSlides/_rels/notesSlide3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7.xml"/></Relationships>
</file>

<file path=ppt/notesSlides/_rels/notesSlide3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0.xml"/></Relationships>
</file>

<file path=ppt/notesSlides/_rels/notesSlide3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1.xml"/></Relationships>
</file>

<file path=ppt/notesSlides/_rels/notesSlide3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2.xml"/></Relationships>
</file>

<file path=ppt/notesSlides/_rels/notesSlide3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4.xml"/></Relationships>
</file>

<file path=ppt/notesSlides/_rels/notesSlide3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5.xml"/></Relationships>
</file>

<file path=ppt/notesSlides/_rels/notesSlide3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6.xml"/></Relationships>
</file>

<file path=ppt/notesSlides/_rels/notesSlide3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7.xml"/></Relationships>
</file>

<file path=ppt/notesSlides/_rels/notesSlide3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8.xml"/></Relationships>
</file>

<file path=ppt/notesSlides/_rels/notesSlide3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1.xml"/></Relationships>
</file>

<file path=ppt/notesSlides/_rels/notesSlide3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2.xml"/></Relationships>
</file>

<file path=ppt/notesSlides/_rels/notesSlide3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3.xml"/></Relationships>
</file>

<file path=ppt/notesSlides/_rels/notesSlide3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5.xml"/></Relationships>
</file>

<file path=ppt/notesSlides/_rels/notesSlide3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7.xml"/></Relationships>
</file>

<file path=ppt/notesSlides/_rels/notesSlide3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8.xml"/></Relationships>
</file>

<file path=ppt/notesSlides/_rels/notesSlide3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9.xml"/></Relationships>
</file>

<file path=ppt/notesSlides/_rels/notesSlide3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2.xml"/></Relationships>
</file>

<file path=ppt/notesSlides/_rels/notesSlide3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3.xml"/></Relationships>
</file>

<file path=ppt/notesSlides/_rels/notesSlide3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6.xml"/></Relationships>
</file>

<file path=ppt/notesSlides/_rels/notesSlide3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8.xml"/></Relationships>
</file>

<file path=ppt/notesSlides/_rels/notesSlide3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9.xml"/></Relationships>
</file>

<file path=ppt/notesSlides/_rels/notesSlide3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0.xml"/></Relationships>
</file>

<file path=ppt/notesSlides/_rels/notesSlide3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3.xml"/></Relationships>
</file>

<file path=ppt/notesSlides/_rels/notesSlide3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4.xml"/></Relationships>
</file>

<file path=ppt/notesSlides/_rels/notesSlide3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5.xml"/></Relationships>
</file>

<file path=ppt/notesSlides/_rels/notesSlide3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6.xml"/></Relationships>
</file>

<file path=ppt/notesSlides/_rels/notesSlide3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7.xml"/></Relationships>
</file>

<file path=ppt/notesSlides/_rels/notesSlide3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0.xml"/></Relationships>
</file>

<file path=ppt/notesSlides/_rels/notesSlide3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1.xml"/></Relationships>
</file>

<file path=ppt/notesSlides/_rels/notesSlide3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4.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5.xml"/></Relationships>
</file>

<file path=ppt/notesSlides/_rels/notesSlide3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6.xml"/></Relationships>
</file>

<file path=ppt/notesSlides/_rels/notesSlide3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7.xml"/></Relationships>
</file>

<file path=ppt/notesSlides/_rels/notesSlide3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8.xml"/></Relationships>
</file>

<file path=ppt/notesSlides/_rels/notesSlide3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1.xml"/></Relationships>
</file>

<file path=ppt/notesSlides/_rels/notesSlide3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2.xml"/></Relationships>
</file>

<file path=ppt/notesSlides/_rels/notesSlide3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3.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5.xml"/></Relationships>
</file>

<file path=ppt/notesSlides/_rels/notesSlide3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7.xml"/></Relationships>
</file>

<file path=ppt/notesSlides/_rels/notesSlide3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8.xml"/></Relationships>
</file>

<file path=ppt/notesSlides/_rels/notesSlide3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9.xml"/></Relationships>
</file>

<file path=ppt/notesSlides/_rels/notesSlide3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2.xml"/></Relationships>
</file>

<file path=ppt/notesSlides/_rels/notesSlide3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3.xml"/></Relationships>
</file>

<file path=ppt/notesSlides/_rels/notesSlide3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4.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7.xml"/></Relationships>
</file>

<file path=ppt/notesSlides/_rels/notesSlide3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8.xml"/></Relationships>
</file>

<file path=ppt/notesSlides/_rels/notesSlide3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9.xml"/></Relationships>
</file>

<file path=ppt/notesSlides/_rels/notesSlide3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1.xml"/></Relationships>
</file>

<file path=ppt/notesSlides/_rels/notesSlide3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2.xml"/></Relationships>
</file>

<file path=ppt/notesSlides/_rels/notesSlide3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3.xml"/></Relationships>
</file>

<file path=ppt/notesSlides/_rels/notesSlide4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8.xml"/></Relationships>
</file>

<file path=ppt/notesSlides/_rels/notesSlide4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9.xml"/></Relationships>
</file>

<file path=ppt/notesSlides/_rels/notesSlide4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0.xml"/></Relationships>
</file>

<file path=ppt/notesSlides/_rels/notesSlide4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2.xml"/></Relationships>
</file>

<file path=ppt/notesSlides/_rels/notesSlide4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3.xml"/></Relationships>
</file>

<file path=ppt/notesSlides/_rels/notesSlide4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4.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6.xml"/></Relationships>
</file>

<file path=ppt/notesSlides/_rels/notesSlide4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9.xml"/></Relationships>
</file>

<file path=ppt/notesSlides/_rels/notesSlide4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0.xml"/></Relationships>
</file>

<file path=ppt/notesSlides/_rels/notesSlide4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1.xml"/></Relationships>
</file>

<file path=ppt/notesSlides/_rels/notesSlide4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3.xml"/></Relationships>
</file>

<file path=ppt/notesSlides/_rels/notesSlide4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4.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5.xml"/></Relationships>
</file>

<file path=ppt/notesSlides/_rels/notesSlide4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6.xml"/></Relationships>
</file>

<file path=ppt/notesSlides/_rels/notesSlide4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7.xml"/></Relationships>
</file>

<file path=ppt/notesSlides/_rels/notesSlide4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0.xml"/></Relationships>
</file>

<file path=ppt/notesSlides/_rels/notesSlide4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1.xml"/></Relationships>
</file>

<file path=ppt/notesSlides/_rels/notesSlide4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2.xml"/></Relationships>
</file>

<file path=ppt/notesSlides/_rels/notesSlide4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4.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5.xml"/></Relationships>
</file>

<file path=ppt/notesSlides/_rels/notesSlide4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7.xml"/></Relationships>
</file>

<file path=ppt/notesSlides/_rels/notesSlide4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8.xml"/></Relationships>
</file>

<file path=ppt/notesSlides/_rels/notesSlide4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1.xml"/></Relationships>
</file>

<file path=ppt/notesSlides/_rels/notesSlide4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2.xml"/></Relationships>
</file>

<file path=ppt/notesSlides/_rels/notesSlide4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3.xml"/></Relationships>
</file>

<file path=ppt/notesSlides/_rels/notesSlide4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5.xml"/></Relationships>
</file>

<file path=ppt/notesSlides/_rels/notesSlide4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8.xml"/></Relationships>
</file>

<file path=ppt/notesSlides/_rels/notesSlide4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9.xml"/></Relationships>
</file>

<file path=ppt/notesSlides/_rels/notesSlide4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0.xml"/></Relationships>
</file>

<file path=ppt/notesSlides/_rels/notesSlide4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2.xml"/></Relationships>
</file>

<file path=ppt/notesSlides/_rels/notesSlide4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3.xml"/></Relationships>
</file>

<file path=ppt/notesSlides/_rels/notesSlide4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4.xml"/></Relationships>
</file>

<file path=ppt/notesSlides/_rels/notesSlide4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6.xml"/></Relationships>
</file>

<file path=ppt/notesSlides/_rels/notesSlide4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9.xml"/></Relationships>
</file>

<file path=ppt/notesSlides/_rels/notesSlide4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0.xml"/></Relationships>
</file>

<file path=ppt/notesSlides/_rels/notesSlide4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1.xml"/></Relationships>
</file>

<file path=ppt/notesSlides/_rels/notesSlide4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3.xml"/></Relationships>
</file>

<file path=ppt/notesSlides/_rels/notesSlide4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4.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5.xml"/></Relationships>
</file>

<file path=ppt/notesSlides/_rels/notesSlide4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6.xml"/></Relationships>
</file>

<file path=ppt/notesSlides/_rels/notesSlide4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7.xml"/></Relationships>
</file>

<file path=ppt/notesSlides/_rels/notesSlide4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0.xml"/></Relationships>
</file>

<file path=ppt/notesSlides/_rels/notesSlide4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1.xml"/></Relationships>
</file>

<file path=ppt/notesSlides/_rels/notesSlide4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2.xml"/></Relationships>
</file>

<file path=ppt/notesSlides/_rels/notesSlide4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4.xml"/></Relationships>
</file>

<file path=ppt/notesSlides/_rels/notesSlide4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5.xml"/></Relationships>
</file>

<file path=ppt/notesSlides/_rels/notesSlide4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6.xml"/></Relationships>
</file>

<file path=ppt/notesSlides/_rels/notesSlide4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7.xml"/></Relationships>
</file>

<file path=ppt/notesSlides/_rels/notesSlide4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8.xml"/></Relationships>
</file>

<file path=ppt/notesSlides/_rels/notesSlide4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1.xml"/></Relationships>
</file>

<file path=ppt/notesSlides/_rels/notesSlide4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2.xml"/></Relationships>
</file>

<file path=ppt/notesSlides/_rels/notesSlide4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3.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5.xml"/></Relationships>
</file>

<file path=ppt/notesSlides/_rels/notesSlide4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7.xml"/></Relationships>
</file>

<file path=ppt/notesSlides/_rels/notesSlide4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8.xml"/></Relationships>
</file>

<file path=ppt/notesSlides/_rels/notesSlide4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9.xml"/></Relationships>
</file>

<file path=ppt/notesSlides/_rels/notesSlide4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2.xml"/></Relationships>
</file>

<file path=ppt/notesSlides/_rels/notesSlide4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3.xml"/></Relationships>
</file>

<file path=ppt/notesSlides/_rels/notesSlide4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4.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7.xml"/></Relationships>
</file>

<file path=ppt/notesSlides/_rels/notesSlide4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8.xml"/></Relationships>
</file>

<file path=ppt/notesSlides/_rels/notesSlide4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9.xml"/></Relationships>
</file>

<file path=ppt/notesSlides/_rels/notesSlide4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1.xml"/></Relationships>
</file>

<file path=ppt/notesSlides/_rels/notesSlide4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2.xml"/></Relationships>
</file>

<file path=ppt/notesSlides/_rels/notesSlide4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3.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chart" Target="../charts/chart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chart" Target="../charts/chart1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4.xml"/><Relationship Id="rId7" Type="http://schemas.openxmlformats.org/officeDocument/2006/relationships/chart" Target="../charts/chart115.xml"/><Relationship Id="rId8" Type="http://schemas.openxmlformats.org/officeDocument/2006/relationships/chart" Target="../charts/chart116.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7.xml"/><Relationship Id="rId7" Type="http://schemas.openxmlformats.org/officeDocument/2006/relationships/chart" Target="../charts/chart118.xml"/><Relationship Id="rId8" Type="http://schemas.openxmlformats.org/officeDocument/2006/relationships/chart" Target="../charts/chart119.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0.xml"/><Relationship Id="rId7" Type="http://schemas.openxmlformats.org/officeDocument/2006/relationships/chart" Target="../charts/chart121.xml"/><Relationship Id="rId8" Type="http://schemas.openxmlformats.org/officeDocument/2006/relationships/chart" Target="../charts/chart122.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6.xml"/><Relationship Id="rId7" Type="http://schemas.openxmlformats.org/officeDocument/2006/relationships/chart" Target="../charts/chart127.xml"/><Relationship Id="rId8" Type="http://schemas.openxmlformats.org/officeDocument/2006/relationships/chart" Target="../charts/chart128.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2.xml"/><Relationship Id="rId7" Type="http://schemas.openxmlformats.org/officeDocument/2006/relationships/chart" Target="../charts/chart133.xml"/><Relationship Id="rId8" Type="http://schemas.openxmlformats.org/officeDocument/2006/relationships/chart" Target="../charts/chart134.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5.xml"/><Relationship Id="rId7" Type="http://schemas.openxmlformats.org/officeDocument/2006/relationships/chart" Target="../charts/chart136.xml"/><Relationship Id="rId8" Type="http://schemas.openxmlformats.org/officeDocument/2006/relationships/chart" Target="../charts/chart13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8.xml"/><Relationship Id="rId7" Type="http://schemas.openxmlformats.org/officeDocument/2006/relationships/chart" Target="../charts/chart139.xml"/><Relationship Id="rId8" Type="http://schemas.openxmlformats.org/officeDocument/2006/relationships/chart" Target="../charts/chart14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notesSlide" Target="../notesSlides/notesSlide1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7.xml"/><Relationship Id="rId7" Type="http://schemas.openxmlformats.org/officeDocument/2006/relationships/chart" Target="../charts/chart148.xml"/><Relationship Id="rId8" Type="http://schemas.openxmlformats.org/officeDocument/2006/relationships/chart" Target="../charts/chart149.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0.xml"/><Relationship Id="rId7" Type="http://schemas.openxmlformats.org/officeDocument/2006/relationships/chart" Target="../charts/chart151.xml"/><Relationship Id="rId8" Type="http://schemas.openxmlformats.org/officeDocument/2006/relationships/chart" Target="../charts/chart15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notesSlide" Target="../notesSlides/notesSlide1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9.xml"/><Relationship Id="rId7" Type="http://schemas.openxmlformats.org/officeDocument/2006/relationships/chart" Target="../charts/chart160.xml"/><Relationship Id="rId8" Type="http://schemas.openxmlformats.org/officeDocument/2006/relationships/chart" Target="../charts/chart161.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notesSlide" Target="../notesSlides/notesSlide1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8.xml"/><Relationship Id="rId7" Type="http://schemas.openxmlformats.org/officeDocument/2006/relationships/chart" Target="../charts/chart169.xml"/><Relationship Id="rId8" Type="http://schemas.openxmlformats.org/officeDocument/2006/relationships/chart" Target="../charts/chart170.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notesSlide" Target="../notesSlides/notesSlide1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1.xml"/><Relationship Id="rId7" Type="http://schemas.openxmlformats.org/officeDocument/2006/relationships/chart" Target="../charts/chart172.xml"/><Relationship Id="rId8" Type="http://schemas.openxmlformats.org/officeDocument/2006/relationships/chart" Target="../charts/chart173.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notesSlide" Target="../notesSlides/notesSlide1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0.xml"/><Relationship Id="rId7" Type="http://schemas.openxmlformats.org/officeDocument/2006/relationships/chart" Target="../charts/chart181.xml"/><Relationship Id="rId8" Type="http://schemas.openxmlformats.org/officeDocument/2006/relationships/chart" Target="../charts/chart18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3.xml"/><Relationship Id="rId7" Type="http://schemas.openxmlformats.org/officeDocument/2006/relationships/chart" Target="../charts/chart184.xml"/><Relationship Id="rId8" Type="http://schemas.openxmlformats.org/officeDocument/2006/relationships/chart" Target="../charts/chart185.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notesSlide" Target="../notesSlides/notesSlide1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6.xml"/><Relationship Id="rId7" Type="http://schemas.openxmlformats.org/officeDocument/2006/relationships/chart" Target="../charts/chart187.xml"/><Relationship Id="rId8" Type="http://schemas.openxmlformats.org/officeDocument/2006/relationships/chart" Target="../charts/chart188.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notesSlide" Target="../notesSlides/notesSlide12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chart" Target="../charts/chart1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notesSlide" Target="../notesSlides/notesSlide13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notesSlide" Target="../notesSlides/notesSlide13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notesSlide" Target="../notesSlides/notesSlide13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notesSlide" Target="../notesSlides/notesSlide13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notesSlide" Target="../notesSlides/notesSlide13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notesSlide" Target="../notesSlides/notesSlide13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chart" Target="../charts/chart1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notesSlide" Target="../notesSlides/notesSlide14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notesSlide" Target="../notesSlides/notesSlide14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notesSlide" Target="../notesSlides/notesSlide14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notesSlide" Target="../notesSlides/notesSlide14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notesSlide" Target="../notesSlides/notesSlide14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notesSlide" Target="../notesSlides/notesSlide14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notesSlide" Target="../notesSlides/notesSlide14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notesSlide" Target="../notesSlides/notesSlide14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chart" Target="../charts/chart1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notesSlide" Target="../notesSlides/notesSlide15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notesSlide" Target="../notesSlides/notesSlide15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notesSlide" Target="../notesSlides/notesSlide15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notesSlide" Target="../notesSlides/notesSlide15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notesSlide" Target="../notesSlides/notesSlide15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notesSlide" Target="../notesSlides/notesSlide15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notesSlide" Target="../notesSlides/notesSlide15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chart" Target="../charts/chart1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notesSlide" Target="../notesSlides/notesSlide16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notesSlide" Target="../notesSlides/notesSlide16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notesSlide" Target="../notesSlides/notesSlide16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notesSlide" Target="../notesSlides/notesSlide16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notesSlide" Target="../notesSlides/notesSlide16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notesSlide" Target="../notesSlides/notesSlide16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chart" Target="../charts/chart1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notesSlide" Target="../notesSlides/notesSlide17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notesSlide" Target="../notesSlides/notesSlide17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notesSlide" Target="../notesSlides/notesSlide17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notesSlide" Target="../notesSlides/notesSlide17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notesSlide" Target="../notesSlides/notesSlide17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notesSlide" Target="../notesSlides/notesSlide17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notesSlide" Target="../notesSlides/notesSlide17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notesSlide" Target="../notesSlides/notesSlide18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notesSlide" Target="../notesSlides/notesSlide18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notesSlide" Target="../notesSlides/notesSlide18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notesSlide" Target="../notesSlides/notesSlide18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notesSlide" Target="../notesSlides/notesSlide18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notesSlide" Target="../notesSlides/notesSlide18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notesSlide" Target="../notesSlides/notesSlide18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chart" Target="../charts/chart1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notesSlide" Target="../notesSlides/notesSlide19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notesSlide" Target="../notesSlides/notesSlide19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notesSlide" Target="../notesSlides/notesSlide19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notesSlide" Target="../notesSlides/notesSlide19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notesSlide" Target="../notesSlides/notesSlide19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notesSlide" Target="../notesSlides/notesSlide19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notesSlide" Target="../notesSlides/notesSlide19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chart" Target="../charts/chart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chart" Target="../charts/chart2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notesSlide" Target="../notesSlides/notesSlide20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notesSlide" Target="../notesSlides/notesSlide20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notesSlide" Target="../notesSlides/notesSlide20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notesSlide" Target="../notesSlides/notesSlide20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notesSlide" Target="../notesSlides/notesSlide20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notesSlide" Target="../notesSlides/notesSlide20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notesSlide" Target="../notesSlides/notesSlide20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chart" Target="../charts/chart2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notesSlide" Target="../notesSlides/notesSlide21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notesSlide" Target="../notesSlides/notesSlide21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notesSlide" Target="../notesSlides/notesSlide21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notesSlide" Target="../notesSlides/notesSlide21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notesSlide" Target="../notesSlides/notesSlide21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notesSlide" Target="../notesSlides/notesSlide22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notesSlide" Target="../notesSlides/notesSlide22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notesSlide" Target="../notesSlides/notesSlide22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notesSlide" Target="../notesSlides/notesSlide22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notesSlide" Target="../notesSlides/notesSlide22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notesSlide" Target="../notesSlides/notesSlide22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notesSlide" Target="../notesSlides/notesSlide23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notesSlide" Target="../notesSlides/notesSlide23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33.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notesSlide" Target="../notesSlides/notesSlide23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notesSlide" Target="../notesSlides/notesSlide23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notesSlide" Target="../notesSlides/notesSlide23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notesSlide" Target="../notesSlides/notesSlide23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notesSlide" Target="../notesSlides/notesSlide23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chart" Target="../charts/chart2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notesSlide" Target="../notesSlides/notesSlide24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notesSlide" Target="../notesSlides/notesSlide24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42.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7.xml"/><Relationship Id="rId3" Type="http://schemas.openxmlformats.org/officeDocument/2006/relationships/notesSlide" Target="../notesSlides/notesSlide24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44.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notesSlide" Target="../notesSlides/notesSlide24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notesSlide" Target="../notesSlides/notesSlide24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notesSlide" Target="../notesSlides/notesSlide24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notesSlide" Target="../notesSlides/notesSlide24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notesSlide" Target="../notesSlides/notesSlide24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chart" Target="../charts/chart2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notesSlide" Target="../notesSlides/notesSlide25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notesSlide" Target="../notesSlides/notesSlide25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53.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7.xml"/><Relationship Id="rId3" Type="http://schemas.openxmlformats.org/officeDocument/2006/relationships/notesSlide" Target="../notesSlides/notesSlide25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notesSlide" Target="../notesSlides/notesSlide25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notesSlide" Target="../notesSlides/notesSlide25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notesSlide" Target="../notesSlides/notesSlide25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chart" Target="../charts/chart2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notesSlide" Target="../notesSlides/notesSlide26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notesSlide" Target="../notesSlides/notesSlide26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notesSlide" Target="../notesSlides/notesSlide26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notesSlide" Target="../notesSlides/notesSlide26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notesSlide" Target="../notesSlides/notesSlide26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chart" Target="../charts/chart2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notesSlide" Target="../notesSlides/notesSlide27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71.xml.rels><?xml version='1.0' encoding='UTF-8' standalone='yes'?>
<Relationships xmlns="http://schemas.openxmlformats.org/package/2006/relationships"><Relationship Id="rId1" Type="http://schemas.openxmlformats.org/officeDocument/2006/relationships/tags" Target="../tags/tag298.xml"/><Relationship Id="rId2" Type="http://schemas.openxmlformats.org/officeDocument/2006/relationships/slideLayout" Target="../slideLayouts/slideLayout7.xml"/><Relationship Id="rId3" Type="http://schemas.openxmlformats.org/officeDocument/2006/relationships/notesSlide" Target="../notesSlides/notesSlide27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73.xml.rels><?xml version='1.0' encoding='UTF-8' standalone='yes'?>
<Relationships xmlns="http://schemas.openxmlformats.org/package/2006/relationships"><Relationship Id="rId1" Type="http://schemas.openxmlformats.org/officeDocument/2006/relationships/tags" Target="../tags/tag300.xml"/><Relationship Id="rId2" Type="http://schemas.openxmlformats.org/officeDocument/2006/relationships/slideLayout" Target="../slideLayouts/slideLayout7.xml"/><Relationship Id="rId3" Type="http://schemas.openxmlformats.org/officeDocument/2006/relationships/notesSlide" Target="../notesSlides/notesSlide27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74.xml.rels><?xml version='1.0' encoding='UTF-8' standalone='yes'?>
<Relationships xmlns="http://schemas.openxmlformats.org/package/2006/relationships"><Relationship Id="rId1" Type="http://schemas.openxmlformats.org/officeDocument/2006/relationships/tags" Target="../tags/tag301.xml"/><Relationship Id="rId2" Type="http://schemas.openxmlformats.org/officeDocument/2006/relationships/slideLayout" Target="../slideLayouts/slideLayout7.xml"/><Relationship Id="rId3" Type="http://schemas.openxmlformats.org/officeDocument/2006/relationships/notesSlide" Target="../notesSlides/notesSlide27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75.xml.rels><?xml version='1.0' encoding='UTF-8' standalone='yes'?>
<Relationships xmlns="http://schemas.openxmlformats.org/package/2006/relationships"><Relationship Id="rId1" Type="http://schemas.openxmlformats.org/officeDocument/2006/relationships/tags" Target="../tags/tag302.xml"/><Relationship Id="rId2" Type="http://schemas.openxmlformats.org/officeDocument/2006/relationships/slideLayout" Target="../slideLayouts/slideLayout7.xml"/><Relationship Id="rId3" Type="http://schemas.openxmlformats.org/officeDocument/2006/relationships/notesSlide" Target="../notesSlides/notesSlide27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notesSlide" Target="../notesSlides/notesSlide27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notesSlide" Target="../notesSlides/notesSlide27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chart" Target="../charts/chart2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80.xml.rels><?xml version='1.0' encoding='UTF-8' standalone='yes'?>
<Relationships xmlns="http://schemas.openxmlformats.org/package/2006/relationships"><Relationship Id="rId1" Type="http://schemas.openxmlformats.org/officeDocument/2006/relationships/tags" Target="../tags/tag307.xml"/><Relationship Id="rId2" Type="http://schemas.openxmlformats.org/officeDocument/2006/relationships/slideLayout" Target="../slideLayouts/slideLayout7.xml"/><Relationship Id="rId3" Type="http://schemas.openxmlformats.org/officeDocument/2006/relationships/notesSlide" Target="../notesSlides/notesSlide28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81.xml.rels><?xml version='1.0' encoding='UTF-8' standalone='yes'?>
<Relationships xmlns="http://schemas.openxmlformats.org/package/2006/relationships"><Relationship Id="rId1" Type="http://schemas.openxmlformats.org/officeDocument/2006/relationships/tags" Target="../tags/tag308.xml"/><Relationship Id="rId2" Type="http://schemas.openxmlformats.org/officeDocument/2006/relationships/slideLayout" Target="../slideLayouts/slideLayout7.xml"/><Relationship Id="rId3" Type="http://schemas.openxmlformats.org/officeDocument/2006/relationships/notesSlide" Target="../notesSlides/notesSlide28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82.xml.rels><?xml version='1.0' encoding='UTF-8' standalone='yes'?>
<Relationships xmlns="http://schemas.openxmlformats.org/package/2006/relationships"><Relationship Id="rId1" Type="http://schemas.openxmlformats.org/officeDocument/2006/relationships/tags" Target="../tags/tag309.xml"/><Relationship Id="rId2" Type="http://schemas.openxmlformats.org/officeDocument/2006/relationships/slideLayout" Target="../slideLayouts/slideLayout7.xml"/><Relationship Id="rId3" Type="http://schemas.openxmlformats.org/officeDocument/2006/relationships/notesSlide" Target="../notesSlides/notesSlide28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notesSlide" Target="../notesSlides/notesSlide28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notesSlide" Target="../notesSlides/notesSlide28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86.xml.rels><?xml version='1.0' encoding='UTF-8' standalone='yes'?>
<Relationships xmlns="http://schemas.openxmlformats.org/package/2006/relationships"><Relationship Id="rId1" Type="http://schemas.openxmlformats.org/officeDocument/2006/relationships/tags" Target="../tags/tag313.xml"/><Relationship Id="rId2" Type="http://schemas.openxmlformats.org/officeDocument/2006/relationships/slideLayout" Target="../slideLayouts/slideLayout7.xml"/><Relationship Id="rId3" Type="http://schemas.openxmlformats.org/officeDocument/2006/relationships/notesSlide" Target="../notesSlides/notesSlide28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87.xml.rels><?xml version='1.0' encoding='UTF-8' standalone='yes'?>
<Relationships xmlns="http://schemas.openxmlformats.org/package/2006/relationships"><Relationship Id="rId1" Type="http://schemas.openxmlformats.org/officeDocument/2006/relationships/tags" Target="../tags/tag314.xml"/><Relationship Id="rId2" Type="http://schemas.openxmlformats.org/officeDocument/2006/relationships/slideLayout" Target="../slideLayouts/slideLayout7.xml"/><Relationship Id="rId3" Type="http://schemas.openxmlformats.org/officeDocument/2006/relationships/notesSlide" Target="../notesSlides/notesSlide28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88.xml.rels><?xml version='1.0' encoding='UTF-8' standalone='yes'?>
<Relationships xmlns="http://schemas.openxmlformats.org/package/2006/relationships"><Relationship Id="rId1" Type="http://schemas.openxmlformats.org/officeDocument/2006/relationships/tags" Target="../tags/tag315.xml"/><Relationship Id="rId2" Type="http://schemas.openxmlformats.org/officeDocument/2006/relationships/slideLayout" Target="../slideLayouts/slideLayout7.xml"/><Relationship Id="rId3" Type="http://schemas.openxmlformats.org/officeDocument/2006/relationships/notesSlide" Target="../notesSlides/notesSlide28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notesSlide" Target="../notesSlides/notesSlide29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notesSlide" Target="../notesSlides/notesSlide29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93.xml.rels><?xml version='1.0' encoding='UTF-8' standalone='yes'?>
<Relationships xmlns="http://schemas.openxmlformats.org/package/2006/relationships"><Relationship Id="rId1" Type="http://schemas.openxmlformats.org/officeDocument/2006/relationships/tags" Target="../tags/tag320.xml"/><Relationship Id="rId2" Type="http://schemas.openxmlformats.org/officeDocument/2006/relationships/slideLayout" Target="../slideLayouts/slideLayout7.xml"/><Relationship Id="rId3" Type="http://schemas.openxmlformats.org/officeDocument/2006/relationships/notesSlide" Target="../notesSlides/notesSlide29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95.xml.rels><?xml version='1.0' encoding='UTF-8' standalone='yes'?>
<Relationships xmlns="http://schemas.openxmlformats.org/package/2006/relationships"><Relationship Id="rId1" Type="http://schemas.openxmlformats.org/officeDocument/2006/relationships/tags" Target="../tags/tag322.xml"/><Relationship Id="rId2" Type="http://schemas.openxmlformats.org/officeDocument/2006/relationships/slideLayout" Target="../slideLayouts/slideLayout7.xml"/><Relationship Id="rId3" Type="http://schemas.openxmlformats.org/officeDocument/2006/relationships/notesSlide" Target="../notesSlides/notesSlide29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96.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notesSlide" Target="../notesSlides/notesSlide29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97.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slideLayout" Target="../slideLayouts/slideLayout7.xml"/><Relationship Id="rId3" Type="http://schemas.openxmlformats.org/officeDocument/2006/relationships/notesSlide" Target="../notesSlides/notesSlide29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98.xml.rels><?xml version='1.0' encoding='UTF-8' standalone='yes'?>
<Relationships xmlns="http://schemas.openxmlformats.org/package/2006/relationships"><Relationship Id="rId1" Type="http://schemas.openxmlformats.org/officeDocument/2006/relationships/tags" Target="../tags/tag325.xml"/><Relationship Id="rId2" Type="http://schemas.openxmlformats.org/officeDocument/2006/relationships/slideLayout" Target="../slideLayouts/slideLayout7.xml"/><Relationship Id="rId3" Type="http://schemas.openxmlformats.org/officeDocument/2006/relationships/notesSlide" Target="../notesSlides/notesSlide29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chart" Target="../charts/chart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chart" Target="../charts/chart3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00.xml.rels><?xml version='1.0' encoding='UTF-8' standalone='yes'?>
<Relationships xmlns="http://schemas.openxmlformats.org/package/2006/relationships"><Relationship Id="rId1" Type="http://schemas.openxmlformats.org/officeDocument/2006/relationships/tags" Target="../tags/tag327.xml"/><Relationship Id="rId2" Type="http://schemas.openxmlformats.org/officeDocument/2006/relationships/slideLayout" Target="../slideLayouts/slideLayout7.xml"/><Relationship Id="rId3" Type="http://schemas.openxmlformats.org/officeDocument/2006/relationships/notesSlide" Target="../notesSlides/notesSlide30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notesSlide" Target="../notesSlides/notesSlide30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notesSlide" Target="../notesSlides/notesSlide30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305.xml.rels><?xml version='1.0' encoding='UTF-8' standalone='yes'?>
<Relationships xmlns="http://schemas.openxmlformats.org/package/2006/relationships"><Relationship Id="rId1" Type="http://schemas.openxmlformats.org/officeDocument/2006/relationships/tags" Target="../tags/tag332.xml"/><Relationship Id="rId2" Type="http://schemas.openxmlformats.org/officeDocument/2006/relationships/slideLayout" Target="../slideLayouts/slideLayout7.xml"/><Relationship Id="rId3" Type="http://schemas.openxmlformats.org/officeDocument/2006/relationships/notesSlide" Target="../notesSlides/notesSlide30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notesSlide" Target="../notesSlides/notesSlide30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notesSlide" Target="../notesSlides/notesSlide30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309.xml.rels><?xml version='1.0' encoding='UTF-8' standalone='yes'?>
<Relationships xmlns="http://schemas.openxmlformats.org/package/2006/relationships"><Relationship Id="rId1" Type="http://schemas.openxmlformats.org/officeDocument/2006/relationships/tags" Target="../tags/tag336.xml"/><Relationship Id="rId2" Type="http://schemas.openxmlformats.org/officeDocument/2006/relationships/slideLayout" Target="../slideLayouts/slideLayout7.xml"/><Relationship Id="rId3" Type="http://schemas.openxmlformats.org/officeDocument/2006/relationships/notesSlide" Target="../notesSlides/notesSlide309.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chart" Target="../charts/chart3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11.xml.rels><?xml version='1.0' encoding='UTF-8' standalone='yes'?>
<Relationships xmlns="http://schemas.openxmlformats.org/package/2006/relationships"><Relationship Id="rId1" Type="http://schemas.openxmlformats.org/officeDocument/2006/relationships/tags" Target="../tags/tag338.xml"/><Relationship Id="rId2" Type="http://schemas.openxmlformats.org/officeDocument/2006/relationships/slideLayout" Target="../slideLayouts/slideLayout7.xml"/><Relationship Id="rId3" Type="http://schemas.openxmlformats.org/officeDocument/2006/relationships/notesSlide" Target="../notesSlides/notesSlide31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312.xml.rels><?xml version='1.0' encoding='UTF-8' standalone='yes'?>
<Relationships xmlns="http://schemas.openxmlformats.org/package/2006/relationships"><Relationship Id="rId1" Type="http://schemas.openxmlformats.org/officeDocument/2006/relationships/tags" Target="../tags/tag339.xml"/><Relationship Id="rId2" Type="http://schemas.openxmlformats.org/officeDocument/2006/relationships/slideLayout" Target="../slideLayouts/slideLayout7.xml"/><Relationship Id="rId3" Type="http://schemas.openxmlformats.org/officeDocument/2006/relationships/notesSlide" Target="../notesSlides/notesSlide31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313.xml.rels><?xml version='1.0' encoding='UTF-8' standalone='yes'?>
<Relationships xmlns="http://schemas.openxmlformats.org/package/2006/relationships"><Relationship Id="rId1" Type="http://schemas.openxmlformats.org/officeDocument/2006/relationships/tags" Target="../tags/tag3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chart" Target="../charts/chart3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20.xml.rels><?xml version='1.0' encoding='UTF-8' standalone='yes'?>
<Relationships xmlns="http://schemas.openxmlformats.org/package/2006/relationships"><Relationship Id="rId1" Type="http://schemas.openxmlformats.org/officeDocument/2006/relationships/tags" Target="../tags/tag3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1" Type="http://schemas.openxmlformats.org/officeDocument/2006/relationships/tags" Target="../tags/tag3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1" Type="http://schemas.openxmlformats.org/officeDocument/2006/relationships/tags" Target="../tags/tag3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1" Type="http://schemas.openxmlformats.org/officeDocument/2006/relationships/tags" Target="../tags/tag3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1" Type="http://schemas.openxmlformats.org/officeDocument/2006/relationships/tags" Target="../tags/tag3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1" Type="http://schemas.openxmlformats.org/officeDocument/2006/relationships/tags" Target="../tags/tag3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1" Type="http://schemas.openxmlformats.org/officeDocument/2006/relationships/tags" Target="../tags/tag3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1" Type="http://schemas.openxmlformats.org/officeDocument/2006/relationships/tags" Target="../tags/tag3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1" Type="http://schemas.openxmlformats.org/officeDocument/2006/relationships/tags" Target="../tags/tag3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1" Type="http://schemas.openxmlformats.org/officeDocument/2006/relationships/tags" Target="../tags/tag3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chart" Target="../charts/chart3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9.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4.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5.xml"/></Relationships>
</file>

<file path=ppt/slides/_rels/slide360.xml.rels><?xml version='1.0' encoding='UTF-8' standalone='yes'?>
<Relationships xmlns="http://schemas.openxmlformats.org/package/2006/relationships"><Relationship Id="rId1" Type="http://schemas.openxmlformats.org/officeDocument/2006/relationships/tags" Target="../tags/tag3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6.xml"/></Relationships>
</file>

<file path=ppt/slides/_rels/slide362.xml.rels><?xml version='1.0' encoding='UTF-8' standalone='yes'?>
<Relationships xmlns="http://schemas.openxmlformats.org/package/2006/relationships"><Relationship Id="rId1" Type="http://schemas.openxmlformats.org/officeDocument/2006/relationships/tags" Target="../tags/tag3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8.xml"/></Relationships>
</file>

<file path=ppt/slides/_rels/slide363.xml.rels><?xml version='1.0' encoding='UTF-8' standalone='yes'?>
<Relationships xmlns="http://schemas.openxmlformats.org/package/2006/relationships"><Relationship Id="rId1" Type="http://schemas.openxmlformats.org/officeDocument/2006/relationships/tags" Target="../tags/tag3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9.xml"/></Relationships>
</file>

<file path=ppt/slides/_rels/slide364.xml.rels><?xml version='1.0' encoding='UTF-8' standalone='yes'?>
<Relationships xmlns="http://schemas.openxmlformats.org/package/2006/relationships"><Relationship Id="rId1" Type="http://schemas.openxmlformats.org/officeDocument/2006/relationships/tags" Target="../tags/tag3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0.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2.xml"/></Relationships>
</file>

<file path=ppt/slides/_rels/slide369.xml.rels><?xml version='1.0' encoding='UTF-8' standalone='yes'?>
<Relationships xmlns="http://schemas.openxmlformats.org/package/2006/relationships"><Relationship Id="rId1" Type="http://schemas.openxmlformats.org/officeDocument/2006/relationships/tags" Target="../tags/tag3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5.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chart" Target="../charts/chart3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70.xml.rels><?xml version='1.0' encoding='UTF-8' standalone='yes'?>
<Relationships xmlns="http://schemas.openxmlformats.org/package/2006/relationships"><Relationship Id="rId1" Type="http://schemas.openxmlformats.org/officeDocument/2006/relationships/tags" Target="../tags/tag3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6.xml"/></Relationships>
</file>

<file path=ppt/slides/_rels/slide371.xml.rels><?xml version='1.0' encoding='UTF-8' standalone='yes'?>
<Relationships xmlns="http://schemas.openxmlformats.org/package/2006/relationships"><Relationship Id="rId1" Type="http://schemas.openxmlformats.org/officeDocument/2006/relationships/tags" Target="../tags/tag3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7.xml"/></Relationships>
</file>

<file path=ppt/slides/_rels/slide373.xml.rels><?xml version='1.0' encoding='UTF-8' standalone='yes'?>
<Relationships xmlns="http://schemas.openxmlformats.org/package/2006/relationships"><Relationship Id="rId1" Type="http://schemas.openxmlformats.org/officeDocument/2006/relationships/tags" Target="../tags/tag4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9.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0.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1.xml"/></Relationships>
</file>

<file path=ppt/slides/_rels/slide376.xml.rels><?xml version='1.0' encoding='UTF-8' standalone='yes'?>
<Relationships xmlns="http://schemas.openxmlformats.org/package/2006/relationships"><Relationship Id="rId1" Type="http://schemas.openxmlformats.org/officeDocument/2006/relationships/tags" Target="../tags/tag4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2.xml"/></Relationships>
</file>

<file path=ppt/slides/_rels/slide377.xml.rels><?xml version='1.0' encoding='UTF-8' standalone='yes'?>
<Relationships xmlns="http://schemas.openxmlformats.org/package/2006/relationships"><Relationship Id="rId1" Type="http://schemas.openxmlformats.org/officeDocument/2006/relationships/tags" Target="../tags/tag4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chart" Target="../charts/chart3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6.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7.xml"/></Relationships>
</file>

<file path=ppt/slides/_rels/slide382.xml.rels><?xml version='1.0' encoding='UTF-8' standalone='yes'?>
<Relationships xmlns="http://schemas.openxmlformats.org/package/2006/relationships"><Relationship Id="rId1" Type="http://schemas.openxmlformats.org/officeDocument/2006/relationships/tags" Target="../tags/tag4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8.xml"/></Relationships>
</file>

<file path=ppt/slides/_rels/slide384.xml.rels><?xml version='1.0' encoding='UTF-8' standalone='yes'?>
<Relationships xmlns="http://schemas.openxmlformats.org/package/2006/relationships"><Relationship Id="rId1" Type="http://schemas.openxmlformats.org/officeDocument/2006/relationships/tags" Target="../tags/tag4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0.xml"/></Relationships>
</file>

<file path=ppt/slides/_rels/slide385.xml.rels><?xml version='1.0' encoding='UTF-8' standalone='yes'?>
<Relationships xmlns="http://schemas.openxmlformats.org/package/2006/relationships"><Relationship Id="rId1" Type="http://schemas.openxmlformats.org/officeDocument/2006/relationships/tags" Target="../tags/tag4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1.xml"/></Relationships>
</file>

<file path=ppt/slides/_rels/slide386.xml.rels><?xml version='1.0' encoding='UTF-8' standalone='yes'?>
<Relationships xmlns="http://schemas.openxmlformats.org/package/2006/relationships"><Relationship Id="rId1" Type="http://schemas.openxmlformats.org/officeDocument/2006/relationships/tags" Target="../tags/tag4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2.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3.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4.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chart" Target="../charts/chart3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91.xml.rels><?xml version='1.0' encoding='UTF-8' standalone='yes'?>
<Relationships xmlns="http://schemas.openxmlformats.org/package/2006/relationships"><Relationship Id="rId1" Type="http://schemas.openxmlformats.org/officeDocument/2006/relationships/tags" Target="../tags/tag4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7.xml"/></Relationships>
</file>

<file path=ppt/slides/_rels/slide392.xml.rels><?xml version='1.0' encoding='UTF-8' standalone='yes'?>
<Relationships xmlns="http://schemas.openxmlformats.org/package/2006/relationships"><Relationship Id="rId1" Type="http://schemas.openxmlformats.org/officeDocument/2006/relationships/tags" Target="../tags/tag4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8.xml"/></Relationships>
</file>

<file path=ppt/slides/_rels/slide393.xml.rels><?xml version='1.0' encoding='UTF-8' standalone='yes'?>
<Relationships xmlns="http://schemas.openxmlformats.org/package/2006/relationships"><Relationship Id="rId1" Type="http://schemas.openxmlformats.org/officeDocument/2006/relationships/tags" Target="../tags/tag4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9.xml"/></Relationships>
</file>

<file path=ppt/slides/_rels/slide395.xml.rels><?xml version='1.0' encoding='UTF-8' standalone='yes'?>
<Relationships xmlns="http://schemas.openxmlformats.org/package/2006/relationships"><Relationship Id="rId1" Type="http://schemas.openxmlformats.org/officeDocument/2006/relationships/tags" Target="../tags/tag4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1.xml"/></Relationships>
</file>

<file path=ppt/slides/_rels/slide396.xml.rels><?xml version='1.0' encoding='UTF-8' standalone='yes'?>
<Relationships xmlns="http://schemas.openxmlformats.org/package/2006/relationships"><Relationship Id="rId1" Type="http://schemas.openxmlformats.org/officeDocument/2006/relationships/tags" Target="../tags/tag4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2.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3.xml"/></Relationships>
</file>

<file path=ppt/slides/_rels/slide398.xml.rels><?xml version='1.0' encoding='UTF-8' standalone='yes'?>
<Relationships xmlns="http://schemas.openxmlformats.org/package/2006/relationships"><Relationship Id="rId1" Type="http://schemas.openxmlformats.org/officeDocument/2006/relationships/tags" Target="../tags/tag4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4.xml"/></Relationships>
</file>

<file path=ppt/slides/_rels/slide400.xml.rels><?xml version='1.0' encoding='UTF-8' standalone='yes'?>
<Relationships xmlns="http://schemas.openxmlformats.org/package/2006/relationships"><Relationship Id="rId1" Type="http://schemas.openxmlformats.org/officeDocument/2006/relationships/tags" Target="../tags/tag4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6.xml"/></Relationships>
</file>

<file path=ppt/slides/_rels/slide401.xml.rels><?xml version='1.0' encoding='UTF-8' standalone='yes'?>
<Relationships xmlns="http://schemas.openxmlformats.org/package/2006/relationships"><Relationship Id="rId1" Type="http://schemas.openxmlformats.org/officeDocument/2006/relationships/tags" Target="../tags/tag4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7.xml"/></Relationships>
</file>

<file path=ppt/slides/_rels/slide402.xml.rels><?xml version='1.0' encoding='UTF-8' standalone='yes'?>
<Relationships xmlns="http://schemas.openxmlformats.org/package/2006/relationships"><Relationship Id="rId1" Type="http://schemas.openxmlformats.org/officeDocument/2006/relationships/tags" Target="../tags/tag4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8.xml"/></Relationships>
</file>

<file path=ppt/slides/_rels/slide405.xml.rels><?xml version='1.0' encoding='UTF-8' standalone='yes'?>
<Relationships xmlns="http://schemas.openxmlformats.org/package/2006/relationships"><Relationship Id="rId1" Type="http://schemas.openxmlformats.org/officeDocument/2006/relationships/tags" Target="../tags/tag4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1.xml"/></Relationships>
</file>

<file path=ppt/slides/_rels/slide407.xml.rels><?xml version='1.0' encoding='UTF-8' standalone='yes'?>
<Relationships xmlns="http://schemas.openxmlformats.org/package/2006/relationships"><Relationship Id="rId1" Type="http://schemas.openxmlformats.org/officeDocument/2006/relationships/tags" Target="../tags/tag4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3.xml"/></Relationships>
</file>

<file path=ppt/slides/_rels/slide408.xml.rels><?xml version='1.0' encoding='UTF-8' standalone='yes'?>
<Relationships xmlns="http://schemas.openxmlformats.org/package/2006/relationships"><Relationship Id="rId1" Type="http://schemas.openxmlformats.org/officeDocument/2006/relationships/tags" Target="../tags/tag4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4.xml"/></Relationships>
</file>

<file path=ppt/slides/_rels/slide409.xml.rels><?xml version='1.0' encoding='UTF-8' standalone='yes'?>
<Relationships xmlns="http://schemas.openxmlformats.org/package/2006/relationships"><Relationship Id="rId1" Type="http://schemas.openxmlformats.org/officeDocument/2006/relationships/tags" Target="../tags/tag4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5.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chart" Target="../charts/chart4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8.xml"/></Relationships>
</file>

<file path=ppt/slides/_rels/slide413.xml.rels><?xml version='1.0' encoding='UTF-8' standalone='yes'?>
<Relationships xmlns="http://schemas.openxmlformats.org/package/2006/relationships"><Relationship Id="rId1" Type="http://schemas.openxmlformats.org/officeDocument/2006/relationships/tags" Target="../tags/tag4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9.xml"/></Relationships>
</file>

<file path=ppt/slides/_rels/slide416.xml.rels><?xml version='1.0' encoding='UTF-8' standalone='yes'?>
<Relationships xmlns="http://schemas.openxmlformats.org/package/2006/relationships"><Relationship Id="rId1" Type="http://schemas.openxmlformats.org/officeDocument/2006/relationships/tags" Target="../tags/tag4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2.xml"/></Relationships>
</file>

<file path=ppt/slides/_rels/slide418.xml.rels><?xml version='1.0' encoding='UTF-8' standalone='yes'?>
<Relationships xmlns="http://schemas.openxmlformats.org/package/2006/relationships"><Relationship Id="rId1" Type="http://schemas.openxmlformats.org/officeDocument/2006/relationships/tags" Target="../tags/tag4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4.xml"/></Relationships>
</file>

<file path=ppt/slides/_rels/slide419.xml.rels><?xml version='1.0' encoding='UTF-8' standalone='yes'?>
<Relationships xmlns="http://schemas.openxmlformats.org/package/2006/relationships"><Relationship Id="rId1" Type="http://schemas.openxmlformats.org/officeDocument/2006/relationships/tags" Target="../tags/tag4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5.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chart" Target="../charts/chart4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6.xml"/></Relationships>
</file>

<file path=ppt/slides/_rels/slide423.xml.rels><?xml version='1.0' encoding='UTF-8' standalone='yes'?>
<Relationships xmlns="http://schemas.openxmlformats.org/package/2006/relationships"><Relationship Id="rId1" Type="http://schemas.openxmlformats.org/officeDocument/2006/relationships/tags" Target="../tags/tag4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xml"/></Relationships>
</file>

<file path=ppt/slides/_rels/slide424.xml.rels><?xml version='1.0' encoding='UTF-8' standalone='yes'?>
<Relationships xmlns="http://schemas.openxmlformats.org/package/2006/relationships"><Relationship Id="rId1" Type="http://schemas.openxmlformats.org/officeDocument/2006/relationships/tags" Target="../tags/tag4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0.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2.xml"/></Relationships>
</file>

<file path=ppt/slides/_rels/slide427.xml.rels><?xml version='1.0' encoding='UTF-8' standalone='yes'?>
<Relationships xmlns="http://schemas.openxmlformats.org/package/2006/relationships"><Relationship Id="rId1" Type="http://schemas.openxmlformats.org/officeDocument/2006/relationships/tags" Target="../tags/tag4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xml"/></Relationships>
</file>

<file path=ppt/slides/_rels/slide429.xml.rels><?xml version='1.0' encoding='UTF-8' standalone='yes'?>
<Relationships xmlns="http://schemas.openxmlformats.org/package/2006/relationships"><Relationship Id="rId1" Type="http://schemas.openxmlformats.org/officeDocument/2006/relationships/tags" Target="../tags/tag4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5.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chart" Target="../charts/chart4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30.xml.rels><?xml version='1.0' encoding='UTF-8' standalone='yes'?>
<Relationships xmlns="http://schemas.openxmlformats.org/package/2006/relationships"><Relationship Id="rId1" Type="http://schemas.openxmlformats.org/officeDocument/2006/relationships/tags" Target="../tags/tag4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6.xml"/></Relationships>
</file>

<file path=ppt/slides/_rels/slide431.xml.rels><?xml version='1.0' encoding='UTF-8' standalone='yes'?>
<Relationships xmlns="http://schemas.openxmlformats.org/package/2006/relationships"><Relationship Id="rId1" Type="http://schemas.openxmlformats.org/officeDocument/2006/relationships/tags" Target="../tags/tag4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7.xml"/></Relationships>
</file>

<file path=ppt/slides/_rels/slide434.xml.rels><?xml version='1.0' encoding='UTF-8' standalone='yes'?>
<Relationships xmlns="http://schemas.openxmlformats.org/package/2006/relationships"><Relationship Id="rId1" Type="http://schemas.openxmlformats.org/officeDocument/2006/relationships/tags" Target="../tags/tag4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1.xml"/></Relationships>
</file>

<file path=ppt/slides/_rels/slide436.xml.rels><?xml version='1.0' encoding='UTF-8' standalone='yes'?>
<Relationships xmlns="http://schemas.openxmlformats.org/package/2006/relationships"><Relationship Id="rId1" Type="http://schemas.openxmlformats.org/officeDocument/2006/relationships/tags" Target="../tags/tag4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2.xml"/></Relationships>
</file>

<file path=ppt/slides/_rels/slide437.xml.rels><?xml version='1.0' encoding='UTF-8' standalone='yes'?>
<Relationships xmlns="http://schemas.openxmlformats.org/package/2006/relationships"><Relationship Id="rId1" Type="http://schemas.openxmlformats.org/officeDocument/2006/relationships/tags" Target="../tags/tag4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xml"/></Relationships>
</file>

<file path=ppt/slides/_rels/slide438.xml.rels><?xml version='1.0' encoding='UTF-8' standalone='yes'?>
<Relationships xmlns="http://schemas.openxmlformats.org/package/2006/relationships"><Relationship Id="rId1" Type="http://schemas.openxmlformats.org/officeDocument/2006/relationships/tags" Target="../tags/tag4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4.xml"/></Relationships>
</file>

<file path=ppt/slides/_rels/slide440.xml.rels><?xml version='1.0' encoding='UTF-8' standalone='yes'?>
<Relationships xmlns="http://schemas.openxmlformats.org/package/2006/relationships"><Relationship Id="rId1" Type="http://schemas.openxmlformats.org/officeDocument/2006/relationships/tags" Target="../tags/tag4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6.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xml"/></Relationships>
</file>

<file path=ppt/slides/_rels/slide442.xml.rels><?xml version='1.0' encoding='UTF-8' standalone='yes'?>
<Relationships xmlns="http://schemas.openxmlformats.org/package/2006/relationships"><Relationship Id="rId1" Type="http://schemas.openxmlformats.org/officeDocument/2006/relationships/tags" Target="../tags/tag4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8.xml"/></Relationships>
</file>

<file path=ppt/slides/_rels/slide445.xml.rels><?xml version='1.0' encoding='UTF-8' standalone='yes'?>
<Relationships xmlns="http://schemas.openxmlformats.org/package/2006/relationships"><Relationship Id="rId1" Type="http://schemas.openxmlformats.org/officeDocument/2006/relationships/tags" Target="../tags/tag4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1.xml"/></Relationships>
</file>

<file path=ppt/slides/_rels/slide447.xml.rels><?xml version='1.0' encoding='UTF-8' standalone='yes'?>
<Relationships xmlns="http://schemas.openxmlformats.org/package/2006/relationships"><Relationship Id="rId1" Type="http://schemas.openxmlformats.org/officeDocument/2006/relationships/tags" Target="../tags/tag4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3.xml"/></Relationships>
</file>

<file path=ppt/slides/_rels/slide448.xml.rels><?xml version='1.0' encoding='UTF-8' standalone='yes'?>
<Relationships xmlns="http://schemas.openxmlformats.org/package/2006/relationships"><Relationship Id="rId1" Type="http://schemas.openxmlformats.org/officeDocument/2006/relationships/tags" Target="../tags/tag4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xml"/></Relationships>
</file>

<file path=ppt/slides/_rels/slide449.xml.rels><?xml version='1.0' encoding='UTF-8' standalone='yes'?>
<Relationships xmlns="http://schemas.openxmlformats.org/package/2006/relationships"><Relationship Id="rId1" Type="http://schemas.openxmlformats.org/officeDocument/2006/relationships/tags" Target="../tags/tag4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5.xml"/></Relationships>
</file>

<file path=ppt/slides/_rels/slide451.xml.rels><?xml version='1.0' encoding='UTF-8' standalone='yes'?>
<Relationships xmlns="http://schemas.openxmlformats.org/package/2006/relationships"><Relationship Id="rId1" Type="http://schemas.openxmlformats.org/officeDocument/2006/relationships/tags" Target="../tags/tag4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xml"/></Relationships>
</file>

<file path=ppt/slides/_rels/slide452.xml.rels><?xml version='1.0' encoding='UTF-8' standalone='yes'?>
<Relationships xmlns="http://schemas.openxmlformats.org/package/2006/relationships"><Relationship Id="rId1" Type="http://schemas.openxmlformats.org/officeDocument/2006/relationships/tags" Target="../tags/tag4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8.xml"/></Relationships>
</file>

<file path=ppt/slides/_rels/slide453.xml.rels><?xml version='1.0' encoding='UTF-8' standalone='yes'?>
<Relationships xmlns="http://schemas.openxmlformats.org/package/2006/relationships"><Relationship Id="rId1" Type="http://schemas.openxmlformats.org/officeDocument/2006/relationships/tags" Target="../tags/tag4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xml"/></Relationships>
</file>

<file path=ppt/slides/_rels/slide458.xml.rels><?xml version='1.0' encoding='UTF-8' standalone='yes'?>
<Relationships xmlns="http://schemas.openxmlformats.org/package/2006/relationships"><Relationship Id="rId1" Type="http://schemas.openxmlformats.org/officeDocument/2006/relationships/tags" Target="../tags/tag4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4.xml"/></Relationships>
</file>

<file path=ppt/slides/_rels/slide459.xml.rels><?xml version='1.0' encoding='UTF-8' standalone='yes'?>
<Relationships xmlns="http://schemas.openxmlformats.org/package/2006/relationships"><Relationship Id="rId1" Type="http://schemas.openxmlformats.org/officeDocument/2006/relationships/tags" Target="../tags/tag4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chart" Target="../charts/chart4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60.xml.rels><?xml version='1.0' encoding='UTF-8' standalone='yes'?>
<Relationships xmlns="http://schemas.openxmlformats.org/package/2006/relationships"><Relationship Id="rId1" Type="http://schemas.openxmlformats.org/officeDocument/2006/relationships/tags" Target="../tags/tag4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6.xml"/></Relationships>
</file>

<file path=ppt/slides/_rels/slide462.xml.rels><?xml version='1.0' encoding='UTF-8' standalone='yes'?>
<Relationships xmlns="http://schemas.openxmlformats.org/package/2006/relationships"><Relationship Id="rId1" Type="http://schemas.openxmlformats.org/officeDocument/2006/relationships/tags" Target="../tags/tag4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xml"/></Relationships>
</file>

<file path=ppt/slides/_rels/slide463.xml.rels><?xml version='1.0' encoding='UTF-8' standalone='yes'?>
<Relationships xmlns="http://schemas.openxmlformats.org/package/2006/relationships"><Relationship Id="rId1" Type="http://schemas.openxmlformats.org/officeDocument/2006/relationships/tags" Target="../tags/tag4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9.xml"/></Relationships>
</file>

<file path=ppt/slides/_rels/slide464.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0.xml"/></Relationships>
</file>

<file path=ppt/slides/_rels/slide466.xml.rels><?xml version='1.0' encoding='UTF-8' standalone='yes'?>
<Relationships xmlns="http://schemas.openxmlformats.org/package/2006/relationships"><Relationship Id="rId1" Type="http://schemas.openxmlformats.org/officeDocument/2006/relationships/tags" Target="../tags/tag4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2.xml"/></Relationships>
</file>

<file path=ppt/slides/_rels/slide469.xml.rels><?xml version='1.0' encoding='UTF-8' standalone='yes'?>
<Relationships xmlns="http://schemas.openxmlformats.org/package/2006/relationships"><Relationship Id="rId1" Type="http://schemas.openxmlformats.org/officeDocument/2006/relationships/tags" Target="../tags/tag4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xml"/></Relationships>
</file>

<file path=ppt/slides/_rels/slide470.xml.rels><?xml version='1.0' encoding='UTF-8' standalone='yes'?>
<Relationships xmlns="http://schemas.openxmlformats.org/package/2006/relationships"><Relationship Id="rId1" Type="http://schemas.openxmlformats.org/officeDocument/2006/relationships/tags" Target="../tags/tag4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6.xml"/></Relationships>
</file>

<file path=ppt/slides/_rels/slide471.xml.rels><?xml version='1.0' encoding='UTF-8' standalone='yes'?>
<Relationships xmlns="http://schemas.openxmlformats.org/package/2006/relationships"><Relationship Id="rId1" Type="http://schemas.openxmlformats.org/officeDocument/2006/relationships/tags" Target="../tags/tag4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7.xml"/></Relationships>
</file>

<file path=ppt/slides/_rels/slide473.xml.rels><?xml version='1.0' encoding='UTF-8' standalone='yes'?>
<Relationships xmlns="http://schemas.openxmlformats.org/package/2006/relationships"><Relationship Id="rId1" Type="http://schemas.openxmlformats.org/officeDocument/2006/relationships/tags" Target="../tags/tag5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9.xml"/></Relationships>
</file>

<file path=ppt/slides/_rels/slide474.xml.rels><?xml version='1.0' encoding='UTF-8' standalone='yes'?>
<Relationships xmlns="http://schemas.openxmlformats.org/package/2006/relationships"><Relationship Id="rId1" Type="http://schemas.openxmlformats.org/officeDocument/2006/relationships/tags" Target="../tags/tag5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0.xml"/></Relationships>
</file>

<file path=ppt/slides/_rels/slide475.xml.rels><?xml version='1.0' encoding='UTF-8' standalone='yes'?>
<Relationships xmlns="http://schemas.openxmlformats.org/package/2006/relationships"><Relationship Id="rId1" Type="http://schemas.openxmlformats.org/officeDocument/2006/relationships/tags" Target="../tags/tag5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1.xml"/></Relationships>
</file>

<file path=ppt/slides/_rels/slide476.xml.rels><?xml version='1.0' encoding='UTF-8' standalone='yes'?>
<Relationships xmlns="http://schemas.openxmlformats.org/package/2006/relationships"><Relationship Id="rId1" Type="http://schemas.openxmlformats.org/officeDocument/2006/relationships/tags" Target="../tags/tag5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2.xml"/></Relationships>
</file>

<file path=ppt/slides/_rels/slide477.xml.rels><?xml version='1.0' encoding='UTF-8' standalone='yes'?>
<Relationships xmlns="http://schemas.openxmlformats.org/package/2006/relationships"><Relationship Id="rId1" Type="http://schemas.openxmlformats.org/officeDocument/2006/relationships/tags" Target="../tags/tag5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3.xml"/></Relationships>
</file>

<file path=ppt/slides/_rels/slide478.xml.rels><?xml version='1.0' encoding='UTF-8' standalone='yes'?>
<Relationships xmlns="http://schemas.openxmlformats.org/package/2006/relationships"><Relationship Id="rId1" Type="http://schemas.openxmlformats.org/officeDocument/2006/relationships/tags" Target="../tags/tag5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chart" Target="../charts/chart4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80.xml.rels><?xml version='1.0' encoding='UTF-8' standalone='yes'?>
<Relationships xmlns="http://schemas.openxmlformats.org/package/2006/relationships"><Relationship Id="rId1" Type="http://schemas.openxmlformats.org/officeDocument/2006/relationships/tags" Target="../tags/tag5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6.xml"/></Relationships>
</file>

<file path=ppt/slides/_rels/slide481.xml.rels><?xml version='1.0' encoding='UTF-8' standalone='yes'?>
<Relationships xmlns="http://schemas.openxmlformats.org/package/2006/relationships"><Relationship Id="rId1" Type="http://schemas.openxmlformats.org/officeDocument/2006/relationships/tags" Target="../tags/tag5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7.xml"/></Relationships>
</file>

<file path=ppt/slides/_rels/slide482.xml.rels><?xml version='1.0' encoding='UTF-8' standalone='yes'?>
<Relationships xmlns="http://schemas.openxmlformats.org/package/2006/relationships"><Relationship Id="rId1" Type="http://schemas.openxmlformats.org/officeDocument/2006/relationships/tags" Target="../tags/tag5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8.xml"/></Relationships>
</file>

<file path=ppt/slides/_rels/slide484.xml.rels><?xml version='1.0' encoding='UTF-8' standalone='yes'?>
<Relationships xmlns="http://schemas.openxmlformats.org/package/2006/relationships"><Relationship Id="rId1" Type="http://schemas.openxmlformats.org/officeDocument/2006/relationships/tags" Target="../tags/tag5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0.xml"/></Relationships>
</file>

<file path=ppt/slides/_rels/slide485.xml.rels><?xml version='1.0' encoding='UTF-8' standalone='yes'?>
<Relationships xmlns="http://schemas.openxmlformats.org/package/2006/relationships"><Relationship Id="rId1" Type="http://schemas.openxmlformats.org/officeDocument/2006/relationships/tags" Target="../tags/tag5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1.xml"/></Relationships>
</file>

<file path=ppt/slides/_rels/slide487.xml.rels><?xml version='1.0' encoding='UTF-8' standalone='yes'?>
<Relationships xmlns="http://schemas.openxmlformats.org/package/2006/relationships"><Relationship Id="rId1" Type="http://schemas.openxmlformats.org/officeDocument/2006/relationships/tags" Target="../tags/tag5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3.xml"/></Relationships>
</file>

<file path=ppt/slides/_rels/slide488.xml.rels><?xml version='1.0' encoding='UTF-8' standalone='yes'?>
<Relationships xmlns="http://schemas.openxmlformats.org/package/2006/relationships"><Relationship Id="rId1" Type="http://schemas.openxmlformats.org/officeDocument/2006/relationships/tags" Target="../tags/tag5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4.xml"/></Relationships>
</file>

<file path=ppt/slides/_rels/slide489.xml.rels><?xml version='1.0' encoding='UTF-8' standalone='yes'?>
<Relationships xmlns="http://schemas.openxmlformats.org/package/2006/relationships"><Relationship Id="rId1" Type="http://schemas.openxmlformats.org/officeDocument/2006/relationships/tags" Target="../tags/tag5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5.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chart" Target="../charts/chart4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91.xml.rels><?xml version='1.0' encoding='UTF-8' standalone='yes'?>
<Relationships xmlns="http://schemas.openxmlformats.org/package/2006/relationships"><Relationship Id="rId1" Type="http://schemas.openxmlformats.org/officeDocument/2006/relationships/tags" Target="../tags/tag5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7.xml"/></Relationships>
</file>

<file path=ppt/slides/_rels/slide492.xml.rels><?xml version='1.0' encoding='UTF-8' standalone='yes'?>
<Relationships xmlns="http://schemas.openxmlformats.org/package/2006/relationships"><Relationship Id="rId1" Type="http://schemas.openxmlformats.org/officeDocument/2006/relationships/tags" Target="../tags/tag5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8.xml"/></Relationships>
</file>

<file path=ppt/slides/_rels/slide493.xml.rels><?xml version='1.0' encoding='UTF-8' standalone='yes'?>
<Relationships xmlns="http://schemas.openxmlformats.org/package/2006/relationships"><Relationship Id="rId1" Type="http://schemas.openxmlformats.org/officeDocument/2006/relationships/tags" Target="../tags/tag5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9.xml"/></Relationships>
</file>

<file path=ppt/slides/_rels/slide496.xml.rels><?xml version='1.0' encoding='UTF-8' standalone='yes'?>
<Relationships xmlns="http://schemas.openxmlformats.org/package/2006/relationships"><Relationship Id="rId1" Type="http://schemas.openxmlformats.org/officeDocument/2006/relationships/tags" Target="../tags/tag5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2.xml"/></Relationships>
</file>

<file path=ppt/slides/_rels/slide497.xml.rels><?xml version='1.0' encoding='UTF-8' standalone='yes'?>
<Relationships xmlns="http://schemas.openxmlformats.org/package/2006/relationships"><Relationship Id="rId1" Type="http://schemas.openxmlformats.org/officeDocument/2006/relationships/tags" Target="../tags/tag5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3.xml"/></Relationships>
</file>

<file path=ppt/slides/_rels/slide498.xml.rels><?xml version='1.0' encoding='UTF-8' standalone='yes'?>
<Relationships xmlns="http://schemas.openxmlformats.org/package/2006/relationships"><Relationship Id="rId1" Type="http://schemas.openxmlformats.org/officeDocument/2006/relationships/tags" Target="../tags/tag5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4.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chart" Target="../charts/chart5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01.xml.rels><?xml version='1.0' encoding='UTF-8' standalone='yes'?>
<Relationships xmlns="http://schemas.openxmlformats.org/package/2006/relationships"><Relationship Id="rId1" Type="http://schemas.openxmlformats.org/officeDocument/2006/relationships/tags" Target="../tags/tag5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7.xml"/></Relationships>
</file>

<file path=ppt/slides/_rels/slide502.xml.rels><?xml version='1.0' encoding='UTF-8' standalone='yes'?>
<Relationships xmlns="http://schemas.openxmlformats.org/package/2006/relationships"><Relationship Id="rId1" Type="http://schemas.openxmlformats.org/officeDocument/2006/relationships/tags" Target="../tags/tag5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8.xml"/></Relationships>
</file>

<file path=ppt/slides/_rels/slide503.xml.rels><?xml version='1.0' encoding='UTF-8' standalone='yes'?>
<Relationships xmlns="http://schemas.openxmlformats.org/package/2006/relationships"><Relationship Id="rId1" Type="http://schemas.openxmlformats.org/officeDocument/2006/relationships/tags" Target="../tags/tag5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9.xml"/></Relationships>
</file>

<file path=ppt/slides/_rels/slide505.xml.rels><?xml version='1.0' encoding='UTF-8' standalone='yes'?>
<Relationships xmlns="http://schemas.openxmlformats.org/package/2006/relationships"><Relationship Id="rId1" Type="http://schemas.openxmlformats.org/officeDocument/2006/relationships/tags" Target="../tags/tag5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1.xml"/></Relationships>
</file>

<file path=ppt/slides/_rels/slide507.xml.rels><?xml version='1.0' encoding='UTF-8' standalone='yes'?>
<Relationships xmlns="http://schemas.openxmlformats.org/package/2006/relationships"><Relationship Id="rId1" Type="http://schemas.openxmlformats.org/officeDocument/2006/relationships/tags" Target="../tags/tag5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3.xml"/></Relationships>
</file>

<file path=ppt/slides/_rels/slide508.xml.rels><?xml version='1.0' encoding='UTF-8' standalone='yes'?>
<Relationships xmlns="http://schemas.openxmlformats.org/package/2006/relationships"><Relationship Id="rId1" Type="http://schemas.openxmlformats.org/officeDocument/2006/relationships/tags" Target="../tags/tag5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4.xml"/></Relationships>
</file>

<file path=ppt/slides/_rels/slide509.xml.rels><?xml version='1.0' encoding='UTF-8' standalone='yes'?>
<Relationships xmlns="http://schemas.openxmlformats.org/package/2006/relationships"><Relationship Id="rId1" Type="http://schemas.openxmlformats.org/officeDocument/2006/relationships/tags" Target="../tags/tag5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5.xml"/></Relationships>
</file>

<file path=ppt/slides/_rels/slide512.xml.rels><?xml version='1.0' encoding='UTF-8' standalone='yes'?>
<Relationships xmlns="http://schemas.openxmlformats.org/package/2006/relationships"><Relationship Id="rId1" Type="http://schemas.openxmlformats.org/officeDocument/2006/relationships/tags" Target="../tags/tag5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8.xml"/></Relationships>
</file>

<file path=ppt/slides/_rels/slide513.xml.rels><?xml version='1.0' encoding='UTF-8' standalone='yes'?>
<Relationships xmlns="http://schemas.openxmlformats.org/package/2006/relationships"><Relationship Id="rId1" Type="http://schemas.openxmlformats.org/officeDocument/2006/relationships/tags" Target="../tags/tag5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9.xml"/></Relationships>
</file>

<file path=ppt/slides/_rels/slide514.xml.rels><?xml version='1.0' encoding='UTF-8' standalone='yes'?>
<Relationships xmlns="http://schemas.openxmlformats.org/package/2006/relationships"><Relationship Id="rId1" Type="http://schemas.openxmlformats.org/officeDocument/2006/relationships/tags" Target="../tags/tag5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0.xml"/></Relationships>
</file>

<file path=ppt/slides/_rels/slide516.xml.rels><?xml version='1.0' encoding='UTF-8' standalone='yes'?>
<Relationships xmlns="http://schemas.openxmlformats.org/package/2006/relationships"><Relationship Id="rId1" Type="http://schemas.openxmlformats.org/officeDocument/2006/relationships/tags" Target="../tags/tag5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2.xml"/></Relationships>
</file>

<file path=ppt/slides/_rels/slide518.xml.rels><?xml version='1.0' encoding='UTF-8' standalone='yes'?>
<Relationships xmlns="http://schemas.openxmlformats.org/package/2006/relationships"><Relationship Id="rId1" Type="http://schemas.openxmlformats.org/officeDocument/2006/relationships/tags" Target="../tags/tag5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4.xml"/></Relationships>
</file>

<file path=ppt/slides/_rels/slide519.xml.rels><?xml version='1.0' encoding='UTF-8' standalone='yes'?>
<Relationships xmlns="http://schemas.openxmlformats.org/package/2006/relationships"><Relationship Id="rId1" Type="http://schemas.openxmlformats.org/officeDocument/2006/relationships/tags" Target="../tags/tag5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5.xml"/></Relationships>
</file>

<file path=ppt/slides/_rels/slide520.xml.rels><?xml version='1.0' encoding='UTF-8' standalone='yes'?>
<Relationships xmlns="http://schemas.openxmlformats.org/package/2006/relationships"><Relationship Id="rId1" Type="http://schemas.openxmlformats.org/officeDocument/2006/relationships/tags" Target="../tags/tag5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6.xml"/></Relationships>
</file>

<file path=ppt/slides/_rels/slide523.xml.rels><?xml version='1.0' encoding='UTF-8' standalone='yes'?>
<Relationships xmlns="http://schemas.openxmlformats.org/package/2006/relationships"><Relationship Id="rId1" Type="http://schemas.openxmlformats.org/officeDocument/2006/relationships/tags" Target="../tags/tag5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9.xml"/></Relationships>
</file>

<file path=ppt/slides/_rels/slide524.xml.rels><?xml version='1.0' encoding='UTF-8' standalone='yes'?>
<Relationships xmlns="http://schemas.openxmlformats.org/package/2006/relationships"><Relationship Id="rId1" Type="http://schemas.openxmlformats.org/officeDocument/2006/relationships/tags" Target="../tags/tag5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0.xml"/></Relationships>
</file>

<file path=ppt/slides/_rels/slide525.xml.rels><?xml version='1.0' encoding='UTF-8' standalone='yes'?>
<Relationships xmlns="http://schemas.openxmlformats.org/package/2006/relationships"><Relationship Id="rId1" Type="http://schemas.openxmlformats.org/officeDocument/2006/relationships/tags" Target="../tags/tag5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1.xml"/></Relationships>
</file>

<file path=ppt/slides/_rels/slide526.xml.rels><?xml version='1.0' encoding='UTF-8' standalone='yes'?>
<Relationships xmlns="http://schemas.openxmlformats.org/package/2006/relationships"><Relationship Id="rId1" Type="http://schemas.openxmlformats.org/officeDocument/2006/relationships/tags" Target="../tags/tag5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2.xml"/></Relationships>
</file>

<file path=ppt/slides/_rels/slide527.xml.rels><?xml version='1.0' encoding='UTF-8' standalone='yes'?>
<Relationships xmlns="http://schemas.openxmlformats.org/package/2006/relationships"><Relationship Id="rId1" Type="http://schemas.openxmlformats.org/officeDocument/2006/relationships/tags" Target="../tags/tag5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3.xml"/></Relationships>
</file>

<file path=ppt/slides/_rels/slide529.xml.rels><?xml version='1.0' encoding='UTF-8' standalone='yes'?>
<Relationships xmlns="http://schemas.openxmlformats.org/package/2006/relationships"><Relationship Id="rId1" Type="http://schemas.openxmlformats.org/officeDocument/2006/relationships/tags" Target="../tags/tag5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5.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chart" Target="../charts/chart5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30.xml.rels><?xml version='1.0' encoding='UTF-8' standalone='yes'?>
<Relationships xmlns="http://schemas.openxmlformats.org/package/2006/relationships"><Relationship Id="rId1" Type="http://schemas.openxmlformats.org/officeDocument/2006/relationships/tags" Target="../tags/tag5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6.xml"/></Relationships>
</file>

<file path=ppt/slides/_rels/slide531.xml.rels><?xml version='1.0' encoding='UTF-8' standalone='yes'?>
<Relationships xmlns="http://schemas.openxmlformats.org/package/2006/relationships"><Relationship Id="rId1" Type="http://schemas.openxmlformats.org/officeDocument/2006/relationships/tags" Target="../tags/tag5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7.xml"/></Relationships>
</file>

<file path=ppt/slides/_rels/slide534.xml.rels><?xml version='1.0' encoding='UTF-8' standalone='yes'?>
<Relationships xmlns="http://schemas.openxmlformats.org/package/2006/relationships"><Relationship Id="rId1" Type="http://schemas.openxmlformats.org/officeDocument/2006/relationships/tags" Target="../tags/tag5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0.xml"/></Relationships>
</file>

<file path=ppt/slides/_rels/slide535.xml.rels><?xml version='1.0' encoding='UTF-8' standalone='yes'?>
<Relationships xmlns="http://schemas.openxmlformats.org/package/2006/relationships"><Relationship Id="rId1" Type="http://schemas.openxmlformats.org/officeDocument/2006/relationships/tags" Target="../tags/tag5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1.xml"/></Relationships>
</file>

<file path=ppt/slides/_rels/slide536.xml.rels><?xml version='1.0' encoding='UTF-8' standalone='yes'?>
<Relationships xmlns="http://schemas.openxmlformats.org/package/2006/relationships"><Relationship Id="rId1" Type="http://schemas.openxmlformats.org/officeDocument/2006/relationships/tags" Target="../tags/tag5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2.xml"/></Relationships>
</file>

<file path=ppt/slides/_rels/slide537.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3.xml"/></Relationships>
</file>

<file path=ppt/slides/_rels/slide538.xml.rels><?xml version='1.0' encoding='UTF-8' standalone='yes'?>
<Relationships xmlns="http://schemas.openxmlformats.org/package/2006/relationships"><Relationship Id="rId1" Type="http://schemas.openxmlformats.org/officeDocument/2006/relationships/tags" Target="../tags/tag5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4.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chart" Target="../charts/chart5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40.xml.rels><?xml version='1.0' encoding='UTF-8' standalone='yes'?>
<Relationships xmlns="http://schemas.openxmlformats.org/package/2006/relationships"><Relationship Id="rId1" Type="http://schemas.openxmlformats.org/officeDocument/2006/relationships/tags" Target="../tags/tag5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6.xml"/></Relationships>
</file>

<file path=ppt/slides/_rels/slide541.xml.rels><?xml version='1.0' encoding='UTF-8' standalone='yes'?>
<Relationships xmlns="http://schemas.openxmlformats.org/package/2006/relationships"><Relationship Id="rId1" Type="http://schemas.openxmlformats.org/officeDocument/2006/relationships/tags" Target="../tags/tag5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7.xml"/></Relationships>
</file>

<file path=ppt/slides/_rels/slide542.xml.rels><?xml version='1.0' encoding='UTF-8' standalone='yes'?>
<Relationships xmlns="http://schemas.openxmlformats.org/package/2006/relationships"><Relationship Id="rId1" Type="http://schemas.openxmlformats.org/officeDocument/2006/relationships/tags" Target="../tags/tag5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8.xml"/></Relationships>
</file>

<file path=ppt/slides/_rels/slide545.xml.rels><?xml version='1.0' encoding='UTF-8' standalone='yes'?>
<Relationships xmlns="http://schemas.openxmlformats.org/package/2006/relationships"><Relationship Id="rId1" Type="http://schemas.openxmlformats.org/officeDocument/2006/relationships/tags" Target="../tags/tag5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1.xml"/></Relationships>
</file>

<file path=ppt/slides/_rels/slide547.xml.rels><?xml version='1.0' encoding='UTF-8' standalone='yes'?>
<Relationships xmlns="http://schemas.openxmlformats.org/package/2006/relationships"><Relationship Id="rId1" Type="http://schemas.openxmlformats.org/officeDocument/2006/relationships/tags" Target="../tags/tag5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3.xml"/></Relationships>
</file>

<file path=ppt/slides/_rels/slide548.xml.rels><?xml version='1.0' encoding='UTF-8' standalone='yes'?>
<Relationships xmlns="http://schemas.openxmlformats.org/package/2006/relationships"><Relationship Id="rId1" Type="http://schemas.openxmlformats.org/officeDocument/2006/relationships/tags" Target="../tags/tag5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4.xml"/></Relationships>
</file>

<file path=ppt/slides/_rels/slide549.xml.rels><?xml version='1.0' encoding='UTF-8' standalone='yes'?>
<Relationships xmlns="http://schemas.openxmlformats.org/package/2006/relationships"><Relationship Id="rId1" Type="http://schemas.openxmlformats.org/officeDocument/2006/relationships/tags" Target="../tags/tag5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5.xml"/></Relationships>
</file>

<file path=ppt/slides/_rels/slide551.xml.rels><?xml version='1.0' encoding='UTF-8' standalone='yes'?>
<Relationships xmlns="http://schemas.openxmlformats.org/package/2006/relationships"><Relationship Id="rId1" Type="http://schemas.openxmlformats.org/officeDocument/2006/relationships/tags" Target="../tags/tag5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7.xml"/></Relationships>
</file>

<file path=ppt/slides/_rels/slide552.xml.rels><?xml version='1.0' encoding='UTF-8' standalone='yes'?>
<Relationships xmlns="http://schemas.openxmlformats.org/package/2006/relationships"><Relationship Id="rId1" Type="http://schemas.openxmlformats.org/officeDocument/2006/relationships/tags" Target="../tags/tag5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8.xml"/></Relationships>
</file>

<file path=ppt/slides/_rels/slide553.xml.rels><?xml version='1.0' encoding='UTF-8' standalone='yes'?>
<Relationships xmlns="http://schemas.openxmlformats.org/package/2006/relationships"><Relationship Id="rId1" Type="http://schemas.openxmlformats.org/officeDocument/2006/relationships/tags" Target="../tags/tag5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9.xml"/></Relationships>
</file>

<file path=ppt/slides/_rels/slide556.xml.rels><?xml version='1.0' encoding='UTF-8' standalone='yes'?>
<Relationships xmlns="http://schemas.openxmlformats.org/package/2006/relationships"><Relationship Id="rId1" Type="http://schemas.openxmlformats.org/officeDocument/2006/relationships/tags" Target="../tags/tag5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2.xml"/></Relationships>
</file>

<file path=ppt/slides/_rels/slide558.xml.rels><?xml version='1.0' encoding='UTF-8' standalone='yes'?>
<Relationships xmlns="http://schemas.openxmlformats.org/package/2006/relationships"><Relationship Id="rId1" Type="http://schemas.openxmlformats.org/officeDocument/2006/relationships/tags" Target="../tags/tag5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4.xml"/></Relationships>
</file>

<file path=ppt/slides/_rels/slide559.xml.rels><?xml version='1.0' encoding='UTF-8' standalone='yes'?>
<Relationships xmlns="http://schemas.openxmlformats.org/package/2006/relationships"><Relationship Id="rId1" Type="http://schemas.openxmlformats.org/officeDocument/2006/relationships/tags" Target="../tags/tag5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chart" Target="../charts/chart5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60.xml.rels><?xml version='1.0' encoding='UTF-8' standalone='yes'?>
<Relationships xmlns="http://schemas.openxmlformats.org/package/2006/relationships"><Relationship Id="rId1" Type="http://schemas.openxmlformats.org/officeDocument/2006/relationships/tags" Target="../tags/tag5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6.xml"/></Relationships>
</file>

<file path=ppt/slides/_rels/slide563.xml.rels><?xml version='1.0' encoding='UTF-8' standalone='yes'?>
<Relationships xmlns="http://schemas.openxmlformats.org/package/2006/relationships"><Relationship Id="rId1" Type="http://schemas.openxmlformats.org/officeDocument/2006/relationships/tags" Target="../tags/tag5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9.xml"/></Relationships>
</file>

<file path=ppt/slides/_rels/slide564.xml.rels><?xml version='1.0' encoding='UTF-8' standalone='yes'?>
<Relationships xmlns="http://schemas.openxmlformats.org/package/2006/relationships"><Relationship Id="rId1" Type="http://schemas.openxmlformats.org/officeDocument/2006/relationships/tags" Target="../tags/tag5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0.xml"/></Relationships>
</file>

<file path=ppt/slides/_rels/slide566.xml.rels><?xml version='1.0' encoding='UTF-8' standalone='yes'?>
<Relationships xmlns="http://schemas.openxmlformats.org/package/2006/relationships"><Relationship Id="rId1" Type="http://schemas.openxmlformats.org/officeDocument/2006/relationships/tags" Target="../tags/tag5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2.xml"/></Relationships>
</file>

<file path=ppt/slides/_rels/slide567.xml.rels><?xml version='1.0' encoding='UTF-8' standalone='yes'?>
<Relationships xmlns="http://schemas.openxmlformats.org/package/2006/relationships"><Relationship Id="rId1" Type="http://schemas.openxmlformats.org/officeDocument/2006/relationships/tags" Target="../tags/tag5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3.xml"/></Relationships>
</file>

<file path=ppt/slides/_rels/slide569.xml.rels><?xml version='1.0' encoding='UTF-8' standalone='yes'?>
<Relationships xmlns="http://schemas.openxmlformats.org/package/2006/relationships"><Relationship Id="rId1" Type="http://schemas.openxmlformats.org/officeDocument/2006/relationships/tags" Target="../tags/tag5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5.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chart" Target="../charts/chart5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70.xml.rels><?xml version='1.0' encoding='UTF-8' standalone='yes'?>
<Relationships xmlns="http://schemas.openxmlformats.org/package/2006/relationships"><Relationship Id="rId1" Type="http://schemas.openxmlformats.org/officeDocument/2006/relationships/tags" Target="../tags/tag5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6.xml"/></Relationships>
</file>

<file path=ppt/slides/_rels/slide571.xml.rels><?xml version='1.0' encoding='UTF-8' standalone='yes'?>
<Relationships xmlns="http://schemas.openxmlformats.org/package/2006/relationships"><Relationship Id="rId1" Type="http://schemas.openxmlformats.org/officeDocument/2006/relationships/tags" Target="../tags/tag5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7.xml"/></Relationships>
</file>

<file path=ppt/slides/_rels/slide574.xml.rels><?xml version='1.0' encoding='UTF-8' standalone='yes'?>
<Relationships xmlns="http://schemas.openxmlformats.org/package/2006/relationships"><Relationship Id="rId1" Type="http://schemas.openxmlformats.org/officeDocument/2006/relationships/tags" Target="../tags/tag6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0.xml"/></Relationships>
</file>

<file path=ppt/slides/_rels/slide575.xml.rels><?xml version='1.0' encoding='UTF-8' standalone='yes'?>
<Relationships xmlns="http://schemas.openxmlformats.org/package/2006/relationships"><Relationship Id="rId1" Type="http://schemas.openxmlformats.org/officeDocument/2006/relationships/tags" Target="../tags/tag6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1.xml"/></Relationships>
</file>

<file path=ppt/slides/_rels/slide576.xml.rels><?xml version='1.0' encoding='UTF-8' standalone='yes'?>
<Relationships xmlns="http://schemas.openxmlformats.org/package/2006/relationships"><Relationship Id="rId1" Type="http://schemas.openxmlformats.org/officeDocument/2006/relationships/tags" Target="../tags/tag6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2.xml"/></Relationships>
</file>

<file path=ppt/slides/_rels/slide577.xml.rels><?xml version='1.0' encoding='UTF-8' standalone='yes'?>
<Relationships xmlns="http://schemas.openxmlformats.org/package/2006/relationships"><Relationship Id="rId1" Type="http://schemas.openxmlformats.org/officeDocument/2006/relationships/tags" Target="../tags/tag6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3.xml"/></Relationships>
</file>

<file path=ppt/slides/_rels/slide578.xml.rels><?xml version='1.0' encoding='UTF-8' standalone='yes'?>
<Relationships xmlns="http://schemas.openxmlformats.org/package/2006/relationships"><Relationship Id="rId1" Type="http://schemas.openxmlformats.org/officeDocument/2006/relationships/tags" Target="../tags/tag6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4.xml"/></Relationships>
</file>

<file path=ppt/slides/_rels/slide580.xml.rels><?xml version='1.0' encoding='UTF-8' standalone='yes'?>
<Relationships xmlns="http://schemas.openxmlformats.org/package/2006/relationships"><Relationship Id="rId1" Type="http://schemas.openxmlformats.org/officeDocument/2006/relationships/tags" Target="../tags/tag6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6.xml"/></Relationships>
</file>

<file path=ppt/slides/_rels/slide581.xml.rels><?xml version='1.0' encoding='UTF-8' standalone='yes'?>
<Relationships xmlns="http://schemas.openxmlformats.org/package/2006/relationships"><Relationship Id="rId1" Type="http://schemas.openxmlformats.org/officeDocument/2006/relationships/tags" Target="../tags/tag6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7.xml"/></Relationships>
</file>

<file path=ppt/slides/_rels/slide582.xml.rels><?xml version='1.0' encoding='UTF-8' standalone='yes'?>
<Relationships xmlns="http://schemas.openxmlformats.org/package/2006/relationships"><Relationship Id="rId1" Type="http://schemas.openxmlformats.org/officeDocument/2006/relationships/tags" Target="../tags/tag6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8.xml"/></Relationships>
</file>

<file path=ppt/slides/_rels/slide585.xml.rels><?xml version='1.0' encoding='UTF-8' standalone='yes'?>
<Relationships xmlns="http://schemas.openxmlformats.org/package/2006/relationships"><Relationship Id="rId1" Type="http://schemas.openxmlformats.org/officeDocument/2006/relationships/tags" Target="../tags/tag6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1.xml"/></Relationships>
</file>

<file path=ppt/slides/_rels/slide587.xml.rels><?xml version='1.0' encoding='UTF-8' standalone='yes'?>
<Relationships xmlns="http://schemas.openxmlformats.org/package/2006/relationships"><Relationship Id="rId1" Type="http://schemas.openxmlformats.org/officeDocument/2006/relationships/tags" Target="../tags/tag6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3.xml"/></Relationships>
</file>

<file path=ppt/slides/_rels/slide588.xml.rels><?xml version='1.0' encoding='UTF-8' standalone='yes'?>
<Relationships xmlns="http://schemas.openxmlformats.org/package/2006/relationships"><Relationship Id="rId1" Type="http://schemas.openxmlformats.org/officeDocument/2006/relationships/tags" Target="../tags/tag6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4.xml"/></Relationships>
</file>

<file path=ppt/slides/_rels/slide589.xml.rels><?xml version='1.0' encoding='UTF-8' standalone='yes'?>
<Relationships xmlns="http://schemas.openxmlformats.org/package/2006/relationships"><Relationship Id="rId1" Type="http://schemas.openxmlformats.org/officeDocument/2006/relationships/tags" Target="../tags/tag6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5.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chart" Target="../charts/chart5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91.xml.rels><?xml version='1.0' encoding='UTF-8' standalone='yes'?>
<Relationships xmlns="http://schemas.openxmlformats.org/package/2006/relationships"><Relationship Id="rId1" Type="http://schemas.openxmlformats.org/officeDocument/2006/relationships/tags" Target="../tags/tag6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7.xml"/></Relationships>
</file>

<file path=ppt/slides/_rels/slide592.xml.rels><?xml version='1.0' encoding='UTF-8' standalone='yes'?>
<Relationships xmlns="http://schemas.openxmlformats.org/package/2006/relationships"><Relationship Id="rId1" Type="http://schemas.openxmlformats.org/officeDocument/2006/relationships/tags" Target="../tags/tag6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8.xml"/></Relationships>
</file>

<file path=ppt/slides/_rels/slide593.xml.rels><?xml version='1.0' encoding='UTF-8' standalone='yes'?>
<Relationships xmlns="http://schemas.openxmlformats.org/package/2006/relationships"><Relationship Id="rId1" Type="http://schemas.openxmlformats.org/officeDocument/2006/relationships/tags" Target="../tags/tag6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9.xml"/></Relationships>
</file>

<file path=ppt/slides/_rels/slide596.xml.rels><?xml version='1.0' encoding='UTF-8' standalone='yes'?>
<Relationships xmlns="http://schemas.openxmlformats.org/package/2006/relationships"><Relationship Id="rId1" Type="http://schemas.openxmlformats.org/officeDocument/2006/relationships/tags" Target="../tags/tag6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2.xml"/></Relationships>
</file>

<file path=ppt/slides/_rels/slide597.xml.rels><?xml version='1.0' encoding='UTF-8' standalone='yes'?>
<Relationships xmlns="http://schemas.openxmlformats.org/package/2006/relationships"><Relationship Id="rId1" Type="http://schemas.openxmlformats.org/officeDocument/2006/relationships/tags" Target="../tags/tag6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3.xml"/></Relationships>
</file>

<file path=ppt/slides/_rels/slide598.xml.rels><?xml version='1.0' encoding='UTF-8' standalone='yes'?>
<Relationships xmlns="http://schemas.openxmlformats.org/package/2006/relationships"><Relationship Id="rId1" Type="http://schemas.openxmlformats.org/officeDocument/2006/relationships/tags" Target="../tags/tag6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4.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chart" Target="../charts/chart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chart" Target="../charts/chart6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01.xml.rels><?xml version='1.0' encoding='UTF-8' standalone='yes'?>
<Relationships xmlns="http://schemas.openxmlformats.org/package/2006/relationships"><Relationship Id="rId1" Type="http://schemas.openxmlformats.org/officeDocument/2006/relationships/tags" Target="../tags/tag6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7.xml"/></Relationships>
</file>

<file path=ppt/slides/_rels/slide602.xml.rels><?xml version='1.0' encoding='UTF-8' standalone='yes'?>
<Relationships xmlns="http://schemas.openxmlformats.org/package/2006/relationships"><Relationship Id="rId1" Type="http://schemas.openxmlformats.org/officeDocument/2006/relationships/tags" Target="../tags/tag6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8.xml"/></Relationships>
</file>

<file path=ppt/slides/_rels/slide603.xml.rels><?xml version='1.0' encoding='UTF-8' standalone='yes'?>
<Relationships xmlns="http://schemas.openxmlformats.org/package/2006/relationships"><Relationship Id="rId1" Type="http://schemas.openxmlformats.org/officeDocument/2006/relationships/tags" Target="../tags/tag6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9.xml"/></Relationships>
</file>

<file path=ppt/slides/_rels/slide605.xml.rels><?xml version='1.0' encoding='UTF-8' standalone='yes'?>
<Relationships xmlns="http://schemas.openxmlformats.org/package/2006/relationships"><Relationship Id="rId1" Type="http://schemas.openxmlformats.org/officeDocument/2006/relationships/tags" Target="../tags/tag6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1.xml"/></Relationships>
</file>

<file path=ppt/slides/_rels/slide607.xml.rels><?xml version='1.0' encoding='UTF-8' standalone='yes'?>
<Relationships xmlns="http://schemas.openxmlformats.org/package/2006/relationships"><Relationship Id="rId1" Type="http://schemas.openxmlformats.org/officeDocument/2006/relationships/tags" Target="../tags/tag6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3.xml"/></Relationships>
</file>

<file path=ppt/slides/_rels/slide608.xml.rels><?xml version='1.0' encoding='UTF-8' standalone='yes'?>
<Relationships xmlns="http://schemas.openxmlformats.org/package/2006/relationships"><Relationship Id="rId1" Type="http://schemas.openxmlformats.org/officeDocument/2006/relationships/tags" Target="../tags/tag6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4.xml"/></Relationships>
</file>

<file path=ppt/slides/_rels/slide609.xml.rels><?xml version='1.0' encoding='UTF-8' standalone='yes'?>
<Relationships xmlns="http://schemas.openxmlformats.org/package/2006/relationships"><Relationship Id="rId1" Type="http://schemas.openxmlformats.org/officeDocument/2006/relationships/tags" Target="../tags/tag6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5.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chart" Target="../charts/chart6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12.xml.rels><?xml version='1.0' encoding='UTF-8' standalone='yes'?>
<Relationships xmlns="http://schemas.openxmlformats.org/package/2006/relationships"><Relationship Id="rId1" Type="http://schemas.openxmlformats.org/officeDocument/2006/relationships/tags" Target="../tags/tag6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8.xml"/></Relationships>
</file>

<file path=ppt/slides/_rels/slide613.xml.rels><?xml version='1.0' encoding='UTF-8' standalone='yes'?>
<Relationships xmlns="http://schemas.openxmlformats.org/package/2006/relationships"><Relationship Id="rId1" Type="http://schemas.openxmlformats.org/officeDocument/2006/relationships/tags" Target="../tags/tag6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9.xml"/></Relationships>
</file>

<file path=ppt/slides/_rels/slide614.xml.rels><?xml version='1.0' encoding='UTF-8' standalone='yes'?>
<Relationships xmlns="http://schemas.openxmlformats.org/package/2006/relationships"><Relationship Id="rId1" Type="http://schemas.openxmlformats.org/officeDocument/2006/relationships/tags" Target="../tags/tag6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0.xml"/></Relationships>
</file>

<file path=ppt/slides/_rels/slide616.xml.rels><?xml version='1.0' encoding='UTF-8' standalone='yes'?>
<Relationships xmlns="http://schemas.openxmlformats.org/package/2006/relationships"><Relationship Id="rId1" Type="http://schemas.openxmlformats.org/officeDocument/2006/relationships/tags" Target="../tags/tag6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2.xml"/></Relationships>
</file>

<file path=ppt/slides/_rels/slide619.xml.rels><?xml version='1.0' encoding='UTF-8' standalone='yes'?>
<Relationships xmlns="http://schemas.openxmlformats.org/package/2006/relationships"><Relationship Id="rId1" Type="http://schemas.openxmlformats.org/officeDocument/2006/relationships/tags" Target="../tags/tag6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5.xml"/></Relationships>
</file>

<file path=ppt/slides/_rels/slide620.xml.rels><?xml version='1.0' encoding='UTF-8' standalone='yes'?>
<Relationships xmlns="http://schemas.openxmlformats.org/package/2006/relationships"><Relationship Id="rId1" Type="http://schemas.openxmlformats.org/officeDocument/2006/relationships/tags" Target="../tags/tag6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6.xml"/></Relationships>
</file>

<file path=ppt/slides/_rels/slide623.xml.rels><?xml version='1.0' encoding='UTF-8' standalone='yes'?>
<Relationships xmlns="http://schemas.openxmlformats.org/package/2006/relationships"><Relationship Id="rId1" Type="http://schemas.openxmlformats.org/officeDocument/2006/relationships/tags" Target="../tags/tag6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9.xml"/></Relationships>
</file>

<file path=ppt/slides/_rels/slide624.xml.rels><?xml version='1.0' encoding='UTF-8' standalone='yes'?>
<Relationships xmlns="http://schemas.openxmlformats.org/package/2006/relationships"><Relationship Id="rId1" Type="http://schemas.openxmlformats.org/officeDocument/2006/relationships/tags" Target="../tags/tag6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0.xml"/></Relationships>
</file>

<file path=ppt/slides/_rels/slide625.xml.rels><?xml version='1.0' encoding='UTF-8' standalone='yes'?>
<Relationships xmlns="http://schemas.openxmlformats.org/package/2006/relationships"><Relationship Id="rId1" Type="http://schemas.openxmlformats.org/officeDocument/2006/relationships/tags" Target="../tags/tag6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1.xml"/></Relationships>
</file>

<file path=ppt/slides/_rels/slide626.xml.rels><?xml version='1.0' encoding='UTF-8' standalone='yes'?>
<Relationships xmlns="http://schemas.openxmlformats.org/package/2006/relationships"><Relationship Id="rId1" Type="http://schemas.openxmlformats.org/officeDocument/2006/relationships/tags" Target="../tags/tag6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2.xml"/></Relationships>
</file>

<file path=ppt/slides/_rels/slide627.xml.rels><?xml version='1.0' encoding='UTF-8' standalone='yes'?>
<Relationships xmlns="http://schemas.openxmlformats.org/package/2006/relationships"><Relationship Id="rId1" Type="http://schemas.openxmlformats.org/officeDocument/2006/relationships/tags" Target="../tags/tag6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3.xml"/></Relationships>
</file>

<file path=ppt/slides/_rels/slide630.xml.rels><?xml version='1.0' encoding='UTF-8' standalone='yes'?>
<Relationships xmlns="http://schemas.openxmlformats.org/package/2006/relationships"><Relationship Id="rId1" Type="http://schemas.openxmlformats.org/officeDocument/2006/relationships/tags" Target="../tags/tag6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6.xml"/></Relationships>
</file>

<file path=ppt/slides/_rels/slide631.xml.rels><?xml version='1.0' encoding='UTF-8' standalone='yes'?>
<Relationships xmlns="http://schemas.openxmlformats.org/package/2006/relationships"><Relationship Id="rId1" Type="http://schemas.openxmlformats.org/officeDocument/2006/relationships/tags" Target="../tags/tag6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7.xml"/></Relationships>
</file>

<file path=ppt/slides/_rels/slide634.xml.rels><?xml version='1.0' encoding='UTF-8' standalone='yes'?>
<Relationships xmlns="http://schemas.openxmlformats.org/package/2006/relationships"><Relationship Id="rId1" Type="http://schemas.openxmlformats.org/officeDocument/2006/relationships/tags" Target="../tags/tag6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0.xml"/></Relationships>
</file>

<file path=ppt/slides/_rels/slide635.xml.rels><?xml version='1.0' encoding='UTF-8' standalone='yes'?>
<Relationships xmlns="http://schemas.openxmlformats.org/package/2006/relationships"><Relationship Id="rId1" Type="http://schemas.openxmlformats.org/officeDocument/2006/relationships/tags" Target="../tags/tag6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1.xml"/></Relationships>
</file>

<file path=ppt/slides/_rels/slide636.xml.rels><?xml version='1.0' encoding='UTF-8' standalone='yes'?>
<Relationships xmlns="http://schemas.openxmlformats.org/package/2006/relationships"><Relationship Id="rId1" Type="http://schemas.openxmlformats.org/officeDocument/2006/relationships/tags" Target="../tags/tag6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2.xml"/></Relationships>
</file>

<file path=ppt/slides/_rels/slide637.xml.rels><?xml version='1.0' encoding='UTF-8' standalone='yes'?>
<Relationships xmlns="http://schemas.openxmlformats.org/package/2006/relationships"><Relationship Id="rId1" Type="http://schemas.openxmlformats.org/officeDocument/2006/relationships/tags" Target="../tags/tag6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3.xml"/></Relationships>
</file>

<file path=ppt/slides/_rels/slide638.xml.rels><?xml version='1.0' encoding='UTF-8' standalone='yes'?>
<Relationships xmlns="http://schemas.openxmlformats.org/package/2006/relationships"><Relationship Id="rId1" Type="http://schemas.openxmlformats.org/officeDocument/2006/relationships/tags" Target="../tags/tag6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4.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chart" Target="../charts/chart6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41.xml.rels><?xml version='1.0' encoding='UTF-8' standalone='yes'?>
<Relationships xmlns="http://schemas.openxmlformats.org/package/2006/relationships"><Relationship Id="rId1" Type="http://schemas.openxmlformats.org/officeDocument/2006/relationships/tags" Target="../tags/tag6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7.xml"/></Relationships>
</file>

<file path=ppt/slides/_rels/slide642.xml.rels><?xml version='1.0' encoding='UTF-8' standalone='yes'?>
<Relationships xmlns="http://schemas.openxmlformats.org/package/2006/relationships"><Relationship Id="rId1" Type="http://schemas.openxmlformats.org/officeDocument/2006/relationships/tags" Target="../tags/tag6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8.xml"/></Relationships>
</file>

<file path=ppt/slides/_rels/slide643.xml.rels><?xml version='1.0' encoding='UTF-8' standalone='yes'?>
<Relationships xmlns="http://schemas.openxmlformats.org/package/2006/relationships"><Relationship Id="rId1" Type="http://schemas.openxmlformats.org/officeDocument/2006/relationships/tags" Target="../tags/tag6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9.xml"/></Relationships>
</file>

<file path=ppt/slides/_rels/slide645.xml.rels><?xml version='1.0' encoding='UTF-8' standalone='yes'?>
<Relationships xmlns="http://schemas.openxmlformats.org/package/2006/relationships"><Relationship Id="rId1" Type="http://schemas.openxmlformats.org/officeDocument/2006/relationships/tags" Target="../tags/tag6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1.xml"/></Relationships>
</file>

<file path=ppt/slides/_rels/slide647.xml.rels><?xml version='1.0' encoding='UTF-8' standalone='yes'?>
<Relationships xmlns="http://schemas.openxmlformats.org/package/2006/relationships"><Relationship Id="rId1" Type="http://schemas.openxmlformats.org/officeDocument/2006/relationships/tags" Target="../tags/tag6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3.xml"/></Relationships>
</file>

<file path=ppt/slides/_rels/slide648.xml.rels><?xml version='1.0' encoding='UTF-8' standalone='yes'?>
<Relationships xmlns="http://schemas.openxmlformats.org/package/2006/relationships"><Relationship Id="rId1" Type="http://schemas.openxmlformats.org/officeDocument/2006/relationships/tags" Target="../tags/tag6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4.xml"/></Relationships>
</file>

<file path=ppt/slides/_rels/slide649.xml.rels><?xml version='1.0' encoding='UTF-8' standalone='yes'?>
<Relationships xmlns="http://schemas.openxmlformats.org/package/2006/relationships"><Relationship Id="rId1" Type="http://schemas.openxmlformats.org/officeDocument/2006/relationships/tags" Target="../tags/tag6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5.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chart" Target="../charts/chart6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52.xml.rels><?xml version='1.0' encoding='UTF-8' standalone='yes'?>
<Relationships xmlns="http://schemas.openxmlformats.org/package/2006/relationships"><Relationship Id="rId1" Type="http://schemas.openxmlformats.org/officeDocument/2006/relationships/tags" Target="../tags/tag6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8.xml"/></Relationships>
</file>

<file path=ppt/slides/_rels/slide653.xml.rels><?xml version='1.0' encoding='UTF-8' standalone='yes'?>
<Relationships xmlns="http://schemas.openxmlformats.org/package/2006/relationships"><Relationship Id="rId1" Type="http://schemas.openxmlformats.org/officeDocument/2006/relationships/tags" Target="../tags/tag6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9.xml"/></Relationships>
</file>

<file path=ppt/slides/_rels/slide654.xml.rels><?xml version='1.0' encoding='UTF-8' standalone='yes'?>
<Relationships xmlns="http://schemas.openxmlformats.org/package/2006/relationships"><Relationship Id="rId1" Type="http://schemas.openxmlformats.org/officeDocument/2006/relationships/tags" Target="../tags/tag6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0.xml"/></Relationships>
</file>

<file path=ppt/slides/_rels/slide656.xml.rels><?xml version='1.0' encoding='UTF-8' standalone='yes'?>
<Relationships xmlns="http://schemas.openxmlformats.org/package/2006/relationships"><Relationship Id="rId1" Type="http://schemas.openxmlformats.org/officeDocument/2006/relationships/tags" Target="../tags/tag6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2.xml"/></Relationships>
</file>

<file path=ppt/slides/_rels/slide658.xml.rels><?xml version='1.0' encoding='UTF-8' standalone='yes'?>
<Relationships xmlns="http://schemas.openxmlformats.org/package/2006/relationships"><Relationship Id="rId1" Type="http://schemas.openxmlformats.org/officeDocument/2006/relationships/tags" Target="../tags/tag6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4.xml"/></Relationships>
</file>

<file path=ppt/slides/_rels/slide659.xml.rels><?xml version='1.0' encoding='UTF-8' standalone='yes'?>
<Relationships xmlns="http://schemas.openxmlformats.org/package/2006/relationships"><Relationship Id="rId1" Type="http://schemas.openxmlformats.org/officeDocument/2006/relationships/tags" Target="../tags/tag6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chart" Target="../charts/chart6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60.xml.rels><?xml version='1.0' encoding='UTF-8' standalone='yes'?>
<Relationships xmlns="http://schemas.openxmlformats.org/package/2006/relationships"><Relationship Id="rId1" Type="http://schemas.openxmlformats.org/officeDocument/2006/relationships/tags" Target="../tags/tag6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6.xml"/></Relationships>
</file>

<file path=ppt/slides/_rels/slide663.xml.rels><?xml version='1.0' encoding='UTF-8' standalone='yes'?>
<Relationships xmlns="http://schemas.openxmlformats.org/package/2006/relationships"><Relationship Id="rId1" Type="http://schemas.openxmlformats.org/officeDocument/2006/relationships/tags" Target="../tags/tag6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9.xml"/></Relationships>
</file>

<file path=ppt/slides/_rels/slide664.xml.rels><?xml version='1.0' encoding='UTF-8' standalone='yes'?>
<Relationships xmlns="http://schemas.openxmlformats.org/package/2006/relationships"><Relationship Id="rId1" Type="http://schemas.openxmlformats.org/officeDocument/2006/relationships/tags" Target="../tags/tag6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0.xml"/></Relationships>
</file>

<file path=ppt/slides/_rels/slide665.xml.rels><?xml version='1.0' encoding='UTF-8' standalone='yes'?>
<Relationships xmlns="http://schemas.openxmlformats.org/package/2006/relationships"><Relationship Id="rId1" Type="http://schemas.openxmlformats.org/officeDocument/2006/relationships/tags" Target="../tags/tag6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1.xml"/></Relationships>
</file>

<file path=ppt/slides/_rels/slide666.xml.rels><?xml version='1.0' encoding='UTF-8' standalone='yes'?>
<Relationships xmlns="http://schemas.openxmlformats.org/package/2006/relationships"><Relationship Id="rId1" Type="http://schemas.openxmlformats.org/officeDocument/2006/relationships/tags" Target="../tags/tag6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2.xml"/></Relationships>
</file>

<file path=ppt/slides/_rels/slide667.xml.rels><?xml version='1.0' encoding='UTF-8' standalone='yes'?>
<Relationships xmlns="http://schemas.openxmlformats.org/package/2006/relationships"><Relationship Id="rId1" Type="http://schemas.openxmlformats.org/officeDocument/2006/relationships/tags" Target="../tags/tag6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3.xml"/></Relationships>
</file>

<file path=ppt/slides/_rels/slide669.xml.rels><?xml version='1.0' encoding='UTF-8' standalone='yes'?>
<Relationships xmlns="http://schemas.openxmlformats.org/package/2006/relationships"><Relationship Id="rId1" Type="http://schemas.openxmlformats.org/officeDocument/2006/relationships/tags" Target="../tags/tag6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5.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chart" Target="../charts/chart6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70.xml.rels><?xml version='1.0' encoding='UTF-8' standalone='yes'?>
<Relationships xmlns="http://schemas.openxmlformats.org/package/2006/relationships"><Relationship Id="rId1" Type="http://schemas.openxmlformats.org/officeDocument/2006/relationships/tags" Target="../tags/tag6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6.xml"/></Relationships>
</file>

<file path=ppt/slides/_rels/slide671.xml.rels><?xml version='1.0' encoding='UTF-8' standalone='yes'?>
<Relationships xmlns="http://schemas.openxmlformats.org/package/2006/relationships"><Relationship Id="rId1" Type="http://schemas.openxmlformats.org/officeDocument/2006/relationships/tags" Target="../tags/tag6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7.xml"/></Relationships>
</file>

<file path=ppt/slides/_rels/slide674.xml.rels><?xml version='1.0' encoding='UTF-8' standalone='yes'?>
<Relationships xmlns="http://schemas.openxmlformats.org/package/2006/relationships"><Relationship Id="rId1" Type="http://schemas.openxmlformats.org/officeDocument/2006/relationships/tags" Target="../tags/tag7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0.xml"/></Relationships>
</file>

<file path=ppt/slides/_rels/slide675.xml.rels><?xml version='1.0' encoding='UTF-8' standalone='yes'?>
<Relationships xmlns="http://schemas.openxmlformats.org/package/2006/relationships"><Relationship Id="rId1" Type="http://schemas.openxmlformats.org/officeDocument/2006/relationships/tags" Target="../tags/tag7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1.xml"/></Relationships>
</file>

<file path=ppt/slides/_rels/slide676.xml.rels><?xml version='1.0' encoding='UTF-8' standalone='yes'?>
<Relationships xmlns="http://schemas.openxmlformats.org/package/2006/relationships"><Relationship Id="rId1" Type="http://schemas.openxmlformats.org/officeDocument/2006/relationships/tags" Target="../tags/tag7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2.xml"/></Relationships>
</file>

<file path=ppt/slides/_rels/slide677.xml.rels><?xml version='1.0' encoding='UTF-8' standalone='yes'?>
<Relationships xmlns="http://schemas.openxmlformats.org/package/2006/relationships"><Relationship Id="rId1" Type="http://schemas.openxmlformats.org/officeDocument/2006/relationships/tags" Target="../tags/tag7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3.xml"/></Relationships>
</file>

<file path=ppt/slides/_rels/slide678.xml.rels><?xml version='1.0' encoding='UTF-8' standalone='yes'?>
<Relationships xmlns="http://schemas.openxmlformats.org/package/2006/relationships"><Relationship Id="rId1" Type="http://schemas.openxmlformats.org/officeDocument/2006/relationships/tags" Target="../tags/tag7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4.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chart" Target="../charts/chart6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80.xml.rels><?xml version='1.0' encoding='UTF-8' standalone='yes'?>
<Relationships xmlns="http://schemas.openxmlformats.org/package/2006/relationships"><Relationship Id="rId1" Type="http://schemas.openxmlformats.org/officeDocument/2006/relationships/tags" Target="../tags/tag7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6.xml"/></Relationships>
</file>

<file path=ppt/slides/_rels/slide681.xml.rels><?xml version='1.0' encoding='UTF-8' standalone='yes'?>
<Relationships xmlns="http://schemas.openxmlformats.org/package/2006/relationships"><Relationship Id="rId1" Type="http://schemas.openxmlformats.org/officeDocument/2006/relationships/tags" Target="../tags/tag7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7.xml"/></Relationships>
</file>

<file path=ppt/slides/_rels/slide682.xml.rels><?xml version='1.0' encoding='UTF-8' standalone='yes'?>
<Relationships xmlns="http://schemas.openxmlformats.org/package/2006/relationships"><Relationship Id="rId1" Type="http://schemas.openxmlformats.org/officeDocument/2006/relationships/tags" Target="../tags/tag7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8.xml"/></Relationships>
</file>

<file path=ppt/slides/_rels/slide685.xml.rels><?xml version='1.0' encoding='UTF-8' standalone='yes'?>
<Relationships xmlns="http://schemas.openxmlformats.org/package/2006/relationships"><Relationship Id="rId1" Type="http://schemas.openxmlformats.org/officeDocument/2006/relationships/tags" Target="../tags/tag7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1.xml"/></Relationships>
</file>

<file path=ppt/slides/_rels/slide687.xml.rels><?xml version='1.0' encoding='UTF-8' standalone='yes'?>
<Relationships xmlns="http://schemas.openxmlformats.org/package/2006/relationships"><Relationship Id="rId1" Type="http://schemas.openxmlformats.org/officeDocument/2006/relationships/tags" Target="../tags/tag7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3.xml"/></Relationships>
</file>

<file path=ppt/slides/_rels/slide688.xml.rels><?xml version='1.0' encoding='UTF-8' standalone='yes'?>
<Relationships xmlns="http://schemas.openxmlformats.org/package/2006/relationships"><Relationship Id="rId1" Type="http://schemas.openxmlformats.org/officeDocument/2006/relationships/tags" Target="../tags/tag7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4.xml"/></Relationships>
</file>

<file path=ppt/slides/_rels/slide689.xml.rels><?xml version='1.0' encoding='UTF-8' standalone='yes'?>
<Relationships xmlns="http://schemas.openxmlformats.org/package/2006/relationships"><Relationship Id="rId1" Type="http://schemas.openxmlformats.org/officeDocument/2006/relationships/tags" Target="../tags/tag7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5.xml"/></Relationships>
</file>

<file path=ppt/slides/_rels/slide691.xml.rels><?xml version='1.0' encoding='UTF-8' standalone='yes'?>
<Relationships xmlns="http://schemas.openxmlformats.org/package/2006/relationships"><Relationship Id="rId1" Type="http://schemas.openxmlformats.org/officeDocument/2006/relationships/tags" Target="../tags/tag7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7.xml"/></Relationships>
</file>

<file path=ppt/slides/_rels/slide692.xml.rels><?xml version='1.0' encoding='UTF-8' standalone='yes'?>
<Relationships xmlns="http://schemas.openxmlformats.org/package/2006/relationships"><Relationship Id="rId1" Type="http://schemas.openxmlformats.org/officeDocument/2006/relationships/tags" Target="../tags/tag7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8.xml"/></Relationships>
</file>

<file path=ppt/slides/_rels/slide693.xml.rels><?xml version='1.0' encoding='UTF-8' standalone='yes'?>
<Relationships xmlns="http://schemas.openxmlformats.org/package/2006/relationships"><Relationship Id="rId1" Type="http://schemas.openxmlformats.org/officeDocument/2006/relationships/tags" Target="../tags/tag7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9.xml"/></Relationships>
</file>

<file path=ppt/slides/_rels/slide697.xml.rels><?xml version='1.0' encoding='UTF-8' standalone='yes'?>
<Relationships xmlns="http://schemas.openxmlformats.org/package/2006/relationships"><Relationship Id="rId1" Type="http://schemas.openxmlformats.org/officeDocument/2006/relationships/tags" Target="../tags/tag7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3.xml"/></Relationships>
</file>

<file path=ppt/slides/_rels/slide698.xml.rels><?xml version='1.0' encoding='UTF-8' standalone='yes'?>
<Relationships xmlns="http://schemas.openxmlformats.org/package/2006/relationships"><Relationship Id="rId1" Type="http://schemas.openxmlformats.org/officeDocument/2006/relationships/tags" Target="../tags/tag7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4.xml"/></Relationships>
</file>

<file path=ppt/slides/_rels/slide699.xml.rels><?xml version='1.0' encoding='UTF-8' standalone='yes'?>
<Relationships xmlns="http://schemas.openxmlformats.org/package/2006/relationships"><Relationship Id="rId1" Type="http://schemas.openxmlformats.org/officeDocument/2006/relationships/tags" Target="../tags/tag7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5.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chart" Target="../charts/chart7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01.xml.rels><?xml version='1.0' encoding='UTF-8' standalone='yes'?>
<Relationships xmlns="http://schemas.openxmlformats.org/package/2006/relationships"><Relationship Id="rId1" Type="http://schemas.openxmlformats.org/officeDocument/2006/relationships/tags" Target="../tags/tag7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7.xml"/></Relationships>
</file>

<file path=ppt/slides/_rels/slide702.xml.rels><?xml version='1.0' encoding='UTF-8' standalone='yes'?>
<Relationships xmlns="http://schemas.openxmlformats.org/package/2006/relationships"><Relationship Id="rId1" Type="http://schemas.openxmlformats.org/officeDocument/2006/relationships/tags" Target="../tags/tag7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8.xml"/></Relationships>
</file>

<file path=ppt/slides/_rels/slide703.xml.rels><?xml version='1.0' encoding='UTF-8' standalone='yes'?>
<Relationships xmlns="http://schemas.openxmlformats.org/package/2006/relationships"><Relationship Id="rId1" Type="http://schemas.openxmlformats.org/officeDocument/2006/relationships/tags" Target="../tags/tag7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9.xml"/></Relationships>
</file>

<file path=ppt/slides/_rels/slide705.xml.rels><?xml version='1.0' encoding='UTF-8' standalone='yes'?>
<Relationships xmlns="http://schemas.openxmlformats.org/package/2006/relationships"><Relationship Id="rId1" Type="http://schemas.openxmlformats.org/officeDocument/2006/relationships/tags" Target="../tags/tag7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1.xml"/></Relationships>
</file>

<file path=ppt/slides/_rels/slide708.xml.rels><?xml version='1.0' encoding='UTF-8' standalone='yes'?>
<Relationships xmlns="http://schemas.openxmlformats.org/package/2006/relationships"><Relationship Id="rId1" Type="http://schemas.openxmlformats.org/officeDocument/2006/relationships/tags" Target="../tags/tag7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4.xml"/></Relationships>
</file>

<file path=ppt/slides/_rels/slide709.xml.rels><?xml version='1.0' encoding='UTF-8' standalone='yes'?>
<Relationships xmlns="http://schemas.openxmlformats.org/package/2006/relationships"><Relationship Id="rId1" Type="http://schemas.openxmlformats.org/officeDocument/2006/relationships/tags" Target="../tags/tag7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5.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chart" Target="../charts/chart7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10.xml.rels><?xml version='1.0' encoding='UTF-8' standalone='yes'?>
<Relationships xmlns="http://schemas.openxmlformats.org/package/2006/relationships"><Relationship Id="rId1" Type="http://schemas.openxmlformats.org/officeDocument/2006/relationships/tags" Target="../tags/tag7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6.xml"/></Relationships>
</file>

<file path=ppt/slides/_rels/slide712.xml.rels><?xml version='1.0' encoding='UTF-8' standalone='yes'?>
<Relationships xmlns="http://schemas.openxmlformats.org/package/2006/relationships"><Relationship Id="rId1" Type="http://schemas.openxmlformats.org/officeDocument/2006/relationships/tags" Target="../tags/tag7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8.xml"/></Relationships>
</file>

<file path=ppt/slides/_rels/slide713.xml.rels><?xml version='1.0' encoding='UTF-8' standalone='yes'?>
<Relationships xmlns="http://schemas.openxmlformats.org/package/2006/relationships"><Relationship Id="rId1" Type="http://schemas.openxmlformats.org/officeDocument/2006/relationships/tags" Target="../tags/tag7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9.xml"/></Relationships>
</file>

<file path=ppt/slides/_rels/slide714.xml.rels><?xml version='1.0' encoding='UTF-8' standalone='yes'?>
<Relationships xmlns="http://schemas.openxmlformats.org/package/2006/relationships"><Relationship Id="rId1" Type="http://schemas.openxmlformats.org/officeDocument/2006/relationships/tags" Target="../tags/tag7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0.xml"/></Relationships>
</file>

<file path=ppt/slides/_rels/slide716.xml.rels><?xml version='1.0' encoding='UTF-8' standalone='yes'?>
<Relationships xmlns="http://schemas.openxmlformats.org/package/2006/relationships"><Relationship Id="rId1" Type="http://schemas.openxmlformats.org/officeDocument/2006/relationships/tags" Target="../tags/tag7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2.xml"/></Relationships>
</file>

<file path=ppt/slides/_rels/slide719.xml.rels><?xml version='1.0' encoding='UTF-8' standalone='yes'?>
<Relationships xmlns="http://schemas.openxmlformats.org/package/2006/relationships"><Relationship Id="rId1" Type="http://schemas.openxmlformats.org/officeDocument/2006/relationships/tags" Target="../tags/tag746.xml"/><Relationship Id="rId2" Type="http://schemas.openxmlformats.org/officeDocument/2006/relationships/slideLayout" Target="../slideLayouts/slideLayout7.xml"/><Relationship Id="rId3" Type="http://schemas.openxmlformats.org/officeDocument/2006/relationships/notesSlide" Target="../notesSlides/notesSlide31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55.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chart" Target="../charts/chart7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20.xml.rels><?xml version='1.0' encoding='UTF-8' standalone='yes'?>
<Relationships xmlns="http://schemas.openxmlformats.org/package/2006/relationships"><Relationship Id="rId1" Type="http://schemas.openxmlformats.org/officeDocument/2006/relationships/tags" Target="../tags/tag747.xml"/><Relationship Id="rId2" Type="http://schemas.openxmlformats.org/officeDocument/2006/relationships/slideLayout" Target="../slideLayouts/slideLayout7.xml"/><Relationship Id="rId3" Type="http://schemas.openxmlformats.org/officeDocument/2006/relationships/notesSlide" Target="../notesSlides/notesSlide31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56.xml"/></Relationships>
</file>

<file path=ppt/slides/_rels/slide721.xml.rels><?xml version='1.0' encoding='UTF-8' standalone='yes'?>
<Relationships xmlns="http://schemas.openxmlformats.org/package/2006/relationships"><Relationship Id="rId1" Type="http://schemas.openxmlformats.org/officeDocument/2006/relationships/tags" Target="../tags/tag748.xml"/><Relationship Id="rId2" Type="http://schemas.openxmlformats.org/officeDocument/2006/relationships/slideLayout" Target="../slideLayouts/slideLayout7.xml"/><Relationship Id="rId3" Type="http://schemas.openxmlformats.org/officeDocument/2006/relationships/notesSlide" Target="../notesSlides/notesSlide31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57.xml"/></Relationships>
</file>

<file path=ppt/slides/_rels/slide723.xml.rels><?xml version='1.0' encoding='UTF-8' standalone='yes'?>
<Relationships xmlns="http://schemas.openxmlformats.org/package/2006/relationships"><Relationship Id="rId1" Type="http://schemas.openxmlformats.org/officeDocument/2006/relationships/tags" Target="../tags/tag750.xml"/><Relationship Id="rId2" Type="http://schemas.openxmlformats.org/officeDocument/2006/relationships/slideLayout" Target="../slideLayouts/slideLayout7.xml"/><Relationship Id="rId3" Type="http://schemas.openxmlformats.org/officeDocument/2006/relationships/notesSlide" Target="../notesSlides/notesSlide31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59.xml"/></Relationships>
</file>

<file path=ppt/slides/_rels/slide724.xml.rels><?xml version='1.0' encoding='UTF-8' standalone='yes'?>
<Relationships xmlns="http://schemas.openxmlformats.org/package/2006/relationships"><Relationship Id="rId1" Type="http://schemas.openxmlformats.org/officeDocument/2006/relationships/tags" Target="../tags/tag751.xml"/><Relationship Id="rId2" Type="http://schemas.openxmlformats.org/officeDocument/2006/relationships/slideLayout" Target="../slideLayouts/slideLayout7.xml"/><Relationship Id="rId3" Type="http://schemas.openxmlformats.org/officeDocument/2006/relationships/notesSlide" Target="../notesSlides/notesSlide31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60.xml"/></Relationships>
</file>

<file path=ppt/slides/_rels/slide725.xml.rels><?xml version='1.0' encoding='UTF-8' standalone='yes'?>
<Relationships xmlns="http://schemas.openxmlformats.org/package/2006/relationships"><Relationship Id="rId1" Type="http://schemas.openxmlformats.org/officeDocument/2006/relationships/tags" Target="../tags/tag752.xml"/><Relationship Id="rId2" Type="http://schemas.openxmlformats.org/officeDocument/2006/relationships/slideLayout" Target="../slideLayouts/slideLayout7.xml"/><Relationship Id="rId3" Type="http://schemas.openxmlformats.org/officeDocument/2006/relationships/notesSlide" Target="../notesSlides/notesSlide32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61.xml"/></Relationships>
</file>

<file path=ppt/slides/_rels/slide726.xml.rels><?xml version='1.0' encoding='UTF-8' standalone='yes'?>
<Relationships xmlns="http://schemas.openxmlformats.org/package/2006/relationships"><Relationship Id="rId1" Type="http://schemas.openxmlformats.org/officeDocument/2006/relationships/tags" Target="../tags/tag753.xml"/><Relationship Id="rId2" Type="http://schemas.openxmlformats.org/officeDocument/2006/relationships/slideLayout" Target="../slideLayouts/slideLayout7.xml"/><Relationship Id="rId3" Type="http://schemas.openxmlformats.org/officeDocument/2006/relationships/notesSlide" Target="../notesSlides/notesSlide32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62.xml"/></Relationships>
</file>

<file path=ppt/slides/_rels/slide727.xml.rels><?xml version='1.0' encoding='UTF-8' standalone='yes'?>
<Relationships xmlns="http://schemas.openxmlformats.org/package/2006/relationships"><Relationship Id="rId1" Type="http://schemas.openxmlformats.org/officeDocument/2006/relationships/tags" Target="../tags/tag754.xml"/><Relationship Id="rId2" Type="http://schemas.openxmlformats.org/officeDocument/2006/relationships/slideLayout" Target="../slideLayouts/slideLayout7.xml"/><Relationship Id="rId3" Type="http://schemas.openxmlformats.org/officeDocument/2006/relationships/notesSlide" Target="../notesSlides/notesSlide32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63.xml"/></Relationships>
</file>

<file path=ppt/slides/_rels/slide730.xml.rels><?xml version='1.0' encoding='UTF-8' standalone='yes'?>
<Relationships xmlns="http://schemas.openxmlformats.org/package/2006/relationships"><Relationship Id="rId1" Type="http://schemas.openxmlformats.org/officeDocument/2006/relationships/tags" Target="../tags/tag757.xml"/><Relationship Id="rId2" Type="http://schemas.openxmlformats.org/officeDocument/2006/relationships/slideLayout" Target="../slideLayouts/slideLayout7.xml"/><Relationship Id="rId3" Type="http://schemas.openxmlformats.org/officeDocument/2006/relationships/notesSlide" Target="../notesSlides/notesSlide32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66.xml"/></Relationships>
</file>

<file path=ppt/slides/_rels/slide731.xml.rels><?xml version='1.0' encoding='UTF-8' standalone='yes'?>
<Relationships xmlns="http://schemas.openxmlformats.org/package/2006/relationships"><Relationship Id="rId1" Type="http://schemas.openxmlformats.org/officeDocument/2006/relationships/tags" Target="../tags/tag758.xml"/><Relationship Id="rId2" Type="http://schemas.openxmlformats.org/officeDocument/2006/relationships/slideLayout" Target="../slideLayouts/slideLayout7.xml"/><Relationship Id="rId3" Type="http://schemas.openxmlformats.org/officeDocument/2006/relationships/notesSlide" Target="../notesSlides/notesSlide32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67.xml"/></Relationships>
</file>

<file path=ppt/slides/_rels/slide732.xml.rels><?xml version='1.0' encoding='UTF-8' standalone='yes'?>
<Relationships xmlns="http://schemas.openxmlformats.org/package/2006/relationships"><Relationship Id="rId1" Type="http://schemas.openxmlformats.org/officeDocument/2006/relationships/tags" Target="../tags/tag759.xml"/><Relationship Id="rId2" Type="http://schemas.openxmlformats.org/officeDocument/2006/relationships/slideLayout" Target="../slideLayouts/slideLayout7.xml"/><Relationship Id="rId3" Type="http://schemas.openxmlformats.org/officeDocument/2006/relationships/notesSlide" Target="../notesSlides/notesSlide32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68.xml"/></Relationships>
</file>

<file path=ppt/slides/_rels/slide734.xml.rels><?xml version='1.0' encoding='UTF-8' standalone='yes'?>
<Relationships xmlns="http://schemas.openxmlformats.org/package/2006/relationships"><Relationship Id="rId1" Type="http://schemas.openxmlformats.org/officeDocument/2006/relationships/tags" Target="../tags/tag761.xml"/><Relationship Id="rId2" Type="http://schemas.openxmlformats.org/officeDocument/2006/relationships/slideLayout" Target="../slideLayouts/slideLayout7.xml"/><Relationship Id="rId3" Type="http://schemas.openxmlformats.org/officeDocument/2006/relationships/notesSlide" Target="../notesSlides/notesSlide32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70.xml"/></Relationships>
</file>

<file path=ppt/slides/_rels/slide735.xml.rels><?xml version='1.0' encoding='UTF-8' standalone='yes'?>
<Relationships xmlns="http://schemas.openxmlformats.org/package/2006/relationships"><Relationship Id="rId1" Type="http://schemas.openxmlformats.org/officeDocument/2006/relationships/tags" Target="../tags/tag762.xml"/><Relationship Id="rId2" Type="http://schemas.openxmlformats.org/officeDocument/2006/relationships/slideLayout" Target="../slideLayouts/slideLayout7.xml"/><Relationship Id="rId3" Type="http://schemas.openxmlformats.org/officeDocument/2006/relationships/notesSlide" Target="../notesSlides/notesSlide33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71.xml"/></Relationships>
</file>

<file path=ppt/slides/_rels/slide736.xml.rels><?xml version='1.0' encoding='UTF-8' standalone='yes'?>
<Relationships xmlns="http://schemas.openxmlformats.org/package/2006/relationships"><Relationship Id="rId1" Type="http://schemas.openxmlformats.org/officeDocument/2006/relationships/tags" Target="../tags/tag763.xml"/><Relationship Id="rId2" Type="http://schemas.openxmlformats.org/officeDocument/2006/relationships/slideLayout" Target="../slideLayouts/slideLayout7.xml"/><Relationship Id="rId3" Type="http://schemas.openxmlformats.org/officeDocument/2006/relationships/notesSlide" Target="../notesSlides/notesSlide33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72.xml"/></Relationships>
</file>

<file path=ppt/slides/_rels/slide737.xml.rels><?xml version='1.0' encoding='UTF-8' standalone='yes'?>
<Relationships xmlns="http://schemas.openxmlformats.org/package/2006/relationships"><Relationship Id="rId1" Type="http://schemas.openxmlformats.org/officeDocument/2006/relationships/tags" Target="../tags/tag764.xml"/><Relationship Id="rId2" Type="http://schemas.openxmlformats.org/officeDocument/2006/relationships/slideLayout" Target="../slideLayouts/slideLayout7.xml"/><Relationship Id="rId3" Type="http://schemas.openxmlformats.org/officeDocument/2006/relationships/notesSlide" Target="../notesSlides/notesSlide33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73.xml"/></Relationships>
</file>

<file path=ppt/slides/_rels/slide738.xml.rels><?xml version='1.0' encoding='UTF-8' standalone='yes'?>
<Relationships xmlns="http://schemas.openxmlformats.org/package/2006/relationships"><Relationship Id="rId1" Type="http://schemas.openxmlformats.org/officeDocument/2006/relationships/tags" Target="../tags/tag765.xml"/><Relationship Id="rId2" Type="http://schemas.openxmlformats.org/officeDocument/2006/relationships/slideLayout" Target="../slideLayouts/slideLayout7.xml"/><Relationship Id="rId3" Type="http://schemas.openxmlformats.org/officeDocument/2006/relationships/notesSlide" Target="../notesSlides/notesSlide33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74.xml"/></Relationships>
</file>

<file path=ppt/slides/_rels/slide741.xml.rels><?xml version='1.0' encoding='UTF-8' standalone='yes'?>
<Relationships xmlns="http://schemas.openxmlformats.org/package/2006/relationships"><Relationship Id="rId1" Type="http://schemas.openxmlformats.org/officeDocument/2006/relationships/tags" Target="../tags/tag768.xml"/><Relationship Id="rId2" Type="http://schemas.openxmlformats.org/officeDocument/2006/relationships/slideLayout" Target="../slideLayouts/slideLayout7.xml"/><Relationship Id="rId3" Type="http://schemas.openxmlformats.org/officeDocument/2006/relationships/notesSlide" Target="../notesSlides/notesSlide33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77.xml"/></Relationships>
</file>

<file path=ppt/slides/_rels/slide742.xml.rels><?xml version='1.0' encoding='UTF-8' standalone='yes'?>
<Relationships xmlns="http://schemas.openxmlformats.org/package/2006/relationships"><Relationship Id="rId1" Type="http://schemas.openxmlformats.org/officeDocument/2006/relationships/tags" Target="../tags/tag769.xml"/><Relationship Id="rId2" Type="http://schemas.openxmlformats.org/officeDocument/2006/relationships/slideLayout" Target="../slideLayouts/slideLayout7.xml"/><Relationship Id="rId3" Type="http://schemas.openxmlformats.org/officeDocument/2006/relationships/notesSlide" Target="../notesSlides/notesSlide33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78.xml"/></Relationships>
</file>

<file path=ppt/slides/_rels/slide743.xml.rels><?xml version='1.0' encoding='UTF-8' standalone='yes'?>
<Relationships xmlns="http://schemas.openxmlformats.org/package/2006/relationships"><Relationship Id="rId1" Type="http://schemas.openxmlformats.org/officeDocument/2006/relationships/tags" Target="../tags/tag770.xml"/><Relationship Id="rId2" Type="http://schemas.openxmlformats.org/officeDocument/2006/relationships/slideLayout" Target="../slideLayouts/slideLayout7.xml"/><Relationship Id="rId3" Type="http://schemas.openxmlformats.org/officeDocument/2006/relationships/notesSlide" Target="../notesSlides/notesSlide33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79.xml"/></Relationships>
</file>

<file path=ppt/slides/_rels/slide745.xml.rels><?xml version='1.0' encoding='UTF-8' standalone='yes'?>
<Relationships xmlns="http://schemas.openxmlformats.org/package/2006/relationships"><Relationship Id="rId1" Type="http://schemas.openxmlformats.org/officeDocument/2006/relationships/tags" Target="../tags/tag772.xml"/><Relationship Id="rId2" Type="http://schemas.openxmlformats.org/officeDocument/2006/relationships/slideLayout" Target="../slideLayouts/slideLayout7.xml"/><Relationship Id="rId3" Type="http://schemas.openxmlformats.org/officeDocument/2006/relationships/notesSlide" Target="../notesSlides/notesSlide34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81.xml"/></Relationships>
</file>

<file path=ppt/slides/_rels/slide747.xml.rels><?xml version='1.0' encoding='UTF-8' standalone='yes'?>
<Relationships xmlns="http://schemas.openxmlformats.org/package/2006/relationships"><Relationship Id="rId1" Type="http://schemas.openxmlformats.org/officeDocument/2006/relationships/tags" Target="../tags/tag774.xml"/><Relationship Id="rId2" Type="http://schemas.openxmlformats.org/officeDocument/2006/relationships/slideLayout" Target="../slideLayouts/slideLayout7.xml"/><Relationship Id="rId3" Type="http://schemas.openxmlformats.org/officeDocument/2006/relationships/notesSlide" Target="../notesSlides/notesSlide34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83.xml"/></Relationships>
</file>

<file path=ppt/slides/_rels/slide748.xml.rels><?xml version='1.0' encoding='UTF-8' standalone='yes'?>
<Relationships xmlns="http://schemas.openxmlformats.org/package/2006/relationships"><Relationship Id="rId1" Type="http://schemas.openxmlformats.org/officeDocument/2006/relationships/tags" Target="../tags/tag775.xml"/><Relationship Id="rId2" Type="http://schemas.openxmlformats.org/officeDocument/2006/relationships/slideLayout" Target="../slideLayouts/slideLayout7.xml"/><Relationship Id="rId3" Type="http://schemas.openxmlformats.org/officeDocument/2006/relationships/notesSlide" Target="../notesSlides/notesSlide34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84.xml"/></Relationships>
</file>

<file path=ppt/slides/_rels/slide749.xml.rels><?xml version='1.0' encoding='UTF-8' standalone='yes'?>
<Relationships xmlns="http://schemas.openxmlformats.org/package/2006/relationships"><Relationship Id="rId1" Type="http://schemas.openxmlformats.org/officeDocument/2006/relationships/tags" Target="../tags/tag776.xml"/><Relationship Id="rId2" Type="http://schemas.openxmlformats.org/officeDocument/2006/relationships/slideLayout" Target="../slideLayouts/slideLayout7.xml"/><Relationship Id="rId3" Type="http://schemas.openxmlformats.org/officeDocument/2006/relationships/notesSlide" Target="../notesSlides/notesSlide34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85.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chart" Target="../charts/chart7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52.xml.rels><?xml version='1.0' encoding='UTF-8' standalone='yes'?>
<Relationships xmlns="http://schemas.openxmlformats.org/package/2006/relationships"><Relationship Id="rId1" Type="http://schemas.openxmlformats.org/officeDocument/2006/relationships/tags" Target="../tags/tag779.xml"/><Relationship Id="rId2" Type="http://schemas.openxmlformats.org/officeDocument/2006/relationships/slideLayout" Target="../slideLayouts/slideLayout7.xml"/><Relationship Id="rId3" Type="http://schemas.openxmlformats.org/officeDocument/2006/relationships/notesSlide" Target="../notesSlides/notesSlide34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88.xml"/></Relationships>
</file>

<file path=ppt/slides/_rels/slide753.xml.rels><?xml version='1.0' encoding='UTF-8' standalone='yes'?>
<Relationships xmlns="http://schemas.openxmlformats.org/package/2006/relationships"><Relationship Id="rId1" Type="http://schemas.openxmlformats.org/officeDocument/2006/relationships/tags" Target="../tags/tag780.xml"/><Relationship Id="rId2" Type="http://schemas.openxmlformats.org/officeDocument/2006/relationships/slideLayout" Target="../slideLayouts/slideLayout7.xml"/><Relationship Id="rId3" Type="http://schemas.openxmlformats.org/officeDocument/2006/relationships/notesSlide" Target="../notesSlides/notesSlide34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89.xml"/></Relationships>
</file>

<file path=ppt/slides/_rels/slide754.xml.rels><?xml version='1.0' encoding='UTF-8' standalone='yes'?>
<Relationships xmlns="http://schemas.openxmlformats.org/package/2006/relationships"><Relationship Id="rId1" Type="http://schemas.openxmlformats.org/officeDocument/2006/relationships/tags" Target="../tags/tag781.xml"/><Relationship Id="rId2" Type="http://schemas.openxmlformats.org/officeDocument/2006/relationships/slideLayout" Target="../slideLayouts/slideLayout7.xml"/><Relationship Id="rId3" Type="http://schemas.openxmlformats.org/officeDocument/2006/relationships/notesSlide" Target="../notesSlides/notesSlide34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90.xml"/></Relationships>
</file>

<file path=ppt/slides/_rels/slide756.xml.rels><?xml version='1.0' encoding='UTF-8' standalone='yes'?>
<Relationships xmlns="http://schemas.openxmlformats.org/package/2006/relationships"><Relationship Id="rId1" Type="http://schemas.openxmlformats.org/officeDocument/2006/relationships/tags" Target="../tags/tag783.xml"/><Relationship Id="rId2" Type="http://schemas.openxmlformats.org/officeDocument/2006/relationships/slideLayout" Target="../slideLayouts/slideLayout7.xml"/><Relationship Id="rId3" Type="http://schemas.openxmlformats.org/officeDocument/2006/relationships/notesSlide" Target="../notesSlides/notesSlide35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92.xml"/></Relationships>
</file>

<file path=ppt/slides/_rels/slide758.xml.rels><?xml version='1.0' encoding='UTF-8' standalone='yes'?>
<Relationships xmlns="http://schemas.openxmlformats.org/package/2006/relationships"><Relationship Id="rId1" Type="http://schemas.openxmlformats.org/officeDocument/2006/relationships/tags" Target="../tags/tag785.xml"/><Relationship Id="rId2" Type="http://schemas.openxmlformats.org/officeDocument/2006/relationships/slideLayout" Target="../slideLayouts/slideLayout7.xml"/><Relationship Id="rId3" Type="http://schemas.openxmlformats.org/officeDocument/2006/relationships/notesSlide" Target="../notesSlides/notesSlide35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94.xml"/></Relationships>
</file>

<file path=ppt/slides/_rels/slide759.xml.rels><?xml version='1.0' encoding='UTF-8' standalone='yes'?>
<Relationships xmlns="http://schemas.openxmlformats.org/package/2006/relationships"><Relationship Id="rId1" Type="http://schemas.openxmlformats.org/officeDocument/2006/relationships/tags" Target="../tags/tag786.xml"/><Relationship Id="rId2" Type="http://schemas.openxmlformats.org/officeDocument/2006/relationships/slideLayout" Target="../slideLayouts/slideLayout7.xml"/><Relationship Id="rId3" Type="http://schemas.openxmlformats.org/officeDocument/2006/relationships/notesSlide" Target="../notesSlides/notesSlide35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95.xml"/></Relationships>
</file>

<file path=ppt/slides/_rels/slide760.xml.rels><?xml version='1.0' encoding='UTF-8' standalone='yes'?>
<Relationships xmlns="http://schemas.openxmlformats.org/package/2006/relationships"><Relationship Id="rId1" Type="http://schemas.openxmlformats.org/officeDocument/2006/relationships/tags" Target="../tags/tag787.xml"/><Relationship Id="rId2" Type="http://schemas.openxmlformats.org/officeDocument/2006/relationships/slideLayout" Target="../slideLayouts/slideLayout7.xml"/><Relationship Id="rId3" Type="http://schemas.openxmlformats.org/officeDocument/2006/relationships/notesSlide" Target="../notesSlides/notesSlide35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96.xml"/></Relationships>
</file>

<file path=ppt/slides/_rels/slide763.xml.rels><?xml version='1.0' encoding='UTF-8' standalone='yes'?>
<Relationships xmlns="http://schemas.openxmlformats.org/package/2006/relationships"><Relationship Id="rId1" Type="http://schemas.openxmlformats.org/officeDocument/2006/relationships/tags" Target="../tags/tag790.xml"/><Relationship Id="rId2" Type="http://schemas.openxmlformats.org/officeDocument/2006/relationships/slideLayout" Target="../slideLayouts/slideLayout7.xml"/><Relationship Id="rId3" Type="http://schemas.openxmlformats.org/officeDocument/2006/relationships/notesSlide" Target="../notesSlides/notesSlide35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599.xml"/></Relationships>
</file>

<file path=ppt/slides/_rels/slide764.xml.rels><?xml version='1.0' encoding='UTF-8' standalone='yes'?>
<Relationships xmlns="http://schemas.openxmlformats.org/package/2006/relationships"><Relationship Id="rId1" Type="http://schemas.openxmlformats.org/officeDocument/2006/relationships/tags" Target="../tags/tag791.xml"/><Relationship Id="rId2" Type="http://schemas.openxmlformats.org/officeDocument/2006/relationships/slideLayout" Target="../slideLayouts/slideLayout7.xml"/><Relationship Id="rId3" Type="http://schemas.openxmlformats.org/officeDocument/2006/relationships/notesSlide" Target="../notesSlides/notesSlide35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00.xml"/></Relationships>
</file>

<file path=ppt/slides/_rels/slide765.xml.rels><?xml version='1.0' encoding='UTF-8' standalone='yes'?>
<Relationships xmlns="http://schemas.openxmlformats.org/package/2006/relationships"><Relationship Id="rId1" Type="http://schemas.openxmlformats.org/officeDocument/2006/relationships/tags" Target="../tags/tag792.xml"/><Relationship Id="rId2" Type="http://schemas.openxmlformats.org/officeDocument/2006/relationships/slideLayout" Target="../slideLayouts/slideLayout7.xml"/><Relationship Id="rId3" Type="http://schemas.openxmlformats.org/officeDocument/2006/relationships/notesSlide" Target="../notesSlides/notesSlide36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01.xml"/></Relationships>
</file>

<file path=ppt/slides/_rels/slide766.xml.rels><?xml version='1.0' encoding='UTF-8' standalone='yes'?>
<Relationships xmlns="http://schemas.openxmlformats.org/package/2006/relationships"><Relationship Id="rId1" Type="http://schemas.openxmlformats.org/officeDocument/2006/relationships/tags" Target="../tags/tag793.xml"/><Relationship Id="rId2" Type="http://schemas.openxmlformats.org/officeDocument/2006/relationships/slideLayout" Target="../slideLayouts/slideLayout7.xml"/><Relationship Id="rId3" Type="http://schemas.openxmlformats.org/officeDocument/2006/relationships/notesSlide" Target="../notesSlides/notesSlide36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02.xml"/></Relationships>
</file>

<file path=ppt/slides/_rels/slide767.xml.rels><?xml version='1.0' encoding='UTF-8' standalone='yes'?>
<Relationships xmlns="http://schemas.openxmlformats.org/package/2006/relationships"><Relationship Id="rId1" Type="http://schemas.openxmlformats.org/officeDocument/2006/relationships/tags" Target="../tags/tag794.xml"/><Relationship Id="rId2" Type="http://schemas.openxmlformats.org/officeDocument/2006/relationships/slideLayout" Target="../slideLayouts/slideLayout7.xml"/><Relationship Id="rId3" Type="http://schemas.openxmlformats.org/officeDocument/2006/relationships/notesSlide" Target="../notesSlides/notesSlide36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03.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chart" Target="../charts/chart7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70.xml.rels><?xml version='1.0' encoding='UTF-8' standalone='yes'?>
<Relationships xmlns="http://schemas.openxmlformats.org/package/2006/relationships"><Relationship Id="rId1" Type="http://schemas.openxmlformats.org/officeDocument/2006/relationships/tags" Target="../tags/tag797.xml"/><Relationship Id="rId2" Type="http://schemas.openxmlformats.org/officeDocument/2006/relationships/slideLayout" Target="../slideLayouts/slideLayout7.xml"/><Relationship Id="rId3" Type="http://schemas.openxmlformats.org/officeDocument/2006/relationships/notesSlide" Target="../notesSlides/notesSlide36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06.xml"/></Relationships>
</file>

<file path=ppt/slides/_rels/slide771.xml.rels><?xml version='1.0' encoding='UTF-8' standalone='yes'?>
<Relationships xmlns="http://schemas.openxmlformats.org/package/2006/relationships"><Relationship Id="rId1" Type="http://schemas.openxmlformats.org/officeDocument/2006/relationships/tags" Target="../tags/tag798.xml"/><Relationship Id="rId2" Type="http://schemas.openxmlformats.org/officeDocument/2006/relationships/slideLayout" Target="../slideLayouts/slideLayout7.xml"/><Relationship Id="rId3" Type="http://schemas.openxmlformats.org/officeDocument/2006/relationships/notesSlide" Target="../notesSlides/notesSlide36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07.xml"/></Relationships>
</file>

<file path=ppt/slides/_rels/slide774.xml.rels><?xml version='1.0' encoding='UTF-8' standalone='yes'?>
<Relationships xmlns="http://schemas.openxmlformats.org/package/2006/relationships"><Relationship Id="rId1" Type="http://schemas.openxmlformats.org/officeDocument/2006/relationships/tags" Target="../tags/tag801.xml"/><Relationship Id="rId2" Type="http://schemas.openxmlformats.org/officeDocument/2006/relationships/slideLayout" Target="../slideLayouts/slideLayout7.xml"/><Relationship Id="rId3" Type="http://schemas.openxmlformats.org/officeDocument/2006/relationships/notesSlide" Target="../notesSlides/notesSlide36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10.xml"/></Relationships>
</file>

<file path=ppt/slides/_rels/slide775.xml.rels><?xml version='1.0' encoding='UTF-8' standalone='yes'?>
<Relationships xmlns="http://schemas.openxmlformats.org/package/2006/relationships"><Relationship Id="rId1" Type="http://schemas.openxmlformats.org/officeDocument/2006/relationships/tags" Target="../tags/tag802.xml"/><Relationship Id="rId2" Type="http://schemas.openxmlformats.org/officeDocument/2006/relationships/slideLayout" Target="../slideLayouts/slideLayout7.xml"/><Relationship Id="rId3" Type="http://schemas.openxmlformats.org/officeDocument/2006/relationships/notesSlide" Target="../notesSlides/notesSlide37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11.xml"/></Relationships>
</file>

<file path=ppt/slides/_rels/slide776.xml.rels><?xml version='1.0' encoding='UTF-8' standalone='yes'?>
<Relationships xmlns="http://schemas.openxmlformats.org/package/2006/relationships"><Relationship Id="rId1" Type="http://schemas.openxmlformats.org/officeDocument/2006/relationships/tags" Target="../tags/tag803.xml"/><Relationship Id="rId2" Type="http://schemas.openxmlformats.org/officeDocument/2006/relationships/slideLayout" Target="../slideLayouts/slideLayout7.xml"/><Relationship Id="rId3" Type="http://schemas.openxmlformats.org/officeDocument/2006/relationships/notesSlide" Target="../notesSlides/notesSlide37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12.xml"/></Relationships>
</file>

<file path=ppt/slides/_rels/slide777.xml.rels><?xml version='1.0' encoding='UTF-8' standalone='yes'?>
<Relationships xmlns="http://schemas.openxmlformats.org/package/2006/relationships"><Relationship Id="rId1" Type="http://schemas.openxmlformats.org/officeDocument/2006/relationships/tags" Target="../tags/tag804.xml"/><Relationship Id="rId2" Type="http://schemas.openxmlformats.org/officeDocument/2006/relationships/slideLayout" Target="../slideLayouts/slideLayout7.xml"/><Relationship Id="rId3" Type="http://schemas.openxmlformats.org/officeDocument/2006/relationships/notesSlide" Target="../notesSlides/notesSlide37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13.xml"/></Relationships>
</file>

<file path=ppt/slides/_rels/slide778.xml.rels><?xml version='1.0' encoding='UTF-8' standalone='yes'?>
<Relationships xmlns="http://schemas.openxmlformats.org/package/2006/relationships"><Relationship Id="rId1" Type="http://schemas.openxmlformats.org/officeDocument/2006/relationships/tags" Target="../tags/tag805.xml"/><Relationship Id="rId2" Type="http://schemas.openxmlformats.org/officeDocument/2006/relationships/slideLayout" Target="../slideLayouts/slideLayout7.xml"/><Relationship Id="rId3" Type="http://schemas.openxmlformats.org/officeDocument/2006/relationships/notesSlide" Target="../notesSlides/notesSlide37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14.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chart" Target="../charts/chart7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81.xml.rels><?xml version='1.0' encoding='UTF-8' standalone='yes'?>
<Relationships xmlns="http://schemas.openxmlformats.org/package/2006/relationships"><Relationship Id="rId1" Type="http://schemas.openxmlformats.org/officeDocument/2006/relationships/tags" Target="../tags/tag808.xml"/><Relationship Id="rId2" Type="http://schemas.openxmlformats.org/officeDocument/2006/relationships/slideLayout" Target="../slideLayouts/slideLayout7.xml"/><Relationship Id="rId3" Type="http://schemas.openxmlformats.org/officeDocument/2006/relationships/notesSlide" Target="../notesSlides/notesSlide37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17.xml"/></Relationships>
</file>

<file path=ppt/slides/_rels/slide782.xml.rels><?xml version='1.0' encoding='UTF-8' standalone='yes'?>
<Relationships xmlns="http://schemas.openxmlformats.org/package/2006/relationships"><Relationship Id="rId1" Type="http://schemas.openxmlformats.org/officeDocument/2006/relationships/tags" Target="../tags/tag809.xml"/><Relationship Id="rId2" Type="http://schemas.openxmlformats.org/officeDocument/2006/relationships/slideLayout" Target="../slideLayouts/slideLayout7.xml"/><Relationship Id="rId3" Type="http://schemas.openxmlformats.org/officeDocument/2006/relationships/notesSlide" Target="../notesSlides/notesSlide37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18.xml"/></Relationships>
</file>

<file path=ppt/slides/_rels/slide783.xml.rels><?xml version='1.0' encoding='UTF-8' standalone='yes'?>
<Relationships xmlns="http://schemas.openxmlformats.org/package/2006/relationships"><Relationship Id="rId1" Type="http://schemas.openxmlformats.org/officeDocument/2006/relationships/tags" Target="../tags/tag810.xml"/><Relationship Id="rId2" Type="http://schemas.openxmlformats.org/officeDocument/2006/relationships/slideLayout" Target="../slideLayouts/slideLayout7.xml"/><Relationship Id="rId3" Type="http://schemas.openxmlformats.org/officeDocument/2006/relationships/notesSlide" Target="../notesSlides/notesSlide37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19.xml"/></Relationships>
</file>

<file path=ppt/slides/_rels/slide785.xml.rels><?xml version='1.0' encoding='UTF-8' standalone='yes'?>
<Relationships xmlns="http://schemas.openxmlformats.org/package/2006/relationships"><Relationship Id="rId1" Type="http://schemas.openxmlformats.org/officeDocument/2006/relationships/tags" Target="../tags/tag812.xml"/><Relationship Id="rId2" Type="http://schemas.openxmlformats.org/officeDocument/2006/relationships/slideLayout" Target="../slideLayouts/slideLayout7.xml"/><Relationship Id="rId3" Type="http://schemas.openxmlformats.org/officeDocument/2006/relationships/notesSlide" Target="../notesSlides/notesSlide38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21.xml"/></Relationships>
</file>

<file path=ppt/slides/_rels/slide787.xml.rels><?xml version='1.0' encoding='UTF-8' standalone='yes'?>
<Relationships xmlns="http://schemas.openxmlformats.org/package/2006/relationships"><Relationship Id="rId1" Type="http://schemas.openxmlformats.org/officeDocument/2006/relationships/tags" Target="../tags/tag814.xml"/><Relationship Id="rId2" Type="http://schemas.openxmlformats.org/officeDocument/2006/relationships/slideLayout" Target="../slideLayouts/slideLayout7.xml"/><Relationship Id="rId3" Type="http://schemas.openxmlformats.org/officeDocument/2006/relationships/notesSlide" Target="../notesSlides/notesSlide38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23.xml"/></Relationships>
</file>

<file path=ppt/slides/_rels/slide788.xml.rels><?xml version='1.0' encoding='UTF-8' standalone='yes'?>
<Relationships xmlns="http://schemas.openxmlformats.org/package/2006/relationships"><Relationship Id="rId1" Type="http://schemas.openxmlformats.org/officeDocument/2006/relationships/tags" Target="../tags/tag815.xml"/><Relationship Id="rId2" Type="http://schemas.openxmlformats.org/officeDocument/2006/relationships/slideLayout" Target="../slideLayouts/slideLayout7.xml"/><Relationship Id="rId3" Type="http://schemas.openxmlformats.org/officeDocument/2006/relationships/notesSlide" Target="../notesSlides/notesSlide38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24.xml"/></Relationships>
</file>

<file path=ppt/slides/_rels/slide789.xml.rels><?xml version='1.0' encoding='UTF-8' standalone='yes'?>
<Relationships xmlns="http://schemas.openxmlformats.org/package/2006/relationships"><Relationship Id="rId1" Type="http://schemas.openxmlformats.org/officeDocument/2006/relationships/tags" Target="../tags/tag816.xml"/><Relationship Id="rId2" Type="http://schemas.openxmlformats.org/officeDocument/2006/relationships/slideLayout" Target="../slideLayouts/slideLayout7.xml"/><Relationship Id="rId3" Type="http://schemas.openxmlformats.org/officeDocument/2006/relationships/notesSlide" Target="../notesSlides/notesSlide38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25.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chart" Target="../charts/chart7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92.xml.rels><?xml version='1.0' encoding='UTF-8' standalone='yes'?>
<Relationships xmlns="http://schemas.openxmlformats.org/package/2006/relationships"><Relationship Id="rId1" Type="http://schemas.openxmlformats.org/officeDocument/2006/relationships/tags" Target="../tags/tag819.xml"/><Relationship Id="rId2" Type="http://schemas.openxmlformats.org/officeDocument/2006/relationships/slideLayout" Target="../slideLayouts/slideLayout7.xml"/><Relationship Id="rId3" Type="http://schemas.openxmlformats.org/officeDocument/2006/relationships/notesSlide" Target="../notesSlides/notesSlide38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28.xml"/></Relationships>
</file>

<file path=ppt/slides/_rels/slide793.xml.rels><?xml version='1.0' encoding='UTF-8' standalone='yes'?>
<Relationships xmlns="http://schemas.openxmlformats.org/package/2006/relationships"><Relationship Id="rId1" Type="http://schemas.openxmlformats.org/officeDocument/2006/relationships/tags" Target="../tags/tag820.xml"/><Relationship Id="rId2" Type="http://schemas.openxmlformats.org/officeDocument/2006/relationships/slideLayout" Target="../slideLayouts/slideLayout7.xml"/><Relationship Id="rId3" Type="http://schemas.openxmlformats.org/officeDocument/2006/relationships/notesSlide" Target="../notesSlides/notesSlide38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29.xml"/></Relationships>
</file>

<file path=ppt/slides/_rels/slide794.xml.rels><?xml version='1.0' encoding='UTF-8' standalone='yes'?>
<Relationships xmlns="http://schemas.openxmlformats.org/package/2006/relationships"><Relationship Id="rId1" Type="http://schemas.openxmlformats.org/officeDocument/2006/relationships/tags" Target="../tags/tag821.xml"/><Relationship Id="rId2" Type="http://schemas.openxmlformats.org/officeDocument/2006/relationships/slideLayout" Target="../slideLayouts/slideLayout7.xml"/><Relationship Id="rId3" Type="http://schemas.openxmlformats.org/officeDocument/2006/relationships/notesSlide" Target="../notesSlides/notesSlide38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30.xml"/></Relationships>
</file>

<file path=ppt/slides/_rels/slide797.xml.rels><?xml version='1.0' encoding='UTF-8' standalone='yes'?>
<Relationships xmlns="http://schemas.openxmlformats.org/package/2006/relationships"><Relationship Id="rId1" Type="http://schemas.openxmlformats.org/officeDocument/2006/relationships/tags" Target="../tags/tag824.xml"/><Relationship Id="rId2" Type="http://schemas.openxmlformats.org/officeDocument/2006/relationships/slideLayout" Target="../slideLayouts/slideLayout7.xml"/><Relationship Id="rId3" Type="http://schemas.openxmlformats.org/officeDocument/2006/relationships/notesSlide" Target="../notesSlides/notesSlide39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33.xml"/></Relationships>
</file>

<file path=ppt/slides/_rels/slide798.xml.rels><?xml version='1.0' encoding='UTF-8' standalone='yes'?>
<Relationships xmlns="http://schemas.openxmlformats.org/package/2006/relationships"><Relationship Id="rId1" Type="http://schemas.openxmlformats.org/officeDocument/2006/relationships/tags" Target="../tags/tag825.xml"/><Relationship Id="rId2" Type="http://schemas.openxmlformats.org/officeDocument/2006/relationships/slideLayout" Target="../slideLayouts/slideLayout7.xml"/><Relationship Id="rId3" Type="http://schemas.openxmlformats.org/officeDocument/2006/relationships/notesSlide" Target="../notesSlides/notesSlide39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34.xml"/></Relationships>
</file>

<file path=ppt/slides/_rels/slide799.xml.rels><?xml version='1.0' encoding='UTF-8' standalone='yes'?>
<Relationships xmlns="http://schemas.openxmlformats.org/package/2006/relationships"><Relationship Id="rId1" Type="http://schemas.openxmlformats.org/officeDocument/2006/relationships/tags" Target="../tags/tag826.xml"/><Relationship Id="rId2" Type="http://schemas.openxmlformats.org/officeDocument/2006/relationships/slideLayout" Target="../slideLayouts/slideLayout7.xml"/><Relationship Id="rId3" Type="http://schemas.openxmlformats.org/officeDocument/2006/relationships/notesSlide" Target="../notesSlides/notesSlide39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35.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chart" Target="../charts/chart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01.xml.rels><?xml version='1.0' encoding='UTF-8' standalone='yes'?>
<Relationships xmlns="http://schemas.openxmlformats.org/package/2006/relationships"><Relationship Id="rId1" Type="http://schemas.openxmlformats.org/officeDocument/2006/relationships/tags" Target="../tags/tag828.xml"/><Relationship Id="rId2" Type="http://schemas.openxmlformats.org/officeDocument/2006/relationships/slideLayout" Target="../slideLayouts/slideLayout7.xml"/><Relationship Id="rId3" Type="http://schemas.openxmlformats.org/officeDocument/2006/relationships/notesSlide" Target="../notesSlides/notesSlide39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37.xml"/></Relationships>
</file>

<file path=ppt/slides/_rels/slide802.xml.rels><?xml version='1.0' encoding='UTF-8' standalone='yes'?>
<Relationships xmlns="http://schemas.openxmlformats.org/package/2006/relationships"><Relationship Id="rId1" Type="http://schemas.openxmlformats.org/officeDocument/2006/relationships/tags" Target="../tags/tag829.xml"/><Relationship Id="rId2" Type="http://schemas.openxmlformats.org/officeDocument/2006/relationships/slideLayout" Target="../slideLayouts/slideLayout7.xml"/><Relationship Id="rId3" Type="http://schemas.openxmlformats.org/officeDocument/2006/relationships/notesSlide" Target="../notesSlides/notesSlide39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38.xml"/></Relationships>
</file>

<file path=ppt/slides/_rels/slide803.xml.rels><?xml version='1.0' encoding='UTF-8' standalone='yes'?>
<Relationships xmlns="http://schemas.openxmlformats.org/package/2006/relationships"><Relationship Id="rId1" Type="http://schemas.openxmlformats.org/officeDocument/2006/relationships/tags" Target="../tags/tag830.xml"/><Relationship Id="rId2" Type="http://schemas.openxmlformats.org/officeDocument/2006/relationships/slideLayout" Target="../slideLayouts/slideLayout7.xml"/><Relationship Id="rId3" Type="http://schemas.openxmlformats.org/officeDocument/2006/relationships/notesSlide" Target="../notesSlides/notesSlide39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39.xml"/></Relationships>
</file>

<file path=ppt/slides/_rels/slide808.xml.rels><?xml version='1.0' encoding='UTF-8' standalone='yes'?>
<Relationships xmlns="http://schemas.openxmlformats.org/package/2006/relationships"><Relationship Id="rId1" Type="http://schemas.openxmlformats.org/officeDocument/2006/relationships/tags" Target="../tags/tag835.xml"/><Relationship Id="rId2" Type="http://schemas.openxmlformats.org/officeDocument/2006/relationships/slideLayout" Target="../slideLayouts/slideLayout7.xml"/><Relationship Id="rId3" Type="http://schemas.openxmlformats.org/officeDocument/2006/relationships/notesSlide" Target="../notesSlides/notesSlide40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44.xml"/></Relationships>
</file>

<file path=ppt/slides/_rels/slide809.xml.rels><?xml version='1.0' encoding='UTF-8' standalone='yes'?>
<Relationships xmlns="http://schemas.openxmlformats.org/package/2006/relationships"><Relationship Id="rId1" Type="http://schemas.openxmlformats.org/officeDocument/2006/relationships/tags" Target="../tags/tag836.xml"/><Relationship Id="rId2" Type="http://schemas.openxmlformats.org/officeDocument/2006/relationships/slideLayout" Target="../slideLayouts/slideLayout7.xml"/><Relationship Id="rId3" Type="http://schemas.openxmlformats.org/officeDocument/2006/relationships/notesSlide" Target="../notesSlides/notesSlide40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45.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chart" Target="../charts/chart8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10.xml.rels><?xml version='1.0' encoding='UTF-8' standalone='yes'?>
<Relationships xmlns="http://schemas.openxmlformats.org/package/2006/relationships"><Relationship Id="rId1" Type="http://schemas.openxmlformats.org/officeDocument/2006/relationships/tags" Target="../tags/tag837.xml"/><Relationship Id="rId2" Type="http://schemas.openxmlformats.org/officeDocument/2006/relationships/slideLayout" Target="../slideLayouts/slideLayout7.xml"/><Relationship Id="rId3" Type="http://schemas.openxmlformats.org/officeDocument/2006/relationships/notesSlide" Target="../notesSlides/notesSlide40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46.xml"/></Relationships>
</file>

<file path=ppt/slides/_rels/slide812.xml.rels><?xml version='1.0' encoding='UTF-8' standalone='yes'?>
<Relationships xmlns="http://schemas.openxmlformats.org/package/2006/relationships"><Relationship Id="rId1" Type="http://schemas.openxmlformats.org/officeDocument/2006/relationships/tags" Target="../tags/tag839.xml"/><Relationship Id="rId2" Type="http://schemas.openxmlformats.org/officeDocument/2006/relationships/slideLayout" Target="../slideLayouts/slideLayout7.xml"/><Relationship Id="rId3" Type="http://schemas.openxmlformats.org/officeDocument/2006/relationships/notesSlide" Target="../notesSlides/notesSlide40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48.xml"/></Relationships>
</file>

<file path=ppt/slides/_rels/slide813.xml.rels><?xml version='1.0' encoding='UTF-8' standalone='yes'?>
<Relationships xmlns="http://schemas.openxmlformats.org/package/2006/relationships"><Relationship Id="rId1" Type="http://schemas.openxmlformats.org/officeDocument/2006/relationships/tags" Target="../tags/tag840.xml"/><Relationship Id="rId2" Type="http://schemas.openxmlformats.org/officeDocument/2006/relationships/slideLayout" Target="../slideLayouts/slideLayout7.xml"/><Relationship Id="rId3" Type="http://schemas.openxmlformats.org/officeDocument/2006/relationships/notesSlide" Target="../notesSlides/notesSlide40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49.xml"/></Relationships>
</file>

<file path=ppt/slides/_rels/slide814.xml.rels><?xml version='1.0' encoding='UTF-8' standalone='yes'?>
<Relationships xmlns="http://schemas.openxmlformats.org/package/2006/relationships"><Relationship Id="rId1" Type="http://schemas.openxmlformats.org/officeDocument/2006/relationships/tags" Target="../tags/tag841.xml"/><Relationship Id="rId2" Type="http://schemas.openxmlformats.org/officeDocument/2006/relationships/slideLayout" Target="../slideLayouts/slideLayout7.xml"/><Relationship Id="rId3" Type="http://schemas.openxmlformats.org/officeDocument/2006/relationships/notesSlide" Target="../notesSlides/notesSlide40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50.xml"/></Relationships>
</file>

<file path=ppt/slides/_rels/slide816.xml.rels><?xml version='1.0' encoding='UTF-8' standalone='yes'?>
<Relationships xmlns="http://schemas.openxmlformats.org/package/2006/relationships"><Relationship Id="rId1" Type="http://schemas.openxmlformats.org/officeDocument/2006/relationships/tags" Target="../tags/tag843.xml"/><Relationship Id="rId2" Type="http://schemas.openxmlformats.org/officeDocument/2006/relationships/slideLayout" Target="../slideLayouts/slideLayout7.xml"/><Relationship Id="rId3" Type="http://schemas.openxmlformats.org/officeDocument/2006/relationships/notesSlide" Target="../notesSlides/notesSlide41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52.xml"/></Relationships>
</file>

<file path=ppt/slides/_rels/slide819.xml.rels><?xml version='1.0' encoding='UTF-8' standalone='yes'?>
<Relationships xmlns="http://schemas.openxmlformats.org/package/2006/relationships"><Relationship Id="rId1" Type="http://schemas.openxmlformats.org/officeDocument/2006/relationships/tags" Target="../tags/tag846.xml"/><Relationship Id="rId2" Type="http://schemas.openxmlformats.org/officeDocument/2006/relationships/slideLayout" Target="../slideLayouts/slideLayout7.xml"/><Relationship Id="rId3" Type="http://schemas.openxmlformats.org/officeDocument/2006/relationships/notesSlide" Target="../notesSlides/notesSlide41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55.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chart" Target="../charts/chart8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20.xml.rels><?xml version='1.0' encoding='UTF-8' standalone='yes'?>
<Relationships xmlns="http://schemas.openxmlformats.org/package/2006/relationships"><Relationship Id="rId1" Type="http://schemas.openxmlformats.org/officeDocument/2006/relationships/tags" Target="../tags/tag847.xml"/><Relationship Id="rId2" Type="http://schemas.openxmlformats.org/officeDocument/2006/relationships/slideLayout" Target="../slideLayouts/slideLayout7.xml"/><Relationship Id="rId3" Type="http://schemas.openxmlformats.org/officeDocument/2006/relationships/notesSlide" Target="../notesSlides/notesSlide41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56.xml"/></Relationships>
</file>

<file path=ppt/slides/_rels/slide821.xml.rels><?xml version='1.0' encoding='UTF-8' standalone='yes'?>
<Relationships xmlns="http://schemas.openxmlformats.org/package/2006/relationships"><Relationship Id="rId1" Type="http://schemas.openxmlformats.org/officeDocument/2006/relationships/tags" Target="../tags/tag848.xml"/><Relationship Id="rId2" Type="http://schemas.openxmlformats.org/officeDocument/2006/relationships/slideLayout" Target="../slideLayouts/slideLayout7.xml"/><Relationship Id="rId3" Type="http://schemas.openxmlformats.org/officeDocument/2006/relationships/notesSlide" Target="../notesSlides/notesSlide41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57.xml"/></Relationships>
</file>

<file path=ppt/slides/_rels/slide823.xml.rels><?xml version='1.0' encoding='UTF-8' standalone='yes'?>
<Relationships xmlns="http://schemas.openxmlformats.org/package/2006/relationships"><Relationship Id="rId1" Type="http://schemas.openxmlformats.org/officeDocument/2006/relationships/tags" Target="../tags/tag850.xml"/><Relationship Id="rId2" Type="http://schemas.openxmlformats.org/officeDocument/2006/relationships/slideLayout" Target="../slideLayouts/slideLayout7.xml"/><Relationship Id="rId3" Type="http://schemas.openxmlformats.org/officeDocument/2006/relationships/notesSlide" Target="../notesSlides/notesSlide41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59.xml"/></Relationships>
</file>

<file path=ppt/slides/_rels/slide824.xml.rels><?xml version='1.0' encoding='UTF-8' standalone='yes'?>
<Relationships xmlns="http://schemas.openxmlformats.org/package/2006/relationships"><Relationship Id="rId1" Type="http://schemas.openxmlformats.org/officeDocument/2006/relationships/tags" Target="../tags/tag851.xml"/><Relationship Id="rId2" Type="http://schemas.openxmlformats.org/officeDocument/2006/relationships/slideLayout" Target="../slideLayouts/slideLayout7.xml"/><Relationship Id="rId3" Type="http://schemas.openxmlformats.org/officeDocument/2006/relationships/notesSlide" Target="../notesSlides/notesSlide41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60.xml"/></Relationships>
</file>

<file path=ppt/slides/_rels/slide825.xml.rels><?xml version='1.0' encoding='UTF-8' standalone='yes'?>
<Relationships xmlns="http://schemas.openxmlformats.org/package/2006/relationships"><Relationship Id="rId1" Type="http://schemas.openxmlformats.org/officeDocument/2006/relationships/tags" Target="../tags/tag852.xml"/><Relationship Id="rId2" Type="http://schemas.openxmlformats.org/officeDocument/2006/relationships/slideLayout" Target="../slideLayouts/slideLayout7.xml"/><Relationship Id="rId3" Type="http://schemas.openxmlformats.org/officeDocument/2006/relationships/notesSlide" Target="../notesSlides/notesSlide42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61.xml"/></Relationships>
</file>

<file path=ppt/slides/_rels/slide826.xml.rels><?xml version='1.0' encoding='UTF-8' standalone='yes'?>
<Relationships xmlns="http://schemas.openxmlformats.org/package/2006/relationships"><Relationship Id="rId1" Type="http://schemas.openxmlformats.org/officeDocument/2006/relationships/tags" Target="../tags/tag853.xml"/><Relationship Id="rId2" Type="http://schemas.openxmlformats.org/officeDocument/2006/relationships/slideLayout" Target="../slideLayouts/slideLayout7.xml"/><Relationship Id="rId3" Type="http://schemas.openxmlformats.org/officeDocument/2006/relationships/notesSlide" Target="../notesSlides/notesSlide42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62.xml"/></Relationships>
</file>

<file path=ppt/slides/_rels/slide827.xml.rels><?xml version='1.0' encoding='UTF-8' standalone='yes'?>
<Relationships xmlns="http://schemas.openxmlformats.org/package/2006/relationships"><Relationship Id="rId1" Type="http://schemas.openxmlformats.org/officeDocument/2006/relationships/tags" Target="../tags/tag854.xml"/><Relationship Id="rId2" Type="http://schemas.openxmlformats.org/officeDocument/2006/relationships/slideLayout" Target="../slideLayouts/slideLayout7.xml"/><Relationship Id="rId3" Type="http://schemas.openxmlformats.org/officeDocument/2006/relationships/notesSlide" Target="../notesSlides/notesSlide42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63.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chart" Target="../charts/chart8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30.xml.rels><?xml version='1.0' encoding='UTF-8' standalone='yes'?>
<Relationships xmlns="http://schemas.openxmlformats.org/package/2006/relationships"><Relationship Id="rId1" Type="http://schemas.openxmlformats.org/officeDocument/2006/relationships/tags" Target="../tags/tag857.xml"/><Relationship Id="rId2" Type="http://schemas.openxmlformats.org/officeDocument/2006/relationships/slideLayout" Target="../slideLayouts/slideLayout7.xml"/><Relationship Id="rId3" Type="http://schemas.openxmlformats.org/officeDocument/2006/relationships/notesSlide" Target="../notesSlides/notesSlide42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66.xml"/></Relationships>
</file>

<file path=ppt/slides/_rels/slide831.xml.rels><?xml version='1.0' encoding='UTF-8' standalone='yes'?>
<Relationships xmlns="http://schemas.openxmlformats.org/package/2006/relationships"><Relationship Id="rId1" Type="http://schemas.openxmlformats.org/officeDocument/2006/relationships/tags" Target="../tags/tag858.xml"/><Relationship Id="rId2" Type="http://schemas.openxmlformats.org/officeDocument/2006/relationships/slideLayout" Target="../slideLayouts/slideLayout7.xml"/><Relationship Id="rId3" Type="http://schemas.openxmlformats.org/officeDocument/2006/relationships/notesSlide" Target="../notesSlides/notesSlide42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67.xml"/></Relationships>
</file>

<file path=ppt/slides/_rels/slide832.xml.rels><?xml version='1.0' encoding='UTF-8' standalone='yes'?>
<Relationships xmlns="http://schemas.openxmlformats.org/package/2006/relationships"><Relationship Id="rId1" Type="http://schemas.openxmlformats.org/officeDocument/2006/relationships/tags" Target="../tags/tag859.xml"/><Relationship Id="rId2" Type="http://schemas.openxmlformats.org/officeDocument/2006/relationships/slideLayout" Target="../slideLayouts/slideLayout7.xml"/><Relationship Id="rId3" Type="http://schemas.openxmlformats.org/officeDocument/2006/relationships/notesSlide" Target="../notesSlides/notesSlide42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68.xml"/></Relationships>
</file>

<file path=ppt/slides/_rels/slide834.xml.rels><?xml version='1.0' encoding='UTF-8' standalone='yes'?>
<Relationships xmlns="http://schemas.openxmlformats.org/package/2006/relationships"><Relationship Id="rId1" Type="http://schemas.openxmlformats.org/officeDocument/2006/relationships/tags" Target="../tags/tag861.xml"/><Relationship Id="rId2" Type="http://schemas.openxmlformats.org/officeDocument/2006/relationships/slideLayout" Target="../slideLayouts/slideLayout7.xml"/><Relationship Id="rId3" Type="http://schemas.openxmlformats.org/officeDocument/2006/relationships/notesSlide" Target="../notesSlides/notesSlide42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70.xml"/></Relationships>
</file>

<file path=ppt/slides/_rels/slide835.xml.rels><?xml version='1.0' encoding='UTF-8' standalone='yes'?>
<Relationships xmlns="http://schemas.openxmlformats.org/package/2006/relationships"><Relationship Id="rId1" Type="http://schemas.openxmlformats.org/officeDocument/2006/relationships/tags" Target="../tags/tag862.xml"/><Relationship Id="rId2" Type="http://schemas.openxmlformats.org/officeDocument/2006/relationships/slideLayout" Target="../slideLayouts/slideLayout7.xml"/><Relationship Id="rId3" Type="http://schemas.openxmlformats.org/officeDocument/2006/relationships/notesSlide" Target="../notesSlides/notesSlide43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71.xml"/></Relationships>
</file>

<file path=ppt/slides/_rels/slide837.xml.rels><?xml version='1.0' encoding='UTF-8' standalone='yes'?>
<Relationships xmlns="http://schemas.openxmlformats.org/package/2006/relationships"><Relationship Id="rId1" Type="http://schemas.openxmlformats.org/officeDocument/2006/relationships/tags" Target="../tags/tag864.xml"/><Relationship Id="rId2" Type="http://schemas.openxmlformats.org/officeDocument/2006/relationships/slideLayout" Target="../slideLayouts/slideLayout7.xml"/><Relationship Id="rId3" Type="http://schemas.openxmlformats.org/officeDocument/2006/relationships/notesSlide" Target="../notesSlides/notesSlide43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73.xml"/></Relationships>
</file>

<file path=ppt/slides/_rels/slide838.xml.rels><?xml version='1.0' encoding='UTF-8' standalone='yes'?>
<Relationships xmlns="http://schemas.openxmlformats.org/package/2006/relationships"><Relationship Id="rId1" Type="http://schemas.openxmlformats.org/officeDocument/2006/relationships/tags" Target="../tags/tag865.xml"/><Relationship Id="rId2" Type="http://schemas.openxmlformats.org/officeDocument/2006/relationships/slideLayout" Target="../slideLayouts/slideLayout7.xml"/><Relationship Id="rId3" Type="http://schemas.openxmlformats.org/officeDocument/2006/relationships/notesSlide" Target="../notesSlides/notesSlide43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74.xml"/></Relationships>
</file>

<file path=ppt/slides/_rels/slide841.xml.rels><?xml version='1.0' encoding='UTF-8' standalone='yes'?>
<Relationships xmlns="http://schemas.openxmlformats.org/package/2006/relationships"><Relationship Id="rId1" Type="http://schemas.openxmlformats.org/officeDocument/2006/relationships/tags" Target="../tags/tag868.xml"/><Relationship Id="rId2" Type="http://schemas.openxmlformats.org/officeDocument/2006/relationships/slideLayout" Target="../slideLayouts/slideLayout7.xml"/><Relationship Id="rId3" Type="http://schemas.openxmlformats.org/officeDocument/2006/relationships/notesSlide" Target="../notesSlides/notesSlide43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77.xml"/></Relationships>
</file>

<file path=ppt/slides/_rels/slide842.xml.rels><?xml version='1.0' encoding='UTF-8' standalone='yes'?>
<Relationships xmlns="http://schemas.openxmlformats.org/package/2006/relationships"><Relationship Id="rId1" Type="http://schemas.openxmlformats.org/officeDocument/2006/relationships/tags" Target="../tags/tag869.xml"/><Relationship Id="rId2" Type="http://schemas.openxmlformats.org/officeDocument/2006/relationships/slideLayout" Target="../slideLayouts/slideLayout7.xml"/><Relationship Id="rId3" Type="http://schemas.openxmlformats.org/officeDocument/2006/relationships/notesSlide" Target="../notesSlides/notesSlide43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78.xml"/></Relationships>
</file>

<file path=ppt/slides/_rels/slide843.xml.rels><?xml version='1.0' encoding='UTF-8' standalone='yes'?>
<Relationships xmlns="http://schemas.openxmlformats.org/package/2006/relationships"><Relationship Id="rId1" Type="http://schemas.openxmlformats.org/officeDocument/2006/relationships/tags" Target="../tags/tag870.xml"/><Relationship Id="rId2" Type="http://schemas.openxmlformats.org/officeDocument/2006/relationships/slideLayout" Target="../slideLayouts/slideLayout7.xml"/><Relationship Id="rId3" Type="http://schemas.openxmlformats.org/officeDocument/2006/relationships/notesSlide" Target="../notesSlides/notesSlide43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79.xml"/></Relationships>
</file>

<file path=ppt/slides/_rels/slide845.xml.rels><?xml version='1.0' encoding='UTF-8' standalone='yes'?>
<Relationships xmlns="http://schemas.openxmlformats.org/package/2006/relationships"><Relationship Id="rId1" Type="http://schemas.openxmlformats.org/officeDocument/2006/relationships/tags" Target="../tags/tag872.xml"/><Relationship Id="rId2" Type="http://schemas.openxmlformats.org/officeDocument/2006/relationships/slideLayout" Target="../slideLayouts/slideLayout7.xml"/><Relationship Id="rId3" Type="http://schemas.openxmlformats.org/officeDocument/2006/relationships/notesSlide" Target="../notesSlides/notesSlide44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81.xml"/></Relationships>
</file>

<file path=ppt/slides/_rels/slide848.xml.rels><?xml version='1.0' encoding='UTF-8' standalone='yes'?>
<Relationships xmlns="http://schemas.openxmlformats.org/package/2006/relationships"><Relationship Id="rId1" Type="http://schemas.openxmlformats.org/officeDocument/2006/relationships/tags" Target="../tags/tag875.xml"/><Relationship Id="rId2" Type="http://schemas.openxmlformats.org/officeDocument/2006/relationships/slideLayout" Target="../slideLayouts/slideLayout7.xml"/><Relationship Id="rId3" Type="http://schemas.openxmlformats.org/officeDocument/2006/relationships/notesSlide" Target="../notesSlides/notesSlide44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84.xml"/></Relationships>
</file>

<file path=ppt/slides/_rels/slide849.xml.rels><?xml version='1.0' encoding='UTF-8' standalone='yes'?>
<Relationships xmlns="http://schemas.openxmlformats.org/package/2006/relationships"><Relationship Id="rId1" Type="http://schemas.openxmlformats.org/officeDocument/2006/relationships/tags" Target="../tags/tag876.xml"/><Relationship Id="rId2" Type="http://schemas.openxmlformats.org/officeDocument/2006/relationships/slideLayout" Target="../slideLayouts/slideLayout7.xml"/><Relationship Id="rId3" Type="http://schemas.openxmlformats.org/officeDocument/2006/relationships/notesSlide" Target="../notesSlides/notesSlide44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85.xml"/></Relationships>
</file>

<file path=ppt/slides/_rels/slide850.xml.rels><?xml version='1.0' encoding='UTF-8' standalone='yes'?>
<Relationships xmlns="http://schemas.openxmlformats.org/package/2006/relationships"><Relationship Id="rId1" Type="http://schemas.openxmlformats.org/officeDocument/2006/relationships/tags" Target="../tags/tag877.xml"/><Relationship Id="rId2" Type="http://schemas.openxmlformats.org/officeDocument/2006/relationships/slideLayout" Target="../slideLayouts/slideLayout7.xml"/><Relationship Id="rId3" Type="http://schemas.openxmlformats.org/officeDocument/2006/relationships/notesSlide" Target="../notesSlides/notesSlide44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86.xml"/></Relationships>
</file>

<file path=ppt/slides/_rels/slide852.xml.rels><?xml version='1.0' encoding='UTF-8' standalone='yes'?>
<Relationships xmlns="http://schemas.openxmlformats.org/package/2006/relationships"><Relationship Id="rId1" Type="http://schemas.openxmlformats.org/officeDocument/2006/relationships/tags" Target="../tags/tag879.xml"/><Relationship Id="rId2" Type="http://schemas.openxmlformats.org/officeDocument/2006/relationships/slideLayout" Target="../slideLayouts/slideLayout7.xml"/><Relationship Id="rId3" Type="http://schemas.openxmlformats.org/officeDocument/2006/relationships/notesSlide" Target="../notesSlides/notesSlide44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88.xml"/></Relationships>
</file>

<file path=ppt/slides/_rels/slide853.xml.rels><?xml version='1.0' encoding='UTF-8' standalone='yes'?>
<Relationships xmlns="http://schemas.openxmlformats.org/package/2006/relationships"><Relationship Id="rId1" Type="http://schemas.openxmlformats.org/officeDocument/2006/relationships/tags" Target="../tags/tag880.xml"/><Relationship Id="rId2" Type="http://schemas.openxmlformats.org/officeDocument/2006/relationships/slideLayout" Target="../slideLayouts/slideLayout7.xml"/><Relationship Id="rId3" Type="http://schemas.openxmlformats.org/officeDocument/2006/relationships/notesSlide" Target="../notesSlides/notesSlide44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89.xml"/></Relationships>
</file>

<file path=ppt/slides/_rels/slide854.xml.rels><?xml version='1.0' encoding='UTF-8' standalone='yes'?>
<Relationships xmlns="http://schemas.openxmlformats.org/package/2006/relationships"><Relationship Id="rId1" Type="http://schemas.openxmlformats.org/officeDocument/2006/relationships/tags" Target="../tags/tag881.xml"/><Relationship Id="rId2" Type="http://schemas.openxmlformats.org/officeDocument/2006/relationships/slideLayout" Target="../slideLayouts/slideLayout7.xml"/><Relationship Id="rId3" Type="http://schemas.openxmlformats.org/officeDocument/2006/relationships/notesSlide" Target="../notesSlides/notesSlide44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90.xml"/></Relationships>
</file>

<file path=ppt/slides/_rels/slide856.xml.rels><?xml version='1.0' encoding='UTF-8' standalone='yes'?>
<Relationships xmlns="http://schemas.openxmlformats.org/package/2006/relationships"><Relationship Id="rId1" Type="http://schemas.openxmlformats.org/officeDocument/2006/relationships/tags" Target="../tags/tag883.xml"/><Relationship Id="rId2" Type="http://schemas.openxmlformats.org/officeDocument/2006/relationships/slideLayout" Target="../slideLayouts/slideLayout7.xml"/><Relationship Id="rId3" Type="http://schemas.openxmlformats.org/officeDocument/2006/relationships/notesSlide" Target="../notesSlides/notesSlide45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92.xml"/></Relationships>
</file>

<file path=ppt/slides/_rels/slide859.xml.rels><?xml version='1.0' encoding='UTF-8' standalone='yes'?>
<Relationships xmlns="http://schemas.openxmlformats.org/package/2006/relationships"><Relationship Id="rId1" Type="http://schemas.openxmlformats.org/officeDocument/2006/relationships/tags" Target="../tags/tag886.xml"/><Relationship Id="rId2" Type="http://schemas.openxmlformats.org/officeDocument/2006/relationships/slideLayout" Target="../slideLayouts/slideLayout7.xml"/><Relationship Id="rId3" Type="http://schemas.openxmlformats.org/officeDocument/2006/relationships/notesSlide" Target="../notesSlides/notesSlide45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95.xml"/></Relationships>
</file>

<file path=ppt/slides/_rels/slide860.xml.rels><?xml version='1.0' encoding='UTF-8' standalone='yes'?>
<Relationships xmlns="http://schemas.openxmlformats.org/package/2006/relationships"><Relationship Id="rId1" Type="http://schemas.openxmlformats.org/officeDocument/2006/relationships/tags" Target="../tags/tag887.xml"/><Relationship Id="rId2" Type="http://schemas.openxmlformats.org/officeDocument/2006/relationships/slideLayout" Target="../slideLayouts/slideLayout7.xml"/><Relationship Id="rId3" Type="http://schemas.openxmlformats.org/officeDocument/2006/relationships/notesSlide" Target="../notesSlides/notesSlide45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96.xml"/></Relationships>
</file>

<file path=ppt/slides/_rels/slide861.xml.rels><?xml version='1.0' encoding='UTF-8' standalone='yes'?>
<Relationships xmlns="http://schemas.openxmlformats.org/package/2006/relationships"><Relationship Id="rId1" Type="http://schemas.openxmlformats.org/officeDocument/2006/relationships/tags" Target="../tags/tag888.xml"/><Relationship Id="rId2" Type="http://schemas.openxmlformats.org/officeDocument/2006/relationships/slideLayout" Target="../slideLayouts/slideLayout7.xml"/><Relationship Id="rId3" Type="http://schemas.openxmlformats.org/officeDocument/2006/relationships/notesSlide" Target="../notesSlides/notesSlide45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97.xml"/></Relationships>
</file>

<file path=ppt/slides/_rels/slide863.xml.rels><?xml version='1.0' encoding='UTF-8' standalone='yes'?>
<Relationships xmlns="http://schemas.openxmlformats.org/package/2006/relationships"><Relationship Id="rId1" Type="http://schemas.openxmlformats.org/officeDocument/2006/relationships/tags" Target="../tags/tag890.xml"/><Relationship Id="rId2" Type="http://schemas.openxmlformats.org/officeDocument/2006/relationships/slideLayout" Target="../slideLayouts/slideLayout7.xml"/><Relationship Id="rId3" Type="http://schemas.openxmlformats.org/officeDocument/2006/relationships/notesSlide" Target="../notesSlides/notesSlide45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699.xml"/></Relationships>
</file>

<file path=ppt/slides/_rels/slide864.xml.rels><?xml version='1.0' encoding='UTF-8' standalone='yes'?>
<Relationships xmlns="http://schemas.openxmlformats.org/package/2006/relationships"><Relationship Id="rId1" Type="http://schemas.openxmlformats.org/officeDocument/2006/relationships/tags" Target="../tags/tag891.xml"/><Relationship Id="rId2" Type="http://schemas.openxmlformats.org/officeDocument/2006/relationships/slideLayout" Target="../slideLayouts/slideLayout7.xml"/><Relationship Id="rId3" Type="http://schemas.openxmlformats.org/officeDocument/2006/relationships/notesSlide" Target="../notesSlides/notesSlide45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00.xml"/></Relationships>
</file>

<file path=ppt/slides/_rels/slide865.xml.rels><?xml version='1.0' encoding='UTF-8' standalone='yes'?>
<Relationships xmlns="http://schemas.openxmlformats.org/package/2006/relationships"><Relationship Id="rId1" Type="http://schemas.openxmlformats.org/officeDocument/2006/relationships/tags" Target="../tags/tag892.xml"/><Relationship Id="rId2" Type="http://schemas.openxmlformats.org/officeDocument/2006/relationships/slideLayout" Target="../slideLayouts/slideLayout7.xml"/><Relationship Id="rId3" Type="http://schemas.openxmlformats.org/officeDocument/2006/relationships/notesSlide" Target="../notesSlides/notesSlide46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01.xml"/></Relationships>
</file>

<file path=ppt/slides/_rels/slide866.xml.rels><?xml version='1.0' encoding='UTF-8' standalone='yes'?>
<Relationships xmlns="http://schemas.openxmlformats.org/package/2006/relationships"><Relationship Id="rId1" Type="http://schemas.openxmlformats.org/officeDocument/2006/relationships/tags" Target="../tags/tag893.xml"/><Relationship Id="rId2" Type="http://schemas.openxmlformats.org/officeDocument/2006/relationships/slideLayout" Target="../slideLayouts/slideLayout7.xml"/><Relationship Id="rId3" Type="http://schemas.openxmlformats.org/officeDocument/2006/relationships/notesSlide" Target="../notesSlides/notesSlide46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02.xml"/></Relationships>
</file>

<file path=ppt/slides/_rels/slide867.xml.rels><?xml version='1.0' encoding='UTF-8' standalone='yes'?>
<Relationships xmlns="http://schemas.openxmlformats.org/package/2006/relationships"><Relationship Id="rId1" Type="http://schemas.openxmlformats.org/officeDocument/2006/relationships/tags" Target="../tags/tag894.xml"/><Relationship Id="rId2" Type="http://schemas.openxmlformats.org/officeDocument/2006/relationships/slideLayout" Target="../slideLayouts/slideLayout7.xml"/><Relationship Id="rId3" Type="http://schemas.openxmlformats.org/officeDocument/2006/relationships/notesSlide" Target="../notesSlides/notesSlide46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03.xml"/></Relationships>
</file>

<file path=ppt/slides/_rels/slide870.xml.rels><?xml version='1.0' encoding='UTF-8' standalone='yes'?>
<Relationships xmlns="http://schemas.openxmlformats.org/package/2006/relationships"><Relationship Id="rId1" Type="http://schemas.openxmlformats.org/officeDocument/2006/relationships/tags" Target="../tags/tag897.xml"/><Relationship Id="rId2" Type="http://schemas.openxmlformats.org/officeDocument/2006/relationships/slideLayout" Target="../slideLayouts/slideLayout7.xml"/><Relationship Id="rId3" Type="http://schemas.openxmlformats.org/officeDocument/2006/relationships/notesSlide" Target="../notesSlides/notesSlide465.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06.xml"/></Relationships>
</file>

<file path=ppt/slides/_rels/slide871.xml.rels><?xml version='1.0' encoding='UTF-8' standalone='yes'?>
<Relationships xmlns="http://schemas.openxmlformats.org/package/2006/relationships"><Relationship Id="rId1" Type="http://schemas.openxmlformats.org/officeDocument/2006/relationships/tags" Target="../tags/tag898.xml"/><Relationship Id="rId2" Type="http://schemas.openxmlformats.org/officeDocument/2006/relationships/slideLayout" Target="../slideLayouts/slideLayout7.xml"/><Relationship Id="rId3" Type="http://schemas.openxmlformats.org/officeDocument/2006/relationships/notesSlide" Target="../notesSlides/notesSlide46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07.xml"/></Relationships>
</file>

<file path=ppt/slides/_rels/slide872.xml.rels><?xml version='1.0' encoding='UTF-8' standalone='yes'?>
<Relationships xmlns="http://schemas.openxmlformats.org/package/2006/relationships"><Relationship Id="rId1" Type="http://schemas.openxmlformats.org/officeDocument/2006/relationships/tags" Target="../tags/tag899.xml"/><Relationship Id="rId2" Type="http://schemas.openxmlformats.org/officeDocument/2006/relationships/slideLayout" Target="../slideLayouts/slideLayout7.xml"/><Relationship Id="rId3" Type="http://schemas.openxmlformats.org/officeDocument/2006/relationships/notesSlide" Target="../notesSlides/notesSlide46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08.xml"/></Relationships>
</file>

<file path=ppt/slides/_rels/slide874.xml.rels><?xml version='1.0' encoding='UTF-8' standalone='yes'?>
<Relationships xmlns="http://schemas.openxmlformats.org/package/2006/relationships"><Relationship Id="rId1" Type="http://schemas.openxmlformats.org/officeDocument/2006/relationships/tags" Target="../tags/tag901.xml"/><Relationship Id="rId2" Type="http://schemas.openxmlformats.org/officeDocument/2006/relationships/slideLayout" Target="../slideLayouts/slideLayout7.xml"/><Relationship Id="rId3" Type="http://schemas.openxmlformats.org/officeDocument/2006/relationships/notesSlide" Target="../notesSlides/notesSlide46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10.xml"/></Relationships>
</file>

<file path=ppt/slides/_rels/slide875.xml.rels><?xml version='1.0' encoding='UTF-8' standalone='yes'?>
<Relationships xmlns="http://schemas.openxmlformats.org/package/2006/relationships"><Relationship Id="rId1" Type="http://schemas.openxmlformats.org/officeDocument/2006/relationships/tags" Target="../tags/tag902.xml"/><Relationship Id="rId2" Type="http://schemas.openxmlformats.org/officeDocument/2006/relationships/slideLayout" Target="../slideLayouts/slideLayout7.xml"/><Relationship Id="rId3" Type="http://schemas.openxmlformats.org/officeDocument/2006/relationships/notesSlide" Target="../notesSlides/notesSlide47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11.xml"/></Relationships>
</file>

<file path=ppt/slides/_rels/slide876.xml.rels><?xml version='1.0' encoding='UTF-8' standalone='yes'?>
<Relationships xmlns="http://schemas.openxmlformats.org/package/2006/relationships"><Relationship Id="rId1" Type="http://schemas.openxmlformats.org/officeDocument/2006/relationships/tags" Target="../tags/tag903.xml"/><Relationship Id="rId2" Type="http://schemas.openxmlformats.org/officeDocument/2006/relationships/slideLayout" Target="../slideLayouts/slideLayout7.xml"/><Relationship Id="rId3" Type="http://schemas.openxmlformats.org/officeDocument/2006/relationships/notesSlide" Target="../notesSlides/notesSlide47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12.xml"/></Relationships>
</file>

<file path=ppt/slides/_rels/slide877.xml.rels><?xml version='1.0' encoding='UTF-8' standalone='yes'?>
<Relationships xmlns="http://schemas.openxmlformats.org/package/2006/relationships"><Relationship Id="rId1" Type="http://schemas.openxmlformats.org/officeDocument/2006/relationships/tags" Target="../tags/tag904.xml"/><Relationship Id="rId2" Type="http://schemas.openxmlformats.org/officeDocument/2006/relationships/slideLayout" Target="../slideLayouts/slideLayout7.xml"/><Relationship Id="rId3" Type="http://schemas.openxmlformats.org/officeDocument/2006/relationships/notesSlide" Target="../notesSlides/notesSlide47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13.xml"/></Relationships>
</file>

<file path=ppt/slides/_rels/slide878.xml.rels><?xml version='1.0' encoding='UTF-8' standalone='yes'?>
<Relationships xmlns="http://schemas.openxmlformats.org/package/2006/relationships"><Relationship Id="rId1" Type="http://schemas.openxmlformats.org/officeDocument/2006/relationships/tags" Target="../tags/tag905.xml"/><Relationship Id="rId2" Type="http://schemas.openxmlformats.org/officeDocument/2006/relationships/slideLayout" Target="../slideLayouts/slideLayout7.xml"/><Relationship Id="rId3" Type="http://schemas.openxmlformats.org/officeDocument/2006/relationships/notesSlide" Target="../notesSlides/notesSlide47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14.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chart" Target="../charts/chart8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81.xml.rels><?xml version='1.0' encoding='UTF-8' standalone='yes'?>
<Relationships xmlns="http://schemas.openxmlformats.org/package/2006/relationships"><Relationship Id="rId1" Type="http://schemas.openxmlformats.org/officeDocument/2006/relationships/tags" Target="../tags/tag908.xml"/><Relationship Id="rId2" Type="http://schemas.openxmlformats.org/officeDocument/2006/relationships/slideLayout" Target="../slideLayouts/slideLayout7.xml"/><Relationship Id="rId3" Type="http://schemas.openxmlformats.org/officeDocument/2006/relationships/notesSlide" Target="../notesSlides/notesSlide47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17.xml"/></Relationships>
</file>

<file path=ppt/slides/_rels/slide882.xml.rels><?xml version='1.0' encoding='UTF-8' standalone='yes'?>
<Relationships xmlns="http://schemas.openxmlformats.org/package/2006/relationships"><Relationship Id="rId1" Type="http://schemas.openxmlformats.org/officeDocument/2006/relationships/tags" Target="../tags/tag909.xml"/><Relationship Id="rId2" Type="http://schemas.openxmlformats.org/officeDocument/2006/relationships/slideLayout" Target="../slideLayouts/slideLayout7.xml"/><Relationship Id="rId3" Type="http://schemas.openxmlformats.org/officeDocument/2006/relationships/notesSlide" Target="../notesSlides/notesSlide47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18.xml"/></Relationships>
</file>

<file path=ppt/slides/_rels/slide883.xml.rels><?xml version='1.0' encoding='UTF-8' standalone='yes'?>
<Relationships xmlns="http://schemas.openxmlformats.org/package/2006/relationships"><Relationship Id="rId1" Type="http://schemas.openxmlformats.org/officeDocument/2006/relationships/tags" Target="../tags/tag910.xml"/><Relationship Id="rId2" Type="http://schemas.openxmlformats.org/officeDocument/2006/relationships/slideLayout" Target="../slideLayouts/slideLayout7.xml"/><Relationship Id="rId3" Type="http://schemas.openxmlformats.org/officeDocument/2006/relationships/notesSlide" Target="../notesSlides/notesSlide47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19.xml"/></Relationships>
</file>

<file path=ppt/slides/_rels/slide885.xml.rels><?xml version='1.0' encoding='UTF-8' standalone='yes'?>
<Relationships xmlns="http://schemas.openxmlformats.org/package/2006/relationships"><Relationship Id="rId1" Type="http://schemas.openxmlformats.org/officeDocument/2006/relationships/tags" Target="../tags/tag912.xml"/><Relationship Id="rId2" Type="http://schemas.openxmlformats.org/officeDocument/2006/relationships/slideLayout" Target="../slideLayouts/slideLayout7.xml"/><Relationship Id="rId3" Type="http://schemas.openxmlformats.org/officeDocument/2006/relationships/notesSlide" Target="../notesSlides/notesSlide480.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21.xml"/></Relationships>
</file>

<file path=ppt/slides/_rels/slide887.xml.rels><?xml version='1.0' encoding='UTF-8' standalone='yes'?>
<Relationships xmlns="http://schemas.openxmlformats.org/package/2006/relationships"><Relationship Id="rId1" Type="http://schemas.openxmlformats.org/officeDocument/2006/relationships/tags" Target="../tags/tag914.xml"/><Relationship Id="rId2" Type="http://schemas.openxmlformats.org/officeDocument/2006/relationships/slideLayout" Target="../slideLayouts/slideLayout7.xml"/><Relationship Id="rId3" Type="http://schemas.openxmlformats.org/officeDocument/2006/relationships/notesSlide" Target="../notesSlides/notesSlide48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23.xml"/></Relationships>
</file>

<file path=ppt/slides/_rels/slide888.xml.rels><?xml version='1.0' encoding='UTF-8' standalone='yes'?>
<Relationships xmlns="http://schemas.openxmlformats.org/package/2006/relationships"><Relationship Id="rId1" Type="http://schemas.openxmlformats.org/officeDocument/2006/relationships/tags" Target="../tags/tag915.xml"/><Relationship Id="rId2" Type="http://schemas.openxmlformats.org/officeDocument/2006/relationships/slideLayout" Target="../slideLayouts/slideLayout7.xml"/><Relationship Id="rId3" Type="http://schemas.openxmlformats.org/officeDocument/2006/relationships/notesSlide" Target="../notesSlides/notesSlide48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24.xml"/></Relationships>
</file>

<file path=ppt/slides/_rels/slide889.xml.rels><?xml version='1.0' encoding='UTF-8' standalone='yes'?>
<Relationships xmlns="http://schemas.openxmlformats.org/package/2006/relationships"><Relationship Id="rId1" Type="http://schemas.openxmlformats.org/officeDocument/2006/relationships/tags" Target="../tags/tag916.xml"/><Relationship Id="rId2" Type="http://schemas.openxmlformats.org/officeDocument/2006/relationships/slideLayout" Target="../slideLayouts/slideLayout7.xml"/><Relationship Id="rId3" Type="http://schemas.openxmlformats.org/officeDocument/2006/relationships/notesSlide" Target="../notesSlides/notesSlide48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25.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chart" Target="../charts/chart8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92.xml.rels><?xml version='1.0' encoding='UTF-8' standalone='yes'?>
<Relationships xmlns="http://schemas.openxmlformats.org/package/2006/relationships"><Relationship Id="rId1" Type="http://schemas.openxmlformats.org/officeDocument/2006/relationships/tags" Target="../tags/tag919.xml"/><Relationship Id="rId2" Type="http://schemas.openxmlformats.org/officeDocument/2006/relationships/slideLayout" Target="../slideLayouts/slideLayout7.xml"/><Relationship Id="rId3" Type="http://schemas.openxmlformats.org/officeDocument/2006/relationships/notesSlide" Target="../notesSlides/notesSlide48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28.xml"/></Relationships>
</file>

<file path=ppt/slides/_rels/slide893.xml.rels><?xml version='1.0' encoding='UTF-8' standalone='yes'?>
<Relationships xmlns="http://schemas.openxmlformats.org/package/2006/relationships"><Relationship Id="rId1" Type="http://schemas.openxmlformats.org/officeDocument/2006/relationships/tags" Target="../tags/tag920.xml"/><Relationship Id="rId2" Type="http://schemas.openxmlformats.org/officeDocument/2006/relationships/slideLayout" Target="../slideLayouts/slideLayout7.xml"/><Relationship Id="rId3" Type="http://schemas.openxmlformats.org/officeDocument/2006/relationships/notesSlide" Target="../notesSlides/notesSlide48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29.xml"/></Relationships>
</file>

<file path=ppt/slides/_rels/slide894.xml.rels><?xml version='1.0' encoding='UTF-8' standalone='yes'?>
<Relationships xmlns="http://schemas.openxmlformats.org/package/2006/relationships"><Relationship Id="rId1" Type="http://schemas.openxmlformats.org/officeDocument/2006/relationships/tags" Target="../tags/tag921.xml"/><Relationship Id="rId2" Type="http://schemas.openxmlformats.org/officeDocument/2006/relationships/slideLayout" Target="../slideLayouts/slideLayout7.xml"/><Relationship Id="rId3" Type="http://schemas.openxmlformats.org/officeDocument/2006/relationships/notesSlide" Target="../notesSlides/notesSlide489.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30.xml"/></Relationships>
</file>

<file path=ppt/slides/_rels/slide897.xml.rels><?xml version='1.0' encoding='UTF-8' standalone='yes'?>
<Relationships xmlns="http://schemas.openxmlformats.org/package/2006/relationships"><Relationship Id="rId1" Type="http://schemas.openxmlformats.org/officeDocument/2006/relationships/tags" Target="../tags/tag924.xml"/><Relationship Id="rId2" Type="http://schemas.openxmlformats.org/officeDocument/2006/relationships/slideLayout" Target="../slideLayouts/slideLayout7.xml"/><Relationship Id="rId3" Type="http://schemas.openxmlformats.org/officeDocument/2006/relationships/notesSlide" Target="../notesSlides/notesSlide49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33.xml"/></Relationships>
</file>

<file path=ppt/slides/_rels/slide898.xml.rels><?xml version='1.0' encoding='UTF-8' standalone='yes'?>
<Relationships xmlns="http://schemas.openxmlformats.org/package/2006/relationships"><Relationship Id="rId1" Type="http://schemas.openxmlformats.org/officeDocument/2006/relationships/tags" Target="../tags/tag925.xml"/><Relationship Id="rId2" Type="http://schemas.openxmlformats.org/officeDocument/2006/relationships/slideLayout" Target="../slideLayouts/slideLayout7.xml"/><Relationship Id="rId3" Type="http://schemas.openxmlformats.org/officeDocument/2006/relationships/notesSlide" Target="../notesSlides/notesSlide493.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34.xml"/></Relationships>
</file>

<file path=ppt/slides/_rels/slide899.xml.rels><?xml version='1.0' encoding='UTF-8' standalone='yes'?>
<Relationships xmlns="http://schemas.openxmlformats.org/package/2006/relationships"><Relationship Id="rId1" Type="http://schemas.openxmlformats.org/officeDocument/2006/relationships/tags" Target="../tags/tag926.xml"/><Relationship Id="rId2" Type="http://schemas.openxmlformats.org/officeDocument/2006/relationships/slideLayout" Target="../slideLayouts/slideLayout7.xml"/><Relationship Id="rId3" Type="http://schemas.openxmlformats.org/officeDocument/2006/relationships/notesSlide" Target="../notesSlides/notesSlide494.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35.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chart" Target="../charts/chart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chart" Target="../charts/chart9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901.xml.rels><?xml version='1.0' encoding='UTF-8' standalone='yes'?>
<Relationships xmlns="http://schemas.openxmlformats.org/package/2006/relationships"><Relationship Id="rId1" Type="http://schemas.openxmlformats.org/officeDocument/2006/relationships/tags" Target="../tags/tag928.xml"/><Relationship Id="rId2" Type="http://schemas.openxmlformats.org/officeDocument/2006/relationships/slideLayout" Target="../slideLayouts/slideLayout7.xml"/><Relationship Id="rId3" Type="http://schemas.openxmlformats.org/officeDocument/2006/relationships/notesSlide" Target="../notesSlides/notesSlide49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37.xml"/></Relationships>
</file>

<file path=ppt/slides/_rels/slide902.xml.rels><?xml version='1.0' encoding='UTF-8' standalone='yes'?>
<Relationships xmlns="http://schemas.openxmlformats.org/package/2006/relationships"><Relationship Id="rId1" Type="http://schemas.openxmlformats.org/officeDocument/2006/relationships/tags" Target="../tags/tag929.xml"/><Relationship Id="rId2" Type="http://schemas.openxmlformats.org/officeDocument/2006/relationships/slideLayout" Target="../slideLayouts/slideLayout7.xml"/><Relationship Id="rId3" Type="http://schemas.openxmlformats.org/officeDocument/2006/relationships/notesSlide" Target="../notesSlides/notesSlide497.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38.xml"/></Relationships>
</file>

<file path=ppt/slides/_rels/slide903.xml.rels><?xml version='1.0' encoding='UTF-8' standalone='yes'?>
<Relationships xmlns="http://schemas.openxmlformats.org/package/2006/relationships"><Relationship Id="rId1" Type="http://schemas.openxmlformats.org/officeDocument/2006/relationships/tags" Target="../tags/tag930.xml"/><Relationship Id="rId2" Type="http://schemas.openxmlformats.org/officeDocument/2006/relationships/slideLayout" Target="../slideLayouts/slideLayout7.xml"/><Relationship Id="rId3" Type="http://schemas.openxmlformats.org/officeDocument/2006/relationships/notesSlide" Target="../notesSlides/notesSlide498.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739.xml"/></Relationships>
</file>

<file path=ppt/slides/_rels/slide906.xml.rels><?xml version='1.0' encoding='UTF-8' standalone='yes'?>
<Relationships xmlns="http://schemas.openxmlformats.org/package/2006/relationships"><Relationship Id="rId1" Type="http://schemas.openxmlformats.org/officeDocument/2006/relationships/tags" Target="../tags/tag9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08.xml.rels><?xml version='1.0' encoding='UTF-8' standalone='yes'?>
<Relationships xmlns="http://schemas.openxmlformats.org/package/2006/relationships"><Relationship Id="rId1" Type="http://schemas.openxmlformats.org/officeDocument/2006/relationships/tags" Target="../tags/tag9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09.xml.rels><?xml version='1.0' encoding='UTF-8' standalone='yes'?>
<Relationships xmlns="http://schemas.openxmlformats.org/package/2006/relationships"><Relationship Id="rId1" Type="http://schemas.openxmlformats.org/officeDocument/2006/relationships/tags" Target="../tags/tag9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10.xml.rels><?xml version='1.0' encoding='UTF-8' standalone='yes'?>
<Relationships xmlns="http://schemas.openxmlformats.org/package/2006/relationships"><Relationship Id="rId1" Type="http://schemas.openxmlformats.org/officeDocument/2006/relationships/tags" Target="../tags/tag9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12.xml.rels><?xml version='1.0' encoding='UTF-8' standalone='yes'?>
<Relationships xmlns="http://schemas.openxmlformats.org/package/2006/relationships"><Relationship Id="rId1" Type="http://schemas.openxmlformats.org/officeDocument/2006/relationships/tags" Target="../tags/tag9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13.xml.rels><?xml version='1.0' encoding='UTF-8' standalone='yes'?>
<Relationships xmlns="http://schemas.openxmlformats.org/package/2006/relationships"><Relationship Id="rId1" Type="http://schemas.openxmlformats.org/officeDocument/2006/relationships/tags" Target="../tags/tag9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14.xml.rels><?xml version='1.0' encoding='UTF-8' standalone='yes'?>
<Relationships xmlns="http://schemas.openxmlformats.org/package/2006/relationships"><Relationship Id="rId1" Type="http://schemas.openxmlformats.org/officeDocument/2006/relationships/tags" Target="../tags/tag9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16.xml.rels><?xml version='1.0' encoding='UTF-8' standalone='yes'?>
<Relationships xmlns="http://schemas.openxmlformats.org/package/2006/relationships"><Relationship Id="rId1" Type="http://schemas.openxmlformats.org/officeDocument/2006/relationships/tags" Target="../tags/tag9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17.xml.rels><?xml version='1.0' encoding='UTF-8' standalone='yes'?>
<Relationships xmlns="http://schemas.openxmlformats.org/package/2006/relationships"><Relationship Id="rId1" Type="http://schemas.openxmlformats.org/officeDocument/2006/relationships/tags" Target="../tags/tag9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19.xml.rels><?xml version='1.0' encoding='UTF-8' standalone='yes'?>
<Relationships xmlns="http://schemas.openxmlformats.org/package/2006/relationships"><Relationship Id="rId1" Type="http://schemas.openxmlformats.org/officeDocument/2006/relationships/tags" Target="../tags/tag9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chart" Target="../charts/chart9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920.xml.rels><?xml version='1.0' encoding='UTF-8' standalone='yes'?>
<Relationships xmlns="http://schemas.openxmlformats.org/package/2006/relationships"><Relationship Id="rId1" Type="http://schemas.openxmlformats.org/officeDocument/2006/relationships/tags" Target="../tags/tag9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21.xml.rels><?xml version='1.0' encoding='UTF-8' standalone='yes'?>
<Relationships xmlns="http://schemas.openxmlformats.org/package/2006/relationships"><Relationship Id="rId1" Type="http://schemas.openxmlformats.org/officeDocument/2006/relationships/tags" Target="../tags/tag9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24.xml.rels><?xml version='1.0' encoding='UTF-8' standalone='yes'?>
<Relationships xmlns="http://schemas.openxmlformats.org/package/2006/relationships"><Relationship Id="rId1" Type="http://schemas.openxmlformats.org/officeDocument/2006/relationships/tags" Target="../tags/tag9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25.xml.rels><?xml version='1.0' encoding='UTF-8' standalone='yes'?>
<Relationships xmlns="http://schemas.openxmlformats.org/package/2006/relationships"><Relationship Id="rId1" Type="http://schemas.openxmlformats.org/officeDocument/2006/relationships/tags" Target="../tags/tag9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26.xml.rels><?xml version='1.0' encoding='UTF-8' standalone='yes'?>
<Relationships xmlns="http://schemas.openxmlformats.org/package/2006/relationships"><Relationship Id="rId1" Type="http://schemas.openxmlformats.org/officeDocument/2006/relationships/tags" Target="../tags/tag9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27.xml.rels><?xml version='1.0' encoding='UTF-8' standalone='yes'?>
<Relationships xmlns="http://schemas.openxmlformats.org/package/2006/relationships"><Relationship Id="rId1" Type="http://schemas.openxmlformats.org/officeDocument/2006/relationships/tags" Target="../tags/tag9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28.xml.rels><?xml version='1.0' encoding='UTF-8' standalone='yes'?>
<Relationships xmlns="http://schemas.openxmlformats.org/package/2006/relationships"><Relationship Id="rId1" Type="http://schemas.openxmlformats.org/officeDocument/2006/relationships/tags" Target="../tags/tag9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xml"/><Relationship Id="rId7" Type="http://schemas.openxmlformats.org/officeDocument/2006/relationships/chart" Target="../charts/chart94.xml"/><Relationship Id="rId8" Type="http://schemas.openxmlformats.org/officeDocument/2006/relationships/chart" Target="../charts/chart95.xml"/></Relationships>
</file>

<file path=ppt/slides/_rels/slide930.xml.rels><?xml version='1.0' encoding='UTF-8' standalone='yes'?>
<Relationships xmlns="http://schemas.openxmlformats.org/package/2006/relationships"><Relationship Id="rId1" Type="http://schemas.openxmlformats.org/officeDocument/2006/relationships/tags" Target="../tags/tag9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31.xml.rels><?xml version='1.0' encoding='UTF-8' standalone='yes'?>
<Relationships xmlns="http://schemas.openxmlformats.org/package/2006/relationships"><Relationship Id="rId1" Type="http://schemas.openxmlformats.org/officeDocument/2006/relationships/tags" Target="../tags/tag9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32.xml.rels><?xml version='1.0' encoding='UTF-8' standalone='yes'?>
<Relationships xmlns="http://schemas.openxmlformats.org/package/2006/relationships"><Relationship Id="rId1" Type="http://schemas.openxmlformats.org/officeDocument/2006/relationships/tags" Target="../tags/tag9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35.xml.rels><?xml version='1.0' encoding='UTF-8' standalone='yes'?>
<Relationships xmlns="http://schemas.openxmlformats.org/package/2006/relationships"><Relationship Id="rId1" Type="http://schemas.openxmlformats.org/officeDocument/2006/relationships/tags" Target="../tags/tag9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37.xml.rels><?xml version='1.0' encoding='UTF-8' standalone='yes'?>
<Relationships xmlns="http://schemas.openxmlformats.org/package/2006/relationships"><Relationship Id="rId1" Type="http://schemas.openxmlformats.org/officeDocument/2006/relationships/tags" Target="../tags/tag9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xml"/><Relationship Id="rId7" Type="http://schemas.openxmlformats.org/officeDocument/2006/relationships/chart" Target="../charts/chart97.xml"/><Relationship Id="rId8" Type="http://schemas.openxmlformats.org/officeDocument/2006/relationships/chart" Target="../charts/chart98.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xml"/><Relationship Id="rId7" Type="http://schemas.openxmlformats.org/officeDocument/2006/relationships/chart" Target="../charts/chart103.xml"/><Relationship Id="rId8" Type="http://schemas.openxmlformats.org/officeDocument/2006/relationships/chart" Target="../charts/chart104.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0713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4200"/>
            <a:ext cx="2375325" cy="126750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94200"/>
            <a:ext cx="2375326" cy="126750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0713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Effervescents Sans Alcool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420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895086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2145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8526"/>
            <a:ext cx="2375325" cy="125318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8526"/>
            <a:ext cx="2375326" cy="125318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2145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Rosé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85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2017509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QCA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6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09026776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RHO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3131589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35843124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CA B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7672882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CA A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0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5180367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CA D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2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8302884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CA E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2916106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CA C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5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3082375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QC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7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6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3558922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IDF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3081999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VC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6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90542107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QC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9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18888863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ES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87965214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NICOLAS AQU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907061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CA D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166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2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18796408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CA E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38648274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Effervescents | Malard Nicolas | CA C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71102">
                <a:tc>
                  <a:txBody>
                    <a:bodyPr/>
                    <a:lstStyle/>
                    <a:p>
                      <a:pPr algn="ctr">
                        <a:defRPr sz="800">
                          <a:latin typeface="Nexa Book"/>
                        </a:defRPr>
                      </a:pPr>
                      <a:r>
                        <a:t>Mousseux Autr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71102">
                <a:tc>
                  <a:txBody>
                    <a:bodyPr/>
                    <a:lstStyle/>
                    <a:p>
                      <a:pPr algn="ctr">
                        <a:defRPr sz="800">
                          <a:latin typeface="Nexa Book"/>
                        </a:defRPr>
                      </a:pPr>
                      <a:r>
                        <a:t>Mousseux Italien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71102">
                <a:tc>
                  <a:txBody>
                    <a:bodyPr/>
                    <a:lstStyle/>
                    <a:p>
                      <a:pPr algn="ctr">
                        <a:defRPr sz="800">
                          <a:latin typeface="Nexa Book"/>
                        </a:defRPr>
                      </a:pPr>
                      <a:r>
                        <a:t>Mousseux Val De Loi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71102">
                <a:tc>
                  <a:txBody>
                    <a:bodyPr/>
                    <a:lstStyle/>
                    <a:p>
                      <a:pPr algn="ctr">
                        <a:defRPr sz="800">
                          <a:latin typeface="Nexa Book"/>
                        </a:defRPr>
                      </a:pPr>
                      <a:r>
                        <a:t>Mousseux Bordela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71102">
                <a:tc>
                  <a:txBody>
                    <a:bodyPr/>
                    <a:lstStyle/>
                    <a:p>
                      <a:pPr algn="ctr">
                        <a:defRPr sz="800">
                          <a:latin typeface="Nexa Book"/>
                        </a:defRPr>
                      </a:pPr>
                      <a:r>
                        <a:t>Mousseux Bourgog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71102">
                <a:tc>
                  <a:txBody>
                    <a:bodyPr/>
                    <a:lstStyle/>
                    <a:p>
                      <a:pPr algn="ctr">
                        <a:defRPr sz="800">
                          <a:latin typeface="Nexa Book"/>
                        </a:defRPr>
                      </a:pPr>
                      <a:r>
                        <a:t>Mousseux Alsac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71102">
                <a:tc>
                  <a:txBody>
                    <a:bodyPr/>
                    <a:lstStyle/>
                    <a:p>
                      <a:pPr algn="ctr">
                        <a:defRPr sz="800">
                          <a:latin typeface="Nexa Book"/>
                        </a:defRPr>
                      </a:pPr>
                      <a:r>
                        <a:t>Mousseux Espagno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71102">
                <a:tc>
                  <a:txBody>
                    <a:bodyPr/>
                    <a:lstStyle/>
                    <a:p>
                      <a:pPr algn="ctr">
                        <a:defRPr sz="800">
                          <a:latin typeface="Nexa Book"/>
                        </a:defRPr>
                      </a:pPr>
                      <a:r>
                        <a:t>Demi-Se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71102">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71102">
                <a:tc>
                  <a:txBody>
                    <a:bodyPr/>
                    <a:lstStyle/>
                    <a:p>
                      <a:pPr algn="ctr">
                        <a:defRPr sz="800">
                          <a:latin typeface="Nexa Book"/>
                        </a:defRPr>
                      </a:pPr>
                      <a:r>
                        <a:t>Rosé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71102">
                <a:tc>
                  <a:txBody>
                    <a:bodyPr/>
                    <a:lstStyle/>
                    <a:p>
                      <a:pPr algn="ctr">
                        <a:defRPr sz="800">
                          <a:latin typeface="Nexa Book"/>
                        </a:defRPr>
                      </a:pPr>
                      <a:r>
                        <a:t>Brut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71102">
                <a:tc>
                  <a:txBody>
                    <a:bodyPr/>
                    <a:lstStyle/>
                    <a:p>
                      <a:pPr algn="ctr">
                        <a:defRPr sz="800">
                          <a:latin typeface="Nexa Book"/>
                        </a:defRPr>
                      </a:pPr>
                      <a:r>
                        <a:t>Blanc De Blanc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71102">
                <a:tc>
                  <a:txBody>
                    <a:bodyPr/>
                    <a:lstStyle/>
                    <a:p>
                      <a:pPr algn="ctr">
                        <a:defRPr sz="800">
                          <a:latin typeface="Nexa Book"/>
                        </a:defRPr>
                      </a:pPr>
                      <a:r>
                        <a:t>Millesim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71102">
                <a:tc>
                  <a:txBody>
                    <a:bodyPr/>
                    <a:lstStyle/>
                    <a:p>
                      <a:pPr algn="ctr">
                        <a:defRPr sz="800">
                          <a:latin typeface="Nexa Book"/>
                        </a:defRPr>
                      </a:pPr>
                      <a:r>
                        <a:t>Blanc De Noi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71102">
                <a:tc>
                  <a:txBody>
                    <a:bodyPr/>
                    <a:lstStyle/>
                    <a:p>
                      <a:pPr algn="ctr">
                        <a:defRPr sz="800">
                          <a:latin typeface="Nexa Book"/>
                        </a:defRPr>
                      </a:pPr>
                      <a:r>
                        <a:t>Extra Bru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71102">
                <a:tc>
                  <a:txBody>
                    <a:bodyPr/>
                    <a:lstStyle/>
                    <a:p>
                      <a:pPr algn="ctr">
                        <a:defRPr sz="800">
                          <a:latin typeface="Nexa Book"/>
                        </a:defRPr>
                      </a:pPr>
                      <a:r>
                        <a:t>Cru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71102">
                <a:tc>
                  <a:txBody>
                    <a:bodyPr/>
                    <a:lstStyle/>
                    <a:p>
                      <a:pPr algn="ctr">
                        <a:defRPr sz="800">
                          <a:latin typeface="Nexa Book"/>
                        </a:defRPr>
                      </a:pPr>
                      <a:r>
                        <a:t>Brut Natu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7110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5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6053568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4116593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983144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156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8630"/>
            <a:ext cx="2375325" cy="126307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098630"/>
            <a:ext cx="2375326" cy="126307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156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Val De Loir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863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8542968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6147818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1710237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6012662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6715992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779876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7176971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326644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417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1241"/>
            <a:ext cx="2375325" cy="126046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1241"/>
            <a:ext cx="2375326" cy="126046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41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Bordelai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12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8018051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Effervescent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7771595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9891959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9492418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4827680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3867744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2710939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7702256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14332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791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4981"/>
            <a:ext cx="2375325" cy="125672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4981"/>
            <a:ext cx="2375326" cy="125672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791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Alsac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498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8769096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7748211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4474266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8901623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hampagne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51528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8184398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4116431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36943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32060" y="1387069"/>
            <a:ext cx="2895579" cy="172160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8671"/>
            <a:ext cx="1855072" cy="125303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32060" y="3108671"/>
            <a:ext cx="2895579" cy="12530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55072" cy="17216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Effervescents Sans Alcool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867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99371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61053551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6938164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7266824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9271232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31824190"/>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1874968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099669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72125" y="1387069"/>
            <a:ext cx="2355514" cy="171703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4107"/>
            <a:ext cx="2395137" cy="125760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72125" y="3104107"/>
            <a:ext cx="2355514" cy="12576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95137" cy="17170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Cru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41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3378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5918702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lanc De Blanc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8212380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662514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299413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882136"/>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0999931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4621792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41549347"/>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06614894"/>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9004542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7800320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4709678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9452400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7112685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Brut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758477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56907" y="1387069"/>
            <a:ext cx="2470732" cy="171452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1598"/>
            <a:ext cx="2279919" cy="126011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56907" y="3101598"/>
            <a:ext cx="2470732" cy="12601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279919" cy="17145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Extra Bru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159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1856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85112227"/>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75142303"/>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7441387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73348219"/>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3558383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3828433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16537959"/>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934006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1763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4707"/>
            <a:ext cx="2375325" cy="125700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4707"/>
            <a:ext cx="2375326" cy="12570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176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Cru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47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20798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30840" y="1387069"/>
            <a:ext cx="2396799" cy="170155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8626"/>
            <a:ext cx="2353852" cy="127308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30840" y="3088626"/>
            <a:ext cx="2396799" cy="127308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53852" cy="170155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86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9249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81796108"/>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0151592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48202385"/>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Cru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4025669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98415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0907885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5046234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5837248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21908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274006" y="1387069"/>
            <a:ext cx="3053633" cy="171858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5650"/>
            <a:ext cx="1697018" cy="125605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274006" y="3105650"/>
            <a:ext cx="3053633" cy="125605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697018" cy="171858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Effervescent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56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3566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124069199"/>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01744941"/>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1072503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03128252"/>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lard Nicolas | Rosé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37727950"/>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1956197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23875492"/>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59815628"/>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7314746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77712063"/>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44269313"/>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52533024"/>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482368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13085173"/>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90437228"/>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Effervescent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02225251"/>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84984644"/>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90847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166734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341131" y="1387069"/>
            <a:ext cx="2986508" cy="171980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75"/>
            <a:ext cx="1764143" cy="125483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341131" y="3106875"/>
            <a:ext cx="2986508" cy="125483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764143" cy="171980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illesim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7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90278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818430"/>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2482428"/>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41537059"/>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47259770"/>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7357661"/>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09840366"/>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78431648"/>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81087740"/>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hampagne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 DE NOIR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474761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332290" y="1387069"/>
            <a:ext cx="2995349" cy="17208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7893"/>
            <a:ext cx="1755302" cy="12538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332290" y="3107893"/>
            <a:ext cx="2995349" cy="125381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755302" cy="172082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Rosé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789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9394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76970427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7420682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0483"/>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V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 BS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47644584"/>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4631522"/>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17753971"/>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355924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83790" y="1387069"/>
            <a:ext cx="2343849" cy="170443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1507"/>
            <a:ext cx="2406802" cy="127020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83790" y="3091507"/>
            <a:ext cx="2343849" cy="12702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06802" cy="17044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Bourgogn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15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4544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89656878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38041706"/>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14306136"/>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3437967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lanc De Blanc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BLC/BL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BLC/BL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LC/BLC 2002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18944571"/>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77312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90042" y="1387069"/>
            <a:ext cx="2337597" cy="169713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4207"/>
            <a:ext cx="2413054" cy="127750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90042" y="3084207"/>
            <a:ext cx="2337597" cy="12775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13054" cy="16971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Italien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42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5169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49472447"/>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47310656"/>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6711531"/>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IDF</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0825349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93142052"/>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87942042"/>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18148011"/>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NICOLAS AQU</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279998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31481" y="1387069"/>
            <a:ext cx="2396158" cy="172103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8104"/>
            <a:ext cx="2354493" cy="125360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31481" y="3108104"/>
            <a:ext cx="2396158" cy="125360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54493" cy="172103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Val De Loir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810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9313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19504745"/>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CA 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02582555"/>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41293083"/>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Brut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BRU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E.NICOLAS BRUT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E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AGNE NICOLAS 1ERE CUV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BIO NAT 2017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RE CUVE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E CUV ET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99248390"/>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53363300"/>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19544841"/>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74966103"/>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93164734"/>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PAC</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12982899"/>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51414842"/>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17389089"/>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4630027"/>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53898556"/>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Cru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MG CHAMPAGNE NICOLAS 1E CRU BS 1CT X 150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1ER CRU ETUI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68406620"/>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QC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06019281"/>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379604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2176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8834"/>
            <a:ext cx="2375325" cy="125287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8834"/>
            <a:ext cx="2375326" cy="125287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2176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Blanc De Blanc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883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738415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73103" y="1387069"/>
            <a:ext cx="2454536" cy="171698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4055"/>
            <a:ext cx="2296115" cy="125765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73103" y="3104055"/>
            <a:ext cx="2454536" cy="12576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296115" cy="171698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ousseux Alsac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40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3476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680104415"/>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QC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08139504"/>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QC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57700401"/>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CC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18967501"/>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RHO</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61974265"/>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NICOLAS ES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03723810"/>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CA A</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21136410"/>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CA B</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719410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354704" y="1387069"/>
            <a:ext cx="1972935" cy="168816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238"/>
            <a:ext cx="2777716" cy="128647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354704" y="3075238"/>
            <a:ext cx="1972935" cy="128647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777716" cy="168816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Effervescents Sans Alcool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523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1636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37166754"/>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CA 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56258647"/>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Nicolas | Rosés | CA 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E.NICOLAS ROSE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CU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 CHAMP NICOLAS ROSE 1E C BS 1CT X 375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RE ET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CHAMPAGNE NICOLAS ROSE 1E C BS 1CT X 750ML</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91542287"/>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49"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3767359">
                  <a:extLst>
                    <a:ext uri="{9D8B030D-6E8A-4147-A177-3AD203B41FA5}">
                      <a16:colId xmlns:a16="http://schemas.microsoft.com/office/drawing/2014/main" val="2214050810"/>
                    </a:ext>
                  </a:extLst>
                </a:gridCol>
                <a:gridCol w="3767359">
                  <a:extLst>
                    <a:ext uri="{9D8B030D-6E8A-4147-A177-3AD203B41FA5}">
                      <a16:colId xmlns:a16="http://schemas.microsoft.com/office/drawing/2014/main" val="704225536"/>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9.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Champagn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7.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Mousseux</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Effervescents Sans Alcoo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53788713"/>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56"/>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PAC</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IDF</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RHO</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NICOLAS AQU</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42273">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2.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42273">
                <a:tc rowSpan="2">
                  <a:txBody>
                    <a:bodyPr/>
                    <a:lstStyle/>
                    <a:p>
                      <a:pPr algn="l">
                        <a:defRPr sz="1000" b="0">
                          <a:latin typeface="Nexa Bold"/>
                        </a:defRPr>
                      </a:pPr>
                      <a:r>
                        <a:t>Bru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42273">
                <a:tc rowSpan="2">
                  <a:txBody>
                    <a:bodyPr/>
                    <a:lstStyle/>
                    <a:p>
                      <a:pPr algn="l">
                        <a:defRPr sz="1000" b="0">
                          <a:latin typeface="Nexa Bold"/>
                        </a:defRPr>
                      </a:pPr>
                      <a:r>
                        <a:t>Blanc De Blanc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88.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1.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0.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582290"/>
                  </a:ext>
                </a:extLst>
              </a:tr>
              <a:tr h="142273">
                <a:tc rowSpan="2">
                  <a:txBody>
                    <a:bodyPr/>
                    <a:lstStyle/>
                    <a:p>
                      <a:pPr algn="l">
                        <a:defRPr sz="1000" b="0">
                          <a:latin typeface="Nexa Bold"/>
                        </a:defRPr>
                      </a:pPr>
                      <a:r>
                        <a:t>Rosé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6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9.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5.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41263048"/>
                  </a:ext>
                </a:extLst>
              </a:tr>
              <a:tr h="142273">
                <a:tc rowSpan="2">
                  <a:txBody>
                    <a:bodyPr/>
                    <a:lstStyle/>
                    <a:p>
                      <a:pPr algn="l">
                        <a:defRPr sz="1000" b="0">
                          <a:latin typeface="Nexa Bold"/>
                        </a:defRPr>
                      </a:pPr>
                      <a:r>
                        <a:t>Millesim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42273">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78.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6.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42273">
                <a:tc rowSpan="2">
                  <a:txBody>
                    <a:bodyPr/>
                    <a:lstStyle/>
                    <a:p>
                      <a:pPr algn="l">
                        <a:defRPr sz="1000" b="0">
                          <a:latin typeface="Nexa Bold"/>
                        </a:defRPr>
                      </a:pPr>
                      <a:r>
                        <a:t>Mousseux Italien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9.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6.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4.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42273">
                <a:tc rowSpan="2">
                  <a:txBody>
                    <a:bodyPr/>
                    <a:lstStyle/>
                    <a:p>
                      <a:pPr algn="l">
                        <a:defRPr sz="1000" b="0">
                          <a:latin typeface="Nexa Bold"/>
                        </a:defRPr>
                      </a:pPr>
                      <a:r>
                        <a:t>Cru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5.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3.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36566305"/>
                  </a:ext>
                </a:extLst>
              </a:tr>
              <a:tr h="142273">
                <a:tc rowSpan="2">
                  <a:txBody>
                    <a:bodyPr/>
                    <a:lstStyle/>
                    <a:p>
                      <a:pPr algn="l">
                        <a:defRPr sz="1000" b="0">
                          <a:latin typeface="Nexa Bold"/>
                        </a:defRPr>
                      </a:pPr>
                      <a:r>
                        <a:t>Extra Bru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7.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6.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42273">
                <a:tc rowSpan="2">
                  <a:txBody>
                    <a:bodyPr/>
                    <a:lstStyle/>
                    <a:p>
                      <a:pPr algn="l">
                        <a:defRPr sz="1000" b="0">
                          <a:latin typeface="Nexa Bold"/>
                        </a:defRPr>
                      </a:pPr>
                      <a:r>
                        <a:t>Effervescents Sans Alcoo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2.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42273">
                <a:tc rowSpan="2">
                  <a:txBody>
                    <a:bodyPr/>
                    <a:lstStyle/>
                    <a:p>
                      <a:pPr algn="l">
                        <a:defRPr sz="1000" b="0">
                          <a:latin typeface="Nexa Bold"/>
                        </a:defRPr>
                      </a:pPr>
                      <a:r>
                        <a:t>Mousseux Val De Loir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3.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8.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530452889"/>
                  </a:ext>
                </a:extLst>
              </a:tr>
              <a:tr h="142273">
                <a:tc rowSpan="2">
                  <a:txBody>
                    <a:bodyPr/>
                    <a:lstStyle/>
                    <a:p>
                      <a:pPr algn="l">
                        <a:defRPr sz="1000" b="0">
                          <a:latin typeface="Nexa Bold"/>
                        </a:defRPr>
                      </a:pPr>
                      <a:r>
                        <a:t>Mousseux Bourgog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3.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2.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8.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142273">
                <a:tc rowSpan="2">
                  <a:txBody>
                    <a:bodyPr/>
                    <a:lstStyle/>
                    <a:p>
                      <a:pPr algn="l">
                        <a:defRPr sz="1000" b="0">
                          <a:latin typeface="Nexa Bold"/>
                        </a:defRPr>
                      </a:pPr>
                      <a:r>
                        <a:t>Mousseux Autr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44.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46554185"/>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CA B</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A</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CA C</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Champagn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6.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0.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Mousseux</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1.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Effervescents Sans Alcoo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5.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3.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1.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4.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306629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66070" y="1387069"/>
            <a:ext cx="2361569" cy="172237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9444"/>
            <a:ext cx="2389082" cy="125226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66070" y="3109444"/>
            <a:ext cx="2361569" cy="125226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89082" cy="172237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Cru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944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2772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364948131"/>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56"/>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CA B</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A</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CA C</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42273">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42273">
                <a:tc rowSpan="2">
                  <a:txBody>
                    <a:bodyPr/>
                    <a:lstStyle/>
                    <a:p>
                      <a:pPr algn="l">
                        <a:defRPr sz="1000" b="0">
                          <a:latin typeface="Nexa Bold"/>
                        </a:defRPr>
                      </a:pPr>
                      <a:r>
                        <a:t>Bru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3.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42273">
                <a:tc rowSpan="2">
                  <a:txBody>
                    <a:bodyPr/>
                    <a:lstStyle/>
                    <a:p>
                      <a:pPr algn="l">
                        <a:defRPr sz="1000" b="0">
                          <a:latin typeface="Nexa Bold"/>
                        </a:defRPr>
                      </a:pPr>
                      <a:r>
                        <a:t>Blanc De Blanc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9.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5.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8.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582290"/>
                  </a:ext>
                </a:extLst>
              </a:tr>
              <a:tr h="142273">
                <a:tc rowSpan="2">
                  <a:txBody>
                    <a:bodyPr/>
                    <a:lstStyle/>
                    <a:p>
                      <a:pPr algn="l">
                        <a:defRPr sz="1000" b="0">
                          <a:latin typeface="Nexa Bold"/>
                        </a:defRPr>
                      </a:pPr>
                      <a:r>
                        <a:t>Rosé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42273">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7.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0.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7.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6.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8.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41263048"/>
                  </a:ext>
                </a:extLst>
              </a:tr>
              <a:tr h="142273">
                <a:tc rowSpan="2">
                  <a:txBody>
                    <a:bodyPr/>
                    <a:lstStyle/>
                    <a:p>
                      <a:pPr algn="l">
                        <a:defRPr sz="1000" b="0">
                          <a:latin typeface="Nexa Bold"/>
                        </a:defRPr>
                      </a:pPr>
                      <a:r>
                        <a:t>Cru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42273">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33.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8.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42273">
                <a:tc rowSpan="2">
                  <a:txBody>
                    <a:bodyPr/>
                    <a:lstStyle/>
                    <a:p>
                      <a:pPr algn="l">
                        <a:defRPr sz="1000" b="0">
                          <a:latin typeface="Nexa Bold"/>
                        </a:defRPr>
                      </a:pPr>
                      <a:r>
                        <a:t>Extra Bru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7.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42273">
                <a:tc rowSpan="2">
                  <a:txBody>
                    <a:bodyPr/>
                    <a:lstStyle/>
                    <a:p>
                      <a:pPr algn="l">
                        <a:defRPr sz="1000" b="0">
                          <a:latin typeface="Nexa Bold"/>
                        </a:defRPr>
                      </a:pPr>
                      <a:r>
                        <a:t>Millesim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6.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1.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5.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42273">
                <a:tc rowSpan="2">
                  <a:txBody>
                    <a:bodyPr/>
                    <a:lstStyle/>
                    <a:p>
                      <a:pPr algn="l">
                        <a:defRPr sz="1000" b="0">
                          <a:latin typeface="Nexa Bold"/>
                        </a:defRPr>
                      </a:pPr>
                      <a:r>
                        <a:t>Mousseux Italien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9.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9.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9.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9.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9.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81319100"/>
                  </a:ext>
                </a:extLst>
              </a:tr>
              <a:tr h="142273">
                <a:tc rowSpan="2">
                  <a:txBody>
                    <a:bodyPr/>
                    <a:lstStyle/>
                    <a:p>
                      <a:pPr algn="l">
                        <a:defRPr sz="1000" b="0">
                          <a:latin typeface="Nexa Bold"/>
                        </a:defRPr>
                      </a:pPr>
                      <a:r>
                        <a:t>Mousseux Val De Loir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2.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2.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2.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1802921023"/>
                  </a:ext>
                </a:extLst>
              </a:tr>
              <a:tr h="142273">
                <a:tc rowSpan="2">
                  <a:txBody>
                    <a:bodyPr/>
                    <a:lstStyle/>
                    <a:p>
                      <a:pPr algn="l">
                        <a:defRPr sz="1000" b="0">
                          <a:latin typeface="Nexa Bold"/>
                        </a:defRPr>
                      </a:pPr>
                      <a:r>
                        <a:t>Effervescents Sans Alcoo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5.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530452889"/>
                  </a:ext>
                </a:extLst>
              </a:tr>
              <a:tr h="142273">
                <a:tc rowSpan="2">
                  <a:txBody>
                    <a:bodyPr/>
                    <a:lstStyle/>
                    <a:p>
                      <a:pPr algn="l">
                        <a:defRPr sz="1000" b="0">
                          <a:latin typeface="Nexa Bold"/>
                        </a:defRPr>
                      </a:pPr>
                      <a:r>
                        <a:t>Mousseux Alsac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5.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5.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3.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142273">
                <a:tc rowSpan="2">
                  <a:txBody>
                    <a:bodyPr/>
                    <a:lstStyle/>
                    <a:p>
                      <a:pPr algn="l">
                        <a:defRPr sz="1000" b="0">
                          <a:latin typeface="Nexa Bold"/>
                        </a:defRPr>
                      </a:pPr>
                      <a:r>
                        <a:t>Mousseux Bourgog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42273">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41.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0.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10.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71903308"/>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7.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3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2.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2.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02433336"/>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VC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9.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3.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moisel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0.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48640022"/>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1.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7.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7.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9.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9.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Boll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8.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8.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64092075"/>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CC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1.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9.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3.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20165098"/>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RHO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4.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3.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3.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97958125"/>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AQU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6.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5.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1.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1.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Besserat De Bellef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6.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1418709"/>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4.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0.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9.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5.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5.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ur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Boll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9.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9.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7.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3.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4.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14780023"/>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B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4.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4.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1.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5.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5205278"/>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C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7.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9.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38155456"/>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D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2.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6.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Besserat De Bellef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24442664"/>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E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Mousseux</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Effervescents Sans Alcool</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7.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5.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5.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14691338"/>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9.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0.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3.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1.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6.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0.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3.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29.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7.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41.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8.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6.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1.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0.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2.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65.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9.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0.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2.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8.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4.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9.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23987624"/>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7.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1.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00.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92.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57.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4.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3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0.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14.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8.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8.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2.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2.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62.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86.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72965436"/>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1.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6.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7.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7.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3.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1.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2.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1.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8.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55.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5.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5.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9.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4.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38.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2.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81.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7.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8.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0.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4.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Boll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8.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5.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10.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5.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52.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27487029"/>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A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6.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1.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6.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1.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81.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6.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3.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3.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8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5.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2.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8.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25.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2.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0.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0.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7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54.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1.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2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0.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om Perig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04.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86.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28.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Veuve Clicquo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2.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58.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98.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9.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Moët &amp; Chand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53.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7.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1.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Boll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8.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01.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6.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12220736"/>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CC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1.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7.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4.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1.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9.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4.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2.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8.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0.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4.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6.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50.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6.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3.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2.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52.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6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8.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6.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7.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1.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30.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4.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9.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09439703"/>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PAC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2.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8.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8.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2.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8.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4.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3.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2.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0.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7.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4.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1.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2.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0.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5.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80.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77.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3.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96.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om Perig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82.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77.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2.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3.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9.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7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6.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0.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04080605"/>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RHO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0.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6.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9.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89.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6.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6.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2.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0.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4.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69.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1.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1.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4.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8.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3.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35.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8.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54586881"/>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4.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3.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0.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7.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6.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88.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3.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9.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9.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5.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5.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4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8.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9.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ur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0.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2.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58.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6.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Boll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9.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00.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3.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7.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5.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3.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7.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6.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4.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15.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66686566"/>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A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42.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5.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68.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0.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9.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01.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1.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1.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4.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5.0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47.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5.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3.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8.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8.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9.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9.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6.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10.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72.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95.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89.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88.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8.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0.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om Perig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17.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89.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03.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3.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4.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7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3.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1.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51122523"/>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B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7.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6.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7.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0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4.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6.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4.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4.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4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5.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51.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7.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6.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96.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8.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Roeder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5.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3.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46.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04.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6.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3.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433829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95538" y="1387069"/>
            <a:ext cx="1832101" cy="167566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62729"/>
            <a:ext cx="2918550" cy="129898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95538" y="3062729"/>
            <a:ext cx="1832101" cy="129898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918550" cy="167566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Blanc De Blanc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627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5719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92606784"/>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D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3.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7.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6.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9.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1.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2.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81.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6.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5.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207.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24.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1.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0.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Besserat De Bellef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4.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7.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52.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53451431"/>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E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30" cy="3547857"/>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310315">
                  <a:extLst>
                    <a:ext uri="{9D8B030D-6E8A-4147-A177-3AD203B41FA5}">
                      <a16:colId xmlns:a16="http://schemas.microsoft.com/office/drawing/2014/main" val="2214050810"/>
                    </a:ext>
                  </a:extLst>
                </a:gridCol>
                <a:gridCol w="310315">
                  <a:extLst>
                    <a:ext uri="{9D8B030D-6E8A-4147-A177-3AD203B41FA5}">
                      <a16:colId xmlns:a16="http://schemas.microsoft.com/office/drawing/2014/main" val="704225536"/>
                    </a:ext>
                  </a:extLst>
                </a:gridCol>
                <a:gridCol w="310315">
                  <a:extLst>
                    <a:ext uri="{9D8B030D-6E8A-4147-A177-3AD203B41FA5}">
                      <a16:colId xmlns:a16="http://schemas.microsoft.com/office/drawing/2014/main" val="1285391802"/>
                    </a:ext>
                  </a:extLst>
                </a:gridCol>
                <a:gridCol w="310315">
                  <a:extLst>
                    <a:ext uri="{9D8B030D-6E8A-4147-A177-3AD203B41FA5}">
                      <a16:colId xmlns:a16="http://schemas.microsoft.com/office/drawing/2014/main" val="3180695831"/>
                    </a:ext>
                  </a:extLst>
                </a:gridCol>
                <a:gridCol w="310315">
                  <a:extLst>
                    <a:ext uri="{9D8B030D-6E8A-4147-A177-3AD203B41FA5}">
                      <a16:colId xmlns:a16="http://schemas.microsoft.com/office/drawing/2014/main" val="3841440830"/>
                    </a:ext>
                  </a:extLst>
                </a:gridCol>
                <a:gridCol w="310315">
                  <a:extLst>
                    <a:ext uri="{9D8B030D-6E8A-4147-A177-3AD203B41FA5}">
                      <a16:colId xmlns:a16="http://schemas.microsoft.com/office/drawing/2014/main" val="3330568015"/>
                    </a:ext>
                  </a:extLst>
                </a:gridCol>
                <a:gridCol w="310315">
                  <a:extLst>
                    <a:ext uri="{9D8B030D-6E8A-4147-A177-3AD203B41FA5}">
                      <a16:colId xmlns:a16="http://schemas.microsoft.com/office/drawing/2014/main" val="3707381308"/>
                    </a:ext>
                  </a:extLst>
                </a:gridCol>
                <a:gridCol w="310315">
                  <a:extLst>
                    <a:ext uri="{9D8B030D-6E8A-4147-A177-3AD203B41FA5}">
                      <a16:colId xmlns:a16="http://schemas.microsoft.com/office/drawing/2014/main" val="4072370141"/>
                    </a:ext>
                  </a:extLst>
                </a:gridCol>
                <a:gridCol w="310315">
                  <a:extLst>
                    <a:ext uri="{9D8B030D-6E8A-4147-A177-3AD203B41FA5}">
                      <a16:colId xmlns:a16="http://schemas.microsoft.com/office/drawing/2014/main" val="226346896"/>
                    </a:ext>
                  </a:extLst>
                </a:gridCol>
                <a:gridCol w="310315">
                  <a:extLst>
                    <a:ext uri="{9D8B030D-6E8A-4147-A177-3AD203B41FA5}">
                      <a16:colId xmlns:a16="http://schemas.microsoft.com/office/drawing/2014/main" val="4016487860"/>
                    </a:ext>
                  </a:extLst>
                </a:gridCol>
                <a:gridCol w="310315">
                  <a:extLst>
                    <a:ext uri="{9D8B030D-6E8A-4147-A177-3AD203B41FA5}">
                      <a16:colId xmlns:a16="http://schemas.microsoft.com/office/drawing/2014/main" val="4124924102"/>
                    </a:ext>
                  </a:extLst>
                </a:gridCol>
                <a:gridCol w="310315">
                  <a:extLst>
                    <a:ext uri="{9D8B030D-6E8A-4147-A177-3AD203B41FA5}">
                      <a16:colId xmlns:a16="http://schemas.microsoft.com/office/drawing/2014/main" val="1915546132"/>
                    </a:ext>
                  </a:extLst>
                </a:gridCol>
                <a:gridCol w="310315">
                  <a:extLst>
                    <a:ext uri="{9D8B030D-6E8A-4147-A177-3AD203B41FA5}">
                      <a16:colId xmlns:a16="http://schemas.microsoft.com/office/drawing/2014/main" val="3594374671"/>
                    </a:ext>
                  </a:extLst>
                </a:gridCol>
                <a:gridCol w="310315">
                  <a:extLst>
                    <a:ext uri="{9D8B030D-6E8A-4147-A177-3AD203B41FA5}">
                      <a16:colId xmlns:a16="http://schemas.microsoft.com/office/drawing/2014/main" val="3323983483"/>
                    </a:ext>
                  </a:extLst>
                </a:gridCol>
                <a:gridCol w="310315">
                  <a:extLst>
                    <a:ext uri="{9D8B030D-6E8A-4147-A177-3AD203B41FA5}">
                      <a16:colId xmlns:a16="http://schemas.microsoft.com/office/drawing/2014/main" val="2451926601"/>
                    </a:ext>
                  </a:extLst>
                </a:gridCol>
                <a:gridCol w="310315">
                  <a:extLst>
                    <a:ext uri="{9D8B030D-6E8A-4147-A177-3AD203B41FA5}">
                      <a16:colId xmlns:a16="http://schemas.microsoft.com/office/drawing/2014/main" val="3458952246"/>
                    </a:ext>
                  </a:extLst>
                </a:gridCol>
                <a:gridCol w="310315">
                  <a:extLst>
                    <a:ext uri="{9D8B030D-6E8A-4147-A177-3AD203B41FA5}">
                      <a16:colId xmlns:a16="http://schemas.microsoft.com/office/drawing/2014/main" val="581245399"/>
                    </a:ext>
                  </a:extLst>
                </a:gridCol>
                <a:gridCol w="310315">
                  <a:extLst>
                    <a:ext uri="{9D8B030D-6E8A-4147-A177-3AD203B41FA5}">
                      <a16:colId xmlns:a16="http://schemas.microsoft.com/office/drawing/2014/main" val="14805617"/>
                    </a:ext>
                  </a:extLst>
                </a:gridCol>
                <a:gridCol w="310315">
                  <a:extLst>
                    <a:ext uri="{9D8B030D-6E8A-4147-A177-3AD203B41FA5}">
                      <a16:colId xmlns:a16="http://schemas.microsoft.com/office/drawing/2014/main" val="310787637"/>
                    </a:ext>
                  </a:extLst>
                </a:gridCol>
                <a:gridCol w="310315">
                  <a:extLst>
                    <a:ext uri="{9D8B030D-6E8A-4147-A177-3AD203B41FA5}">
                      <a16:colId xmlns:a16="http://schemas.microsoft.com/office/drawing/2014/main" val="2152951754"/>
                    </a:ext>
                  </a:extLst>
                </a:gridCol>
                <a:gridCol w="310315">
                  <a:extLst>
                    <a:ext uri="{9D8B030D-6E8A-4147-A177-3AD203B41FA5}">
                      <a16:colId xmlns:a16="http://schemas.microsoft.com/office/drawing/2014/main" val="776322808"/>
                    </a:ext>
                  </a:extLst>
                </a:gridCol>
                <a:gridCol w="310315">
                  <a:extLst>
                    <a:ext uri="{9D8B030D-6E8A-4147-A177-3AD203B41FA5}">
                      <a16:colId xmlns:a16="http://schemas.microsoft.com/office/drawing/2014/main" val="1484566445"/>
                    </a:ext>
                  </a:extLst>
                </a:gridCol>
                <a:gridCol w="310315">
                  <a:extLst>
                    <a:ext uri="{9D8B030D-6E8A-4147-A177-3AD203B41FA5}">
                      <a16:colId xmlns:a16="http://schemas.microsoft.com/office/drawing/2014/main" val="511557403"/>
                    </a:ext>
                  </a:extLst>
                </a:gridCol>
                <a:gridCol w="310315">
                  <a:extLst>
                    <a:ext uri="{9D8B030D-6E8A-4147-A177-3AD203B41FA5}">
                      <a16:colId xmlns:a16="http://schemas.microsoft.com/office/drawing/2014/main" val="110607013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Extra Bru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Millesim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urgogn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Italien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Val De Loir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Alsac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ousseux Bordelai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24886">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37.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2.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6.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1.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6.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3.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5.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9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20454881"/>
                  </a:ext>
                </a:extLst>
              </a:tr>
              <a:tr h="124886">
                <a:tc rowSpan="2">
                  <a:txBody>
                    <a:bodyPr/>
                    <a:lstStyle/>
                    <a:p>
                      <a:pPr algn="l">
                        <a:defRPr sz="1000" b="0">
                          <a:latin typeface="Nexa Bold"/>
                        </a:defRPr>
                      </a:pPr>
                      <a:r>
                        <a:t>Ruinar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75.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7.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2.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0.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21310849"/>
                  </a:ext>
                </a:extLst>
              </a:tr>
              <a:tr h="124886">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25.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1.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0.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24886">
                <a:tc rowSpan="2">
                  <a:txBody>
                    <a:bodyPr/>
                    <a:lstStyle/>
                    <a:p>
                      <a:pPr algn="l">
                        <a:defRPr sz="1000" b="0">
                          <a:latin typeface="Nexa Bold"/>
                        </a:defRPr>
                      </a:pPr>
                      <a:r>
                        <a:t>Deutz</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24886">
                <a:tc vMerge="1">
                  <a:txBody>
                    <a:bodyPr/>
                    <a:lstStyle/>
                    <a:p>
                      <a:endParaRPr lang="en-CH"/>
                    </a:p>
                  </a:txBody>
                  <a:tcPr/>
                </a:tc>
                <a:tc>
                  <a:txBody>
                    <a:bodyPr/>
                    <a:lstStyle/>
                    <a:p>
                      <a:pPr algn="ctr">
                        <a:defRPr sz="800" b="0">
                          <a:latin typeface="Nexa Book (Body)"/>
                        </a:defRPr>
                      </a:pPr>
                      <a:r>
                        <a:t>NS/Vol</a:t>
                      </a:r>
                    </a:p>
                    <a:p>
                      <a:pPr algn="ctr">
                        <a:defRPr sz="800" b="0">
                          <a:latin typeface="Nexa Book (Body)"/>
                        </a:defRPr>
                      </a:pPr>
                      <a:r>
                        <a:t>53.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75.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51.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85.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4.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24886">
                <a:tc rowSpan="2">
                  <a:txBody>
                    <a:bodyPr/>
                    <a:lstStyle/>
                    <a:p>
                      <a:pPr algn="l">
                        <a:defRPr sz="1000" b="0">
                          <a:latin typeface="Nexa Bold"/>
                        </a:defRPr>
                      </a:pPr>
                      <a:r>
                        <a:t>All Othe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24886">
                <a:tc vMerge="1">
                  <a:txBody>
                    <a:bodyPr/>
                    <a:lstStyle/>
                    <a:p>
                      <a:endParaRPr lang="en-CH"/>
                    </a:p>
                  </a:txBody>
                  <a:tcPr>
                    <a:solidFill>
                      <a:schemeClr val="bg2"/>
                    </a:solidFill>
                  </a:tcPr>
                </a:tc>
                <a:tc>
                  <a:txBody>
                    <a:bodyPr/>
                    <a:lstStyle/>
                    <a:p>
                      <a:pPr algn="ctr">
                        <a:defRPr sz="800" b="0">
                          <a:latin typeface="Nexa Book (Body)"/>
                        </a:defRPr>
                      </a:pPr>
                      <a:r>
                        <a:t>NS/Vol</a:t>
                      </a:r>
                    </a:p>
                    <a:p>
                      <a:pPr algn="ctr">
                        <a:defRPr sz="800" b="0">
                          <a:latin typeface="Nexa Book (Body)"/>
                        </a:defRPr>
                      </a:pPr>
                      <a:r>
                        <a:t>15.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94.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9.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5.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2.0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4.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24886">
                <a:tc rowSpan="2">
                  <a:txBody>
                    <a:bodyPr/>
                    <a:lstStyle/>
                    <a:p>
                      <a:pPr algn="l">
                        <a:defRPr sz="1000" b="0">
                          <a:latin typeface="Nexa Bold"/>
                        </a:defRPr>
                      </a:pPr>
                      <a:r>
                        <a:t>Malar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24886">
                <a:tc rowSpan="2">
                  <a:txBody>
                    <a:bodyPr/>
                    <a:lstStyle/>
                    <a:p>
                      <a:pPr algn="l">
                        <a:defRPr sz="1000" b="0">
                          <a:latin typeface="Nexa Bold"/>
                        </a:defRPr>
                      </a:pPr>
                      <a:r>
                        <a:t>Laurent Perri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9.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7.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64.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24886">
                <a:tc rowSpan="2">
                  <a:txBody>
                    <a:bodyPr/>
                    <a:lstStyle/>
                    <a:p>
                      <a:pPr algn="l">
                        <a:defRPr sz="1000" b="0">
                          <a:latin typeface="Nexa Bold"/>
                        </a:defRPr>
                      </a:pPr>
                      <a:r>
                        <a:t>Heidsieck &amp; Co Monopo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3.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24886">
                <a:tc rowSpan="2">
                  <a:txBody>
                    <a:bodyPr/>
                    <a:lstStyle/>
                    <a:p>
                      <a:pPr algn="l">
                        <a:defRPr sz="1000" b="0">
                          <a:latin typeface="Nexa Bold"/>
                        </a:defRPr>
                      </a:pPr>
                      <a:r>
                        <a:t>Nicolas Feuillat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7.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4.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24886">
                <a:tc rowSpan="2">
                  <a:txBody>
                    <a:bodyPr/>
                    <a:lstStyle/>
                    <a:p>
                      <a:pPr algn="l">
                        <a:defRPr sz="1000" b="0">
                          <a:latin typeface="Nexa Bold"/>
                        </a:defRPr>
                      </a:pPr>
                      <a:r>
                        <a:t>De Blign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24886">
                <a:tc rowSpan="2">
                  <a:txBody>
                    <a:bodyPr/>
                    <a:lstStyle/>
                    <a:p>
                      <a:pPr algn="l">
                        <a:defRPr sz="1000" b="0">
                          <a:latin typeface="Nexa Bold"/>
                        </a:defRPr>
                      </a:pPr>
                      <a:r>
                        <a:t>Ayal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2.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9.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1.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24886">
                <a:tc rowSpan="2">
                  <a:txBody>
                    <a:bodyPr/>
                    <a:lstStyle/>
                    <a:p>
                      <a:pPr algn="l">
                        <a:defRPr sz="1000" b="0">
                          <a:latin typeface="Nexa Bold"/>
                        </a:defRPr>
                      </a:pPr>
                      <a:r>
                        <a:t>Canard Duchê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5.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35.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40.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24886">
                <a:tc rowSpan="2">
                  <a:txBody>
                    <a:bodyPr/>
                    <a:lstStyle/>
                    <a:p>
                      <a:pPr algn="l">
                        <a:defRPr sz="1000" b="0">
                          <a:latin typeface="Nexa Bold"/>
                        </a:defRPr>
                      </a:pPr>
                      <a:r>
                        <a:t>Taitting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24886">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51.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00.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9.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7269613"/>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00656390"/>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4721084"/>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56876381"/>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01484052"/>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43668182"/>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20210740"/>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59216275"/>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Effervescents | Malard Nicola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95075759"/>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102660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45918" y="1387069"/>
            <a:ext cx="2781721" cy="157352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60589"/>
            <a:ext cx="1968930" cy="140112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45918" y="2960589"/>
            <a:ext cx="2781721" cy="140112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68930" cy="157352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Mousseux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605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0757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69556726"/>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44960748"/>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65863160"/>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68012518"/>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12570371"/>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36460951"/>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21709033"/>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63072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85045" y="1387069"/>
            <a:ext cx="2342594" cy="171000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7069"/>
            <a:ext cx="2408057" cy="126464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85045" y="3097069"/>
            <a:ext cx="2342594" cy="12646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08057" cy="17100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Champagn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70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4670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86797085"/>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69961416"/>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24829799"/>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20272871"/>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Effervescents | Malard Nicola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ousseux Aut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Italien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Val De Loir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rdelai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Bourgog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sseux Alsac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i-Se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ffervescents Sans Alcool</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sé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rut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Blanc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llesim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lanc De Noi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xtra Bru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7640118"/>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09612130"/>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758750"/>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26456914"/>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400204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25109" y="1387069"/>
            <a:ext cx="2402530" cy="173209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9168"/>
            <a:ext cx="2348121" cy="124254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25109" y="3119168"/>
            <a:ext cx="2402530" cy="124254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48121" cy="173209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Millesim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916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8676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31956433"/>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68502121"/>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73230568"/>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78627375"/>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LALLIER SERIE R.021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22717883"/>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01097147"/>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63722320"/>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00010645"/>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13470431"/>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95060564"/>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14974947"/>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97851245"/>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5631495"/>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46935496"/>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955998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87341" y="1387069"/>
            <a:ext cx="1840298" cy="171446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1536"/>
            <a:ext cx="2910353" cy="126017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87341" y="3101536"/>
            <a:ext cx="1840298" cy="126017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910353" cy="171446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Rosé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153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4899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74670136"/>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32070220"/>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48425990"/>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hampagne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10148979"/>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4871721"/>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611235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79722" y="1387069"/>
            <a:ext cx="2147917" cy="170095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8021"/>
            <a:ext cx="2602734" cy="127368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79722" y="3088021"/>
            <a:ext cx="2147917" cy="127368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02734" cy="170095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Mousseux Italien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802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4137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192222029"/>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ERDON BUGEY RO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LAIRETTE DIE DEA AUGUSTA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32130348"/>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AU FRIZZANT DE MUSCAT 9%VOL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71367178"/>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97609275"/>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41428796"/>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66997203"/>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792656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19451" y="1387069"/>
            <a:ext cx="2308188" cy="169361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0681"/>
            <a:ext cx="2442463" cy="128102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19451" y="3080681"/>
            <a:ext cx="2308188" cy="128102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42463" cy="169361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gion | Malard Nicolas | Mousseux Alsac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068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8110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07793991"/>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17248522"/>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S GRUMES BULLES VIN MOUSSEUX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62254051"/>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8002438"/>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62374594"/>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50135851"/>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26341181"/>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07988153"/>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31907089"/>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18309436"/>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24736101"/>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6281018"/>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69176729"/>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ffervescents Sans Alcool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ENCH BLOOM BLAN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YRE'S CLASSIC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DU VERNAY VIN MOUSS 0,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FRENCH BLOOM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CTAROSE SPARKLING 0% AL 73CL 1CT X 73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22911654"/>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11452516"/>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 MESNIL BLANC DE BLANC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30997755"/>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68704636"/>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AMOUR DE DEUTZ"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53654807"/>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56131880"/>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A/18 BLC BLCS EXTRA 2018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3875978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34422" y="1387069"/>
            <a:ext cx="2393217" cy="170400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1074"/>
            <a:ext cx="2357434" cy="127063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34422" y="3091074"/>
            <a:ext cx="2393217" cy="127063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57434" cy="170400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Effervescents Sans Alcool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10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9607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58168325"/>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SHAPE BLC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RUINART EXT BRUT SECO 2010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E MESNIL BLANC DE BLANC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8197922"/>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11373768"/>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2941209"/>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lanc De Blanc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LANC DE BLANCS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LANC DE BLANCS SECOND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LC DE BLANC SECOND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GRAND CRU BL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LC/BL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DELAMOTTE BLC/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 VENOGE PRINCES BLC DE BL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BLANC DE BLANC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NRIOT BLANC DE BLANC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60630727"/>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03680900"/>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RUT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EUVE CLICQUOT RESERV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55123388"/>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BRUT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48692949"/>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89846571"/>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EUTZ CLASSI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45673609"/>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UTARDIER CARTE D'O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97913662"/>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LALLIER SERIE R.021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EUTZ CLASSI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99256141"/>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GRAND BRUT SHAP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63309516"/>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27234194"/>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25379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62610" y="1387069"/>
            <a:ext cx="2465029" cy="172403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1099"/>
            <a:ext cx="2285622" cy="125061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62610" y="3111099"/>
            <a:ext cx="2465029" cy="125061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285622" cy="172403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Blanc De Blanc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109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2426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114143027"/>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Brut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BRUT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CLASSIC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EIDSIECK MONOPOLE SILVER TOP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CH DE BLIGNY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YALA BRUT MAJEU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LA CUVE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BLE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CUVEE LEON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TAITTINGER PRESTIG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SPECIAL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1806887"/>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29069364"/>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81898118"/>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40481462"/>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3269571"/>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09640877"/>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8807373"/>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480903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1936" y="1387069"/>
            <a:ext cx="2375703" cy="171725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4326"/>
            <a:ext cx="2374948" cy="125738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1936" y="3104326"/>
            <a:ext cx="2375703" cy="125738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4948" cy="171725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Cru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43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59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15421710"/>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95926451"/>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06159990"/>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90573471"/>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Cru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ALARD PREMIER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GEORGES VESSELLE GRD CRU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PREMI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OUIS MARTIN BRUT GRAND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18066509"/>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50448606"/>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947287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64007" y="1387069"/>
            <a:ext cx="2463632" cy="172202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9091"/>
            <a:ext cx="2287019" cy="125261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64007" y="3109091"/>
            <a:ext cx="2463632" cy="125261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287019" cy="172202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Brut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909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2566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102227291"/>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7006482"/>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8761948"/>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50290717"/>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27566224"/>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85667833"/>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43091528"/>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97254984"/>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Extra Brut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NICOLAS FEUILLATTE RES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EXTRA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B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OET &amp; CHANDON RES IMP EX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ANARD DUCHENE ZE181 EXTR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ESSENTIEL EXBR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84276240"/>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25099508"/>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2611559"/>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DOM PERIGNON 2012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53285272"/>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43695546"/>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2299562"/>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ERRIER JOUET BELLE EPOQU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7094441"/>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IPER HEIDSIECK CUVE RARE 2008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4975603"/>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0579847"/>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201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83489335"/>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5 BASQUIA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8222885"/>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illesime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OM PERIGNO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2013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BRUT MILLESIM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NU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BRUT SECOND SKIN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BRUT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BRUT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ROSE 2016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GRANDE ANNEE 2015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67723785"/>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ROSE 2009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ROS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281772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748501" y="1387069"/>
            <a:ext cx="2579138" cy="172403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1107"/>
            <a:ext cx="2171513" cy="125060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748501" y="3111107"/>
            <a:ext cx="2579138" cy="12506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71513" cy="17240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Champagn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11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1015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61179983"/>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ROSE 2009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19073788"/>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DEUTZ ROS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84639184"/>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50122547"/>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ROSE 2009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ROS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72550620"/>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LLING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53805447"/>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3441387"/>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DEUTZ ROS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616396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56568" y="1387069"/>
            <a:ext cx="2271071" cy="172895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6019"/>
            <a:ext cx="2479580" cy="124569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56568" y="3116019"/>
            <a:ext cx="2271071" cy="12456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79580" cy="17289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Millesim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601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1822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14230871"/>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OM PERIGNON ROSE 2009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OEDERER CRISTAL ROSE 2014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6261057"/>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DEUTZ ROS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07628828"/>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Rosé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RUINART ROSE (NU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UTZ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EMOISELLE ROSE PRES SPECIAL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URENT PERRIER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UINART ROSE SECOND SKIN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ICOLAS FEUILLATTE RES EX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ALARD ROSE 1ER CR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SSERAT BELLEFON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OMMERY SILVER ROSE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RUINART ROSE SECOND SKIN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RUINART ROSE (NUE)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98489849"/>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71222366"/>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ISSEY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AILLY LA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J THOMA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89027532"/>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32928996"/>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2802303"/>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07199427"/>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31586250"/>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83826772"/>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61482313"/>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00340719"/>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ISSEY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EN CHAZO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 PICAMELOT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BAILLY LA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OGNE J THOMA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49268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50915" y="1387069"/>
            <a:ext cx="2476724" cy="171606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3133"/>
            <a:ext cx="2273927" cy="125857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50915" y="3103133"/>
            <a:ext cx="2476724" cy="125857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273927" cy="171606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Mousseux Bordelai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313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1257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97058981"/>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urgogne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BOURG PATRIARCH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URG PATRIARCH ROS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30202301"/>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33337157"/>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90700887"/>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LAVERON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44040675"/>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WHITE EX DRY BOT 202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9259837"/>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LAVERON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247166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63646" y="1387069"/>
            <a:ext cx="2363993" cy="170436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91435"/>
            <a:ext cx="2386658" cy="127027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63646" y="3091435"/>
            <a:ext cx="2363993" cy="127027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86658" cy="170436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Mousseux Italien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914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2530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99646367"/>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57488956"/>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03543395"/>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27770553"/>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41729775"/>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Italien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PROSECCO CARLO V CUVEE DEL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DEI POETI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SAVIAN EXTRA DRY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CONTARINI BRUT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OSECCO VINO POETI ROSE ITA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PROSECCO CONTARINI BRUT ITA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89889089"/>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1/2 S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96974591"/>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 RO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51490406"/>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39063823"/>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1/2 S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72000569"/>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72614034"/>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22649068"/>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51953001"/>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19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1125573"/>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82506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44200" y="1387069"/>
            <a:ext cx="2483439" cy="169232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9397"/>
            <a:ext cx="2267212" cy="128231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44200" y="3079397"/>
            <a:ext cx="2483439" cy="128231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267212" cy="169232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Mousseux Bourgogn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939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0585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45086354"/>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0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SAUMUR BOUVET SAPHIR 2021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84647694"/>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Val De Loire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AUMUR BOUVET L CUV SAPHI M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 MONCONTOUR MILLESIM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BRUT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NATURE 2015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DU PETIT COTEAU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PREAMBULE TURBULENT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LOIRE TERREBRUN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E LOIRE MONMOUS BL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20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ULLE NATURE EXTRA BRUT 2019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DME BRUNET 1/2 S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VOUVRAY MOELLX BRUNET 2018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65737785"/>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13924303"/>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53691638"/>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36079572"/>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096235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2131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8379"/>
            <a:ext cx="2375325" cy="125333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8379"/>
            <a:ext cx="2375326" cy="125333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2131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Effervescent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837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490442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77085" y="1387069"/>
            <a:ext cx="2450554" cy="171718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4250"/>
            <a:ext cx="2300097" cy="125745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77085" y="3104250"/>
            <a:ext cx="2450554" cy="125745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00097" cy="171718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VENUE | Malard Nicolas | Mousseux Val De Loir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42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3874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8070374"/>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27511197"/>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68155778"/>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613808"/>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83934439"/>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BULLES NOEMI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29582905"/>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Alsace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EMANT D'ALSACE PRESTIGE BI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GISSELBREC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GISS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DOSAGE ZERO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ROSE MUR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D'ALSACE SPARR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REMANT D'ALSACE PREST AC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REMANT D'ALSACE GISSELB AC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00685793"/>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SAPH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OPAL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VALLON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253327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98525" y="1387069"/>
            <a:ext cx="1129114" cy="192180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08874"/>
            <a:ext cx="3621537" cy="105283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98525" y="3308874"/>
            <a:ext cx="1129114" cy="105283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621537" cy="192180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PA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088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6018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33672591"/>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54557859"/>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54628145"/>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7949018"/>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26061107"/>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0129584"/>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32472942"/>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lard Nicolas | Mousseux Bordelai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RU LA MAQUELINE CREMANT B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OPALE AC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REMANT BORDX CELENE SAPH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9403950"/>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74253723"/>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72732096"/>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51192474"/>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5069802"/>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63408200"/>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8783111"/>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20796469"/>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98081218"/>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74748905"/>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82940237"/>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Effervescent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819497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61883" y="1387069"/>
            <a:ext cx="1165756" cy="191130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98376"/>
            <a:ext cx="3584895" cy="106333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61883" y="3298376"/>
            <a:ext cx="1165756" cy="106333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84895" cy="191130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IDF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9837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2354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748520"/>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82205556"/>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79951063"/>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61178678"/>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99781474"/>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92215795"/>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90537200"/>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0583313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39870" y="1387069"/>
            <a:ext cx="1187769" cy="190564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92712"/>
            <a:ext cx="3562882" cy="106899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39870" y="3292712"/>
            <a:ext cx="1187769" cy="106899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62882" cy="190564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V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9271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0152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70084344"/>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46550730"/>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 DE NOIR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953713"/>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hampagne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22953634"/>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 BS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46836188"/>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 BS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72308919"/>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2199945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42737" y="1387069"/>
            <a:ext cx="1184902" cy="191108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98158"/>
            <a:ext cx="3565749" cy="106355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42737" y="3298158"/>
            <a:ext cx="1184902" cy="106355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65749" cy="191108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9815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0439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602031935"/>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78514479"/>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95885814"/>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01013604"/>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18952836"/>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95411771"/>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8320261"/>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573768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16914" y="1387069"/>
            <a:ext cx="1210725" cy="190580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92873"/>
            <a:ext cx="3539926" cy="106883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16914" y="3292873"/>
            <a:ext cx="1210725" cy="106883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39926" cy="190580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Q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9287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7857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67513057"/>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 BS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59353600"/>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lanc De Blanc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BLC/BL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BLC/BL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BLC/BL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LC/BLC 2002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2313664"/>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51812652"/>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2768347"/>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86147964"/>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CC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31915974"/>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8935888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258405" y="1387069"/>
            <a:ext cx="1069234" cy="193750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24576"/>
            <a:ext cx="3681417" cy="103713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258405" y="3324576"/>
            <a:ext cx="1069234" cy="103713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681417" cy="193750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QCA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2457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82006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16987637"/>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75537556"/>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64420114"/>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NICOLAS AQU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07673009"/>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25777970"/>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Bruts | CA 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BRU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E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AGNE NICOLAS 1ERE CUV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E.NICOLAS BRUT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BIO NAT 2017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RE CUVE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E CUV ET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36231468"/>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V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83290409"/>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79740742"/>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80029774"/>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QC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07830124"/>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68824277"/>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6943081"/>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09365793"/>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CA 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990945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948884" y="1387069"/>
            <a:ext cx="1378755" cy="193125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18325"/>
            <a:ext cx="3371896" cy="104338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948884" y="3318325"/>
            <a:ext cx="1378755" cy="104338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371896" cy="193125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ES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1832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1054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301985763"/>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Cru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NICOLAS 1ER CRU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G CHAMPAGNE NICOLAS 1E CRU BS 1CT X 150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1ER CRU ETUI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92184003"/>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QC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85242706"/>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23911627"/>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QC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01814892"/>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IDF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65463994"/>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PAC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6067424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31581" y="1387069"/>
            <a:ext cx="1196058" cy="189863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5699"/>
            <a:ext cx="3554593" cy="107601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31581" y="3285699"/>
            <a:ext cx="1196058" cy="107601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54593" cy="189863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NICOLAS AQU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569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9323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94674710"/>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RHO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66227821"/>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NICOLAS ES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08758524"/>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CA A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70944006"/>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CA B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ET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88864060"/>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Nicolas | Rosés | CA 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CHAMPAGNE E.NICOLAS ROSE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1/2 CHAMP NICOLAS ROSE 1E C BS 1CT X 375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RE CU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CHAMPAGNE NICOLAS ROSE 1E C BS 1CT X 750ML</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37666312"/>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2996350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124490" y="1387069"/>
            <a:ext cx="1203149" cy="190765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94721"/>
            <a:ext cx="3547502" cy="106698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124490" y="3294721"/>
            <a:ext cx="1203149" cy="106698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47502" cy="190765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CA B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9472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8614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94359040"/>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49861265"/>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42974599"/>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54760668"/>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68705744"/>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49821197"/>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49127041"/>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55850695"/>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21837968"/>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11682351"/>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Effervescent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81576265"/>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33153103"/>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9696133"/>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255152"/>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89248979"/>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39489974"/>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3316355"/>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23820356"/>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07328349"/>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59950535"/>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00287673"/>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15908486"/>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hampagne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034069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5097631" y="1387069"/>
            <a:ext cx="1230008" cy="189984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6916"/>
            <a:ext cx="3520643" cy="107479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5097631" y="3286916"/>
            <a:ext cx="1230008" cy="107479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520643" cy="189984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Effervescents | Malard Nicolas | CA 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691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5928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590516854"/>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99231798"/>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51548760"/>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78879294"/>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70798018"/>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8039545"/>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82733479"/>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35664716"/>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91754603"/>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76262559"/>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lanc De Blanc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74461953"/>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47289368"/>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64971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81201" y="1387069"/>
            <a:ext cx="3646438" cy="189904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6118"/>
            <a:ext cx="1104213" cy="107559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81201" y="3286118"/>
            <a:ext cx="3646438" cy="107559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04213" cy="189904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PA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61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4285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22929296"/>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09690099"/>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72117200"/>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45732994"/>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00606106"/>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34632104"/>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75555863"/>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1991205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928712" y="1387069"/>
            <a:ext cx="3398927" cy="188447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71541"/>
            <a:ext cx="1351724" cy="109016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928712" y="3271541"/>
            <a:ext cx="3398927" cy="109016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351724" cy="18844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CC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715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9036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874779235"/>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Brut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64506797"/>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20708702"/>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60355073"/>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47327066"/>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69213454"/>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30241867"/>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948820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66340" y="1387069"/>
            <a:ext cx="3561299" cy="188255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69625"/>
            <a:ext cx="1189352" cy="109208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66340" y="3269625"/>
            <a:ext cx="3561299" cy="109208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89352" cy="188255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QC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6962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2799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30435062"/>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67030912"/>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98219644"/>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Cru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95045313"/>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74242893"/>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5974838"/>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612191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2228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9352"/>
            <a:ext cx="2375325" cy="125235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09352"/>
            <a:ext cx="2375326" cy="125235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2228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Champagn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935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52685050"/>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65995665"/>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26625899"/>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42640065"/>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90668939"/>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1010115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835893" y="1387069"/>
            <a:ext cx="3491746" cy="190459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91665"/>
            <a:ext cx="1258905" cy="107004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835893" y="3291665"/>
            <a:ext cx="3491746" cy="10700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58905" cy="19045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V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916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9755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22336079"/>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lard Nicolas | Rosé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77569171"/>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34927806"/>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1402990"/>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00244796"/>
      </p:ext>
    </p:extLst>
  </p:cSld>
  <p:clrMapOvr>
    <a:masterClrMapping/>
  </p:clrMapOvr>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17665462"/>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7862471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90752" y="1387069"/>
            <a:ext cx="3536887" cy="189504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2109"/>
            <a:ext cx="1213764" cy="107960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90752" y="3282109"/>
            <a:ext cx="3536887" cy="10796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13764" cy="18950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210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5240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01150853"/>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71722229"/>
      </p:ext>
    </p:extLst>
  </p:cSld>
  <p:clrMapOvr>
    <a:masterClrMapping/>
  </p:clrMapOvr>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61689110"/>
      </p:ext>
    </p:extLst>
  </p:cSld>
  <p:clrMapOvr>
    <a:masterClrMapping/>
  </p:clrMapOvr>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53580644"/>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40912127"/>
      </p:ext>
    </p:extLst>
  </p:cSld>
  <p:clrMapOvr>
    <a:masterClrMapping/>
  </p:clrMapOvr>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82344492"/>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89176168"/>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Effervescent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2700320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816629" y="1387069"/>
            <a:ext cx="3511010" cy="189972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6798"/>
            <a:ext cx="1239641" cy="107491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816629" y="3286798"/>
            <a:ext cx="3511010" cy="10749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39641" cy="18997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NICOLAS QC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679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7828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40694472"/>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74063097"/>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85985591"/>
      </p:ext>
    </p:extLst>
  </p:cSld>
  <p:clrMapOvr>
    <a:masterClrMapping/>
  </p:clrMapOvr>
</p:sld>
</file>

<file path=ppt/slides/slide8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33006552"/>
      </p:ext>
    </p:extLst>
  </p:cSld>
  <p:clrMapOvr>
    <a:masterClrMapping/>
  </p:clrMapOvr>
</p:sld>
</file>

<file path=ppt/slides/slide8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13871596"/>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45790649"/>
      </p:ext>
    </p:extLst>
  </p:cSld>
  <p:clrMapOvr>
    <a:masterClrMapping/>
  </p:clrMapOvr>
</p:sld>
</file>

<file path=ppt/slides/slide8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56472563"/>
      </p:ext>
    </p:extLst>
  </p:cSld>
  <p:clrMapOvr>
    <a:masterClrMapping/>
  </p:clrMapOvr>
</p:sld>
</file>

<file path=ppt/slides/slide8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30633599"/>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67459258"/>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28634181"/>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hampagne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360859"/>
      </p:ext>
    </p:extLst>
  </p:cSld>
  <p:clrMapOvr>
    <a:masterClrMapping/>
  </p:clrMapOvr>
</p:sld>
</file>

<file path=ppt/slides/slide8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46107810"/>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70249550"/>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30533684"/>
      </p:ext>
    </p:extLst>
  </p:cSld>
  <p:clrMapOvr>
    <a:masterClrMapping/>
  </p:clrMapOvr>
</p:sld>
</file>

<file path=ppt/slides/slide8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68115777"/>
      </p:ext>
    </p:extLst>
  </p:cSld>
  <p:clrMapOvr>
    <a:masterClrMapping/>
  </p:clrMapOvr>
</p:sld>
</file>

<file path=ppt/slides/slide8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ES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1503116"/>
      </p:ext>
    </p:extLst>
  </p:cSld>
  <p:clrMapOvr>
    <a:masterClrMapping/>
  </p:clrMapOvr>
</p:sld>
</file>

<file path=ppt/slides/slide8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47981914"/>
      </p:ext>
    </p:extLst>
  </p:cSld>
  <p:clrMapOvr>
    <a:masterClrMapping/>
  </p:clrMapOvr>
</p:sld>
</file>

<file path=ppt/slides/slide8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43899277"/>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90685062"/>
      </p:ext>
    </p:extLst>
  </p:cSld>
  <p:clrMapOvr>
    <a:masterClrMapping/>
  </p:clrMapOvr>
</p:sld>
</file>

<file path=ppt/slides/slide8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lanc De Blanc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13864578"/>
      </p:ext>
    </p:extLst>
  </p:cSld>
  <p:clrMapOvr>
    <a:masterClrMapping/>
  </p:clrMapOvr>
</p:sld>
</file>

<file path=ppt/slides/slide8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93328711"/>
      </p:ext>
    </p:extLst>
  </p:cSld>
  <p:clrMapOvr>
    <a:masterClrMapping/>
  </p:clrMapOvr>
</p:sld>
</file>

<file path=ppt/slides/slide8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51970101"/>
      </p:ext>
    </p:extLst>
  </p:cSld>
  <p:clrMapOvr>
    <a:masterClrMapping/>
  </p:clrMapOvr>
</p:sld>
</file>

<file path=ppt/slides/slide8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94171974"/>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09140890"/>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CC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85448371"/>
      </p:ext>
    </p:extLst>
  </p:cSld>
  <p:clrMapOvr>
    <a:masterClrMapping/>
  </p:clrMapOvr>
</p:sld>
</file>

<file path=ppt/slides/slide8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62058091"/>
      </p:ext>
    </p:extLst>
  </p:cSld>
  <p:clrMapOvr>
    <a:masterClrMapping/>
  </p:clrMapOvr>
</p:sld>
</file>

<file path=ppt/slides/slide8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43460789"/>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41564383"/>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30713759"/>
      </p:ext>
    </p:extLst>
  </p:cSld>
  <p:clrMapOvr>
    <a:masterClrMapping/>
  </p:clrMapOvr>
</p:sld>
</file>

<file path=ppt/slides/slide8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27763083"/>
      </p:ext>
    </p:extLst>
  </p:cSld>
  <p:clrMapOvr>
    <a:masterClrMapping/>
  </p:clrMapOvr>
</p:sld>
</file>

<file path=ppt/slides/slide8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38820440"/>
      </p:ext>
    </p:extLst>
  </p:cSld>
  <p:clrMapOvr>
    <a:masterClrMapping/>
  </p:clrMapOvr>
</p:sld>
</file>

<file path=ppt/slides/slide8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Brut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81065278"/>
      </p:ext>
    </p:extLst>
  </p:cSld>
  <p:clrMapOvr>
    <a:masterClrMapping/>
  </p:clrMapOvr>
</p:sld>
</file>

<file path=ppt/slides/slide8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23938643"/>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Q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20765059"/>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1701027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99664" y="1387069"/>
            <a:ext cx="3527975" cy="189574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2818"/>
            <a:ext cx="1222676" cy="107889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99664" y="3282818"/>
            <a:ext cx="3527975" cy="107889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22676" cy="189574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CA B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28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6132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91125077"/>
      </p:ext>
    </p:extLst>
  </p:cSld>
  <p:clrMapOvr>
    <a:masterClrMapping/>
  </p:clrMapOvr>
</p:sld>
</file>

<file path=ppt/slides/slide8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90932220"/>
      </p:ext>
    </p:extLst>
  </p:cSld>
  <p:clrMapOvr>
    <a:masterClrMapping/>
  </p:clrMapOvr>
</p:sld>
</file>

<file path=ppt/slides/slide8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IDF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91948276"/>
      </p:ext>
    </p:extLst>
  </p:cSld>
  <p:clrMapOvr>
    <a:masterClrMapping/>
  </p:clrMapOvr>
</p:sld>
</file>

<file path=ppt/slides/slide8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41736918"/>
      </p:ext>
    </p:extLst>
  </p:cSld>
  <p:clrMapOvr>
    <a:masterClrMapping/>
  </p:clrMapOvr>
</p:sld>
</file>

<file path=ppt/slides/slide8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55849763"/>
      </p:ext>
    </p:extLst>
  </p:cSld>
  <p:clrMapOvr>
    <a:masterClrMapping/>
  </p:clrMapOvr>
</p:sld>
</file>

<file path=ppt/slides/slide8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13666795"/>
      </p:ext>
    </p:extLst>
  </p:cSld>
  <p:clrMapOvr>
    <a:masterClrMapping/>
  </p:clrMapOvr>
</p:sld>
</file>

<file path=ppt/slides/slide8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CA 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63634617"/>
      </p:ext>
    </p:extLst>
  </p:cSld>
  <p:clrMapOvr>
    <a:masterClrMapping/>
  </p:clrMapOvr>
</p:sld>
</file>

<file path=ppt/slides/slide8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Crus | CA 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6794016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52199" y="1387069"/>
            <a:ext cx="3575440" cy="189051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77584"/>
            <a:ext cx="1175211" cy="108412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52199" y="3277584"/>
            <a:ext cx="3575440" cy="108412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75211" cy="189051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CA A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7758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1385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89184956"/>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VC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91250381"/>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QC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15483379"/>
      </p:ext>
    </p:extLst>
  </p:cSld>
  <p:clrMapOvr>
    <a:masterClrMapping/>
  </p:clrMapOvr>
</p:sld>
</file>

<file path=ppt/slides/slide8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QC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24328051"/>
      </p:ext>
    </p:extLst>
  </p:cSld>
  <p:clrMapOvr>
    <a:masterClrMapping/>
  </p:clrMapOvr>
</p:sld>
</file>

<file path=ppt/slides/slide8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PA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54712514"/>
      </p:ext>
    </p:extLst>
  </p:cSld>
  <p:clrMapOvr>
    <a:masterClrMapping/>
  </p:clrMapOvr>
</p:sld>
</file>

<file path=ppt/slides/slide8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RHO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84844186"/>
      </p:ext>
    </p:extLst>
  </p:cSld>
  <p:clrMapOvr>
    <a:masterClrMapping/>
  </p:clrMapOvr>
</p:sld>
</file>

<file path=ppt/slides/slide8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NICOLAS AQU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122529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2313" y="1387069"/>
            <a:ext cx="2375326" cy="172494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2018"/>
            <a:ext cx="2375325" cy="124969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2313" y="3112018"/>
            <a:ext cx="2375326" cy="124969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5325" cy="172494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Channel | Malard Nicolas | Millesim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20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3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6692579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814562" y="1387069"/>
            <a:ext cx="3513077" cy="189859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5664"/>
            <a:ext cx="1237574" cy="107604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814562" y="3285664"/>
            <a:ext cx="3513077" cy="107604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237574" cy="189859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CA 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566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7621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27642243"/>
      </p:ext>
    </p:extLst>
  </p:cSld>
  <p:clrMapOvr>
    <a:masterClrMapping/>
  </p:clrMapOvr>
</p:sld>
</file>

<file path=ppt/slides/slide9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CA A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09043289"/>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CA B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47519229"/>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Nicolas | Rosés | CA C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85931829"/>
      </p:ext>
    </p:extLst>
  </p:cSld>
  <p:clrMapOvr>
    <a:masterClrMapping/>
  </p:clrMapOvr>
</p:sld>
</file>

<file path=ppt/slides/slide9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871552589"/>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VC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022150211"/>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9</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QC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444220664"/>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QCA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39289382"/>
      </p:ext>
    </p:extLst>
  </p:cSld>
  <p:clrMapOvr>
    <a:masterClrMapping/>
  </p:clrMapOvr>
</p:sld>
</file>

<file path=ppt/slides/slide9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IDF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838962868"/>
      </p:ext>
    </p:extLst>
  </p:cSld>
  <p:clrMapOvr>
    <a:masterClrMapping/>
  </p:clrMapOvr>
</p:sld>
</file>

<file path=ppt/slides/slide9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3</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PAC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542428561"/>
      </p:ext>
    </p:extLst>
  </p:cSld>
  <p:clrMapOvr>
    <a:masterClrMapping/>
  </p:clrMapOvr>
</p:sld>
</file>

<file path=ppt/slides/slide9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RHO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639851869"/>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ES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11727324"/>
      </p:ext>
    </p:extLst>
  </p:cSld>
  <p:clrMapOvr>
    <a:masterClrMapping/>
  </p:clrMapOvr>
</p:sld>
</file>

<file path=ppt/slides/slide9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A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088863745"/>
      </p:ext>
    </p:extLst>
  </p:cSld>
  <p:clrMapOvr>
    <a:masterClrMapping/>
  </p:clrMapOvr>
</p:sld>
</file>

<file path=ppt/slides/slide9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9</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C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3712738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36720" y="1387069"/>
            <a:ext cx="3590919" cy="189381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0880"/>
            <a:ext cx="1159732" cy="108082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36720" y="3280880"/>
            <a:ext cx="3590919" cy="10808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59732" cy="18938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Effervescents | Malard Nicolas | CA C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088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9837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60508227"/>
      </p:ext>
    </p:extLst>
  </p:cSld>
  <p:clrMapOvr>
    <a:masterClrMapping/>
  </p:clrMapOvr>
</p:sld>
</file>

<file path=ppt/slides/slide9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D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500010217"/>
      </p:ext>
    </p:extLst>
  </p:cSld>
  <p:clrMapOvr>
    <a:masterClrMapping/>
  </p:clrMapOvr>
</p:sld>
</file>

<file path=ppt/slides/slide9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E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839743"/>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636011">
                <a:tc>
                  <a:txBody>
                    <a:bodyPr/>
                    <a:lstStyle/>
                    <a:p>
                      <a:pPr algn="ctr">
                        <a:defRPr sz="800">
                          <a:latin typeface="Nexa Book"/>
                        </a:defRPr>
                      </a:pPr>
                      <a:r>
                        <a:t>Champagn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636011">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592171445"/>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VC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008186453"/>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QC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66033284"/>
      </p:ext>
    </p:extLst>
  </p:cSld>
  <p:clrMapOvr>
    <a:masterClrMapping/>
  </p:clrMapOvr>
</p:sld>
</file>

<file path=ppt/slides/slide9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QCA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647827275"/>
      </p:ext>
    </p:extLst>
  </p:cSld>
  <p:clrMapOvr>
    <a:masterClrMapping/>
  </p:clrMapOvr>
</p:sld>
</file>

<file path=ppt/slides/slide9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CC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483274943"/>
      </p:ext>
    </p:extLst>
  </p:cSld>
  <p:clrMapOvr>
    <a:masterClrMapping/>
  </p:clrMapOvr>
</p:sld>
</file>

<file path=ppt/slides/slide9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IDF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10693108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PAC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44584720"/>
      </p:ext>
    </p:extLst>
  </p:cSld>
  <p:clrMapOvr>
    <a:masterClrMapping/>
  </p:clrMapOvr>
</p:sld>
</file>

<file path=ppt/slides/slide9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RHO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982005861"/>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AQU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383513268"/>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NICOLAS ES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221563818"/>
      </p:ext>
    </p:extLst>
  </p:cSld>
  <p:clrMapOvr>
    <a:masterClrMapping/>
  </p:clrMapOvr>
</p:sld>
</file>

<file path=ppt/slides/slide9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C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9.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149201184"/>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Effervescents | CA E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Malard Nicolas</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hcs</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Blanc De Blanc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Blanc De Noi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Brut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Cru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osé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6085267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CC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9885491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IDF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938615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Effervescents | Malard Nicolas | NICOLAS VC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Mousseux</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Champagn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Effervescents Sans Alcoo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6494634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2.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C113E98-7689-4749-B74E-87793737B60D}">
  <ds:schemaRefs>
    <ds:schemaRef ds:uri="http://schemas.microsoft.com/sharepoint/v3/contenttype/forms"/>
  </ds:schemaRefs>
</ds:datastoreItem>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56</cp:revision>
  <dcterms:created xsi:type="dcterms:W3CDTF">2024-07-05T15:31:56Z</dcterms:created>
  <dcterms:modified xsi:type="dcterms:W3CDTF">2025-09-16T20:20:23Z</dcterms:modified>
</cp:coreProperties>
</file>